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58" r:id="rId1"/>
    <p:sldMasterId id="2147483803" r:id="rId2"/>
    <p:sldMasterId id="2147483808" r:id="rId3"/>
    <p:sldMasterId id="2147484086" r:id="rId4"/>
    <p:sldMasterId id="2147484092" r:id="rId5"/>
    <p:sldMasterId id="2147484104" r:id="rId6"/>
  </p:sldMasterIdLst>
  <p:notesMasterIdLst>
    <p:notesMasterId r:id="rId20"/>
  </p:notesMasterIdLst>
  <p:handoutMasterIdLst>
    <p:handoutMasterId r:id="rId21"/>
  </p:handoutMasterIdLst>
  <p:sldIdLst>
    <p:sldId id="275" r:id="rId7"/>
    <p:sldId id="2682" r:id="rId8"/>
    <p:sldId id="2684" r:id="rId9"/>
    <p:sldId id="2685" r:id="rId10"/>
    <p:sldId id="2687" r:id="rId11"/>
    <p:sldId id="2690" r:id="rId12"/>
    <p:sldId id="2688" r:id="rId13"/>
    <p:sldId id="2692" r:id="rId14"/>
    <p:sldId id="2695" r:id="rId15"/>
    <p:sldId id="2694" r:id="rId16"/>
    <p:sldId id="2693" r:id="rId17"/>
    <p:sldId id="2696" r:id="rId18"/>
    <p:sldId id="276" r:id="rId19"/>
  </p:sldIdLst>
  <p:sldSz cx="12192000" cy="6858000"/>
  <p:notesSz cx="6797675" cy="9928225"/>
  <p:defaultTextStyle>
    <a:defPPr rtl="0"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1F26"/>
    <a:srgbClr val="5DAAB0"/>
    <a:srgbClr val="3B7579"/>
    <a:srgbClr val="AAD3D6"/>
    <a:srgbClr val="418287"/>
    <a:srgbClr val="DFE3E9"/>
    <a:srgbClr val="D6DBE2"/>
    <a:srgbClr val="CCD2DA"/>
    <a:srgbClr val="BBC3CD"/>
    <a:srgbClr val="D3D8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3" autoAdjust="0"/>
    <p:restoredTop sz="95280" autoAdjust="0"/>
  </p:normalViewPr>
  <p:slideViewPr>
    <p:cSldViewPr snapToGrid="0" snapToObjects="1" showGuides="1">
      <p:cViewPr varScale="1">
        <p:scale>
          <a:sx n="86" d="100"/>
          <a:sy n="86" d="100"/>
        </p:scale>
        <p:origin x="562" y="53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4414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5136"/>
    </p:cViewPr>
  </p:sorterViewPr>
  <p:notesViewPr>
    <p:cSldViewPr snapToGrid="0" snapToObjects="1">
      <p:cViewPr varScale="1">
        <p:scale>
          <a:sx n="88" d="100"/>
          <a:sy n="88" d="100"/>
        </p:scale>
        <p:origin x="382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92018837-64B5-4E20-83A5-89B993CB3C9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6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l">
              <a:defRPr sz="1200"/>
            </a:lvl1pPr>
          </a:lstStyle>
          <a:p>
            <a:pPr rtl="0"/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99C2A4FB-A56B-4413-A08B-0E9894B98B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6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r">
              <a:defRPr sz="1200"/>
            </a:lvl1pPr>
          </a:lstStyle>
          <a:p>
            <a:pPr rtl="0"/>
            <a:fld id="{B466B5B1-8550-45FB-967E-F4B291CCC461}" type="datetime1">
              <a:rPr lang="ru-RU" smtClean="0"/>
              <a:t>30.10.2025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A3977F36-950D-4655-BC4A-F80BE1DBF79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8135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l">
              <a:defRPr sz="1200"/>
            </a:lvl1pPr>
          </a:lstStyle>
          <a:p>
            <a:pPr rtl="0"/>
            <a:endParaRPr lang="ru-RU" dirty="0"/>
          </a:p>
        </p:txBody>
      </p:sp>
      <p:sp>
        <p:nvSpPr>
          <p:cNvPr id="5" name="Номер слайда 4">
            <a:extLst>
              <a:ext uri="{FF2B5EF4-FFF2-40B4-BE49-F238E27FC236}">
                <a16:creationId xmlns:a16="http://schemas.microsoft.com/office/drawing/2014/main" id="{56C246FD-229D-4B04-9855-212AD8D784A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5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r">
              <a:defRPr sz="1200"/>
            </a:lvl1pPr>
          </a:lstStyle>
          <a:p>
            <a:pPr rtl="0"/>
            <a:fld id="{8DA8A28B-0568-4092-BB1A-13C9B073E3A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0525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6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l">
              <a:defRPr sz="1200"/>
            </a:lvl1pPr>
          </a:lstStyle>
          <a:p>
            <a:pPr rtl="0"/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6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r">
              <a:defRPr sz="1200"/>
            </a:lvl1pPr>
          </a:lstStyle>
          <a:p>
            <a:pPr rtl="0"/>
            <a:fld id="{1D444D95-FCD4-4091-973E-913976785C28}" type="datetime1">
              <a:rPr lang="ru-RU" smtClean="0"/>
              <a:t>30.10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03" tIns="45651" rIns="91303" bIns="45651" rtlCol="0" anchor="ctr"/>
          <a:lstStyle/>
          <a:p>
            <a:pPr rtl="0"/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8"/>
          </a:xfrm>
          <a:prstGeom prst="rect">
            <a:avLst/>
          </a:prstGeom>
        </p:spPr>
        <p:txBody>
          <a:bodyPr vert="horz" lIns="91303" tIns="45651" rIns="91303" bIns="45651" rtlCol="0"/>
          <a:lstStyle/>
          <a:p>
            <a:pPr lvl="0" rtl="0"/>
            <a:r>
              <a:rPr lang="ru-RU" noProof="0" dirty="0"/>
              <a:t>Щелкните, чтобы изменить стили текста образца слайда</a:t>
            </a:r>
          </a:p>
          <a:p>
            <a:pPr lvl="1" rtl="0"/>
            <a:r>
              <a:rPr lang="ru-RU" dirty="0"/>
              <a:t>Второй уровень</a:t>
            </a:r>
          </a:p>
          <a:p>
            <a:pPr lvl="2" rtl="0"/>
            <a:r>
              <a:rPr lang="ru-RU" dirty="0"/>
              <a:t>Третий уровень</a:t>
            </a:r>
          </a:p>
          <a:p>
            <a:pPr lvl="3" rtl="0"/>
            <a:r>
              <a:rPr lang="ru-RU" dirty="0"/>
              <a:t>Четвертый уровень</a:t>
            </a:r>
          </a:p>
          <a:p>
            <a:pPr lvl="4" rtl="0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 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8135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l">
              <a:defRPr sz="1200"/>
            </a:lvl1pPr>
          </a:lstStyle>
          <a:p>
            <a:pPr rtl="0"/>
            <a:endParaRPr lang="ru-RU" dirty="0"/>
          </a:p>
        </p:txBody>
      </p:sp>
      <p:sp>
        <p:nvSpPr>
          <p:cNvPr id="7" name="Номер слайда 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5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r">
              <a:defRPr sz="1200"/>
            </a:lvl1pPr>
          </a:lstStyle>
          <a:p>
            <a:pPr rtl="0"/>
            <a:fld id="{3CFA0038-7055-434C-B6C4-B8C69565C60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086414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028">
              <a:defRPr/>
            </a:pPr>
            <a:fld id="{48196499-4A85-4D4C-887C-30EA52D0C9D3}" type="slidenum">
              <a:rPr lang="ru-RU">
                <a:solidFill>
                  <a:prstClr val="black"/>
                </a:solidFill>
                <a:latin typeface="Calibri"/>
              </a:rPr>
              <a:pPr defTabSz="913028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78018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028">
              <a:defRPr/>
            </a:pPr>
            <a:fld id="{48196499-4A85-4D4C-887C-30EA52D0C9D3}" type="slidenum">
              <a:rPr lang="ru-RU">
                <a:solidFill>
                  <a:prstClr val="black"/>
                </a:solidFill>
                <a:latin typeface="Calibri"/>
              </a:rPr>
              <a:pPr defTabSz="913028">
                <a:defRPr/>
              </a:pPr>
              <a:t>13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25187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6340" y="3797300"/>
            <a:ext cx="4062411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399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1C94846-A41A-46A4-82FC-F70C44E973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12"/>
          <a:stretch/>
        </p:blipFill>
        <p:spPr>
          <a:xfrm>
            <a:off x="6096000" y="1"/>
            <a:ext cx="6096000" cy="6858000"/>
          </a:xfrm>
          <a:prstGeom prst="rect">
            <a:avLst/>
          </a:prstGeom>
        </p:spPr>
      </p:pic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6340" y="6205566"/>
            <a:ext cx="4062411" cy="276197"/>
          </a:xfrm>
        </p:spPr>
        <p:txBody>
          <a:bodyPr anchor="b"/>
          <a:lstStyle>
            <a:lvl1pPr>
              <a:spcBef>
                <a:spcPts val="0"/>
              </a:spcBef>
              <a:defRPr sz="1799" cap="none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en-US" dirty="0"/>
              <a:t>2017</a:t>
            </a:r>
            <a:r>
              <a:rPr lang="ru-RU" dirty="0"/>
              <a:t> г.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FF4B885-5B69-4FE3-925A-37317C9E4C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5" y="431800"/>
            <a:ext cx="2407485" cy="59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181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 в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90" y="4942104"/>
            <a:ext cx="5554661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E8D4A6F7-58EA-4D29-AE28-88336ABCCF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392" y="1971676"/>
            <a:ext cx="5554659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F2786F94-0219-4D50-AE47-BFADD00557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3948" y="4942104"/>
            <a:ext cx="5554661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Рисунок 9">
            <a:extLst>
              <a:ext uri="{FF2B5EF4-FFF2-40B4-BE49-F238E27FC236}">
                <a16:creationId xmlns:a16="http://schemas.microsoft.com/office/drawing/2014/main" id="{08194C61-3908-4D9E-ADA8-AD85B6B49F2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03952" y="1971676"/>
            <a:ext cx="5554659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08928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 в 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4942104"/>
            <a:ext cx="3609974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E8D4A6F7-58EA-4D29-AE28-88336ABCCF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392" y="1971676"/>
            <a:ext cx="3609972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11" name="Текст 7">
            <a:extLst>
              <a:ext uri="{FF2B5EF4-FFF2-40B4-BE49-F238E27FC236}">
                <a16:creationId xmlns:a16="http://schemas.microsoft.com/office/drawing/2014/main" id="{DCBD97CA-2B21-43E5-B3A6-4E3A6887B7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79901" y="4942104"/>
            <a:ext cx="3633788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Рисунок 9">
            <a:extLst>
              <a:ext uri="{FF2B5EF4-FFF2-40B4-BE49-F238E27FC236}">
                <a16:creationId xmlns:a16="http://schemas.microsoft.com/office/drawing/2014/main" id="{9BB48594-CDF5-4760-829E-7067E397D54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79905" y="1971676"/>
            <a:ext cx="3633784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8EDE3255-D331-473E-9F80-45DF45BC78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24820" y="4942104"/>
            <a:ext cx="3633788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Рисунок 9">
            <a:extLst>
              <a:ext uri="{FF2B5EF4-FFF2-40B4-BE49-F238E27FC236}">
                <a16:creationId xmlns:a16="http://schemas.microsoft.com/office/drawing/2014/main" id="{988FBD5B-1F8B-4DA1-9167-A98867F784D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4825" y="1971676"/>
            <a:ext cx="3633784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85897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ое изображение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91" y="1971675"/>
            <a:ext cx="11325221" cy="1771650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Рисунок 3">
            <a:extLst>
              <a:ext uri="{FF2B5EF4-FFF2-40B4-BE49-F238E27FC236}">
                <a16:creationId xmlns:a16="http://schemas.microsoft.com/office/drawing/2014/main" id="{A0A68313-7CA3-4A32-A17E-CB916613E0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3389" y="3990976"/>
            <a:ext cx="11325225" cy="2435225"/>
          </a:xfrm>
          <a:solidFill>
            <a:schemeClr val="bg2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0324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6"/>
            <a:ext cx="4591050" cy="4452937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иаграмма 3">
            <a:extLst>
              <a:ext uri="{FF2B5EF4-FFF2-40B4-BE49-F238E27FC236}">
                <a16:creationId xmlns:a16="http://schemas.microsoft.com/office/drawing/2014/main" id="{7D19B8BF-6038-462B-B8EC-3BE4E63232C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03950" y="1971676"/>
            <a:ext cx="2674939" cy="4452937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9" name="Диаграмма 3">
            <a:extLst>
              <a:ext uri="{FF2B5EF4-FFF2-40B4-BE49-F238E27FC236}">
                <a16:creationId xmlns:a16="http://schemas.microsoft.com/office/drawing/2014/main" id="{167A4ACF-9947-4AF0-89F5-3536622AB2A3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090025" y="1971676"/>
            <a:ext cx="2668586" cy="4452937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1865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6"/>
            <a:ext cx="3609975" cy="4452937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иаграмма 3">
            <a:extLst>
              <a:ext uri="{FF2B5EF4-FFF2-40B4-BE49-F238E27FC236}">
                <a16:creationId xmlns:a16="http://schemas.microsoft.com/office/drawing/2014/main" id="{7D19B8BF-6038-462B-B8EC-3BE4E63232C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279901" y="1971676"/>
            <a:ext cx="7478712" cy="4452937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66771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6"/>
            <a:ext cx="2665411" cy="4452937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аблица 6">
            <a:extLst>
              <a:ext uri="{FF2B5EF4-FFF2-40B4-BE49-F238E27FC236}">
                <a16:creationId xmlns:a16="http://schemas.microsoft.com/office/drawing/2014/main" id="{A6C0B26A-D5AA-4CB3-9F2B-372E3DBE62A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3317876" y="1971676"/>
            <a:ext cx="8440738" cy="4452937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37582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ирокая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7" name="Таблица 6">
            <a:extLst>
              <a:ext uri="{FF2B5EF4-FFF2-40B4-BE49-F238E27FC236}">
                <a16:creationId xmlns:a16="http://schemas.microsoft.com/office/drawing/2014/main" id="{A6C0B26A-D5AA-4CB3-9F2B-372E3DBE62A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33388" y="1971676"/>
            <a:ext cx="11325226" cy="4452937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8969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ая таблиц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91" y="1971675"/>
            <a:ext cx="11325221" cy="1771650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аблица 6">
            <a:extLst>
              <a:ext uri="{FF2B5EF4-FFF2-40B4-BE49-F238E27FC236}">
                <a16:creationId xmlns:a16="http://schemas.microsoft.com/office/drawing/2014/main" id="{A6C0B26A-D5AA-4CB3-9F2B-372E3DBE62A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33388" y="4010026"/>
            <a:ext cx="11325226" cy="241458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40278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лайдов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300"/>
            <a:ext cx="5554663" cy="26924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399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1" y="1971676"/>
            <a:ext cx="5554663" cy="1089027"/>
          </a:xfrm>
        </p:spPr>
        <p:txBody>
          <a:bodyPr anchor="b"/>
          <a:lstStyle>
            <a:lvl1pPr>
              <a:spcBef>
                <a:spcPts val="0"/>
              </a:spcBef>
              <a:defRPr sz="1799" cap="none" spc="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Название презентации. </a:t>
            </a:r>
          </a:p>
          <a:p>
            <a:pPr lvl="0"/>
            <a:r>
              <a:rPr lang="ru-RU" dirty="0"/>
              <a:t>Личный финансовый план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6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4991" b="1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1</a:t>
            </a:r>
          </a:p>
        </p:txBody>
      </p:sp>
      <p:pic>
        <p:nvPicPr>
          <p:cNvPr id="9" name="Рисунок 6">
            <a:extLst>
              <a:ext uri="{FF2B5EF4-FFF2-40B4-BE49-F238E27FC236}">
                <a16:creationId xmlns:a16="http://schemas.microsoft.com/office/drawing/2014/main" id="{2D09C9D3-356B-3846-94B4-E4F8438C66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5" y="431800"/>
            <a:ext cx="2407485" cy="59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0761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лайдов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5">
            <a:extLst>
              <a:ext uri="{FF2B5EF4-FFF2-40B4-BE49-F238E27FC236}">
                <a16:creationId xmlns:a16="http://schemas.microsoft.com/office/drawing/2014/main" id="{D60555C7-2B73-3049-8C33-F281723F5299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300"/>
            <a:ext cx="5554663" cy="26924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399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1" y="1971676"/>
            <a:ext cx="5554663" cy="1089027"/>
          </a:xfrm>
        </p:spPr>
        <p:txBody>
          <a:bodyPr anchor="b"/>
          <a:lstStyle>
            <a:lvl1pPr>
              <a:spcBef>
                <a:spcPts val="0"/>
              </a:spcBef>
              <a:defRPr sz="1799" cap="none" spc="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Название презентации. </a:t>
            </a:r>
          </a:p>
          <a:p>
            <a:pPr lvl="0"/>
            <a:r>
              <a:rPr lang="ru-RU" dirty="0"/>
              <a:t>Личный финансовый план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6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4991" b="1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1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:a16="http://schemas.microsoft.com/office/drawing/2014/main" id="{B34D0E2B-3A67-2B4B-B4DC-13F339FB52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5" y="431800"/>
            <a:ext cx="2407485" cy="59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7826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6340" y="3797300"/>
            <a:ext cx="4062411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399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6340" y="6205566"/>
            <a:ext cx="4062411" cy="276197"/>
          </a:xfrm>
        </p:spPr>
        <p:txBody>
          <a:bodyPr anchor="b"/>
          <a:lstStyle>
            <a:lvl1pPr>
              <a:spcBef>
                <a:spcPts val="0"/>
              </a:spcBef>
              <a:defRPr sz="1799" cap="none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en-US" dirty="0"/>
              <a:t>2017</a:t>
            </a:r>
            <a:r>
              <a:rPr lang="ru-RU" dirty="0"/>
              <a:t> г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D5B71E1-4C95-4E0E-82AA-C4C2E1DAE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7" r="18281"/>
          <a:stretch/>
        </p:blipFill>
        <p:spPr>
          <a:xfrm>
            <a:off x="6096000" y="1"/>
            <a:ext cx="6096000" cy="6858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75B42C9-D670-446A-9583-BD5571714E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5" y="431800"/>
            <a:ext cx="2407485" cy="59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6341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лайдов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5">
            <a:extLst>
              <a:ext uri="{FF2B5EF4-FFF2-40B4-BE49-F238E27FC236}">
                <a16:creationId xmlns:a16="http://schemas.microsoft.com/office/drawing/2014/main" id="{149720B7-F087-0D46-8716-D12F8DD56354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300"/>
            <a:ext cx="5554663" cy="26924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399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1" y="1971676"/>
            <a:ext cx="5554663" cy="1089027"/>
          </a:xfrm>
        </p:spPr>
        <p:txBody>
          <a:bodyPr anchor="b"/>
          <a:lstStyle>
            <a:lvl1pPr>
              <a:spcBef>
                <a:spcPts val="0"/>
              </a:spcBef>
              <a:defRPr sz="1799" cap="none" spc="0" baseline="0">
                <a:solidFill>
                  <a:schemeClr val="tx2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Название презентации. </a:t>
            </a:r>
          </a:p>
          <a:p>
            <a:pPr lvl="0"/>
            <a:r>
              <a:rPr lang="ru-RU" dirty="0"/>
              <a:t>Личный финансовый план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6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4991" b="1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1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:a16="http://schemas.microsoft.com/office/drawing/2014/main" id="{DF16A914-AF66-C045-9B76-8BF5E5293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5" y="431800"/>
            <a:ext cx="2407485" cy="59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0925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оглавлением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050" y="3787775"/>
            <a:ext cx="5770563" cy="2636838"/>
          </a:xfrm>
        </p:spPr>
        <p:txBody>
          <a:bodyPr anchor="t" anchorCtr="0"/>
          <a:lstStyle>
            <a:lvl1pPr marL="215873" marR="0" indent="-215873" algn="l" defTabSz="91386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399" cap="none" spc="30" baseline="0">
                <a:solidFill>
                  <a:schemeClr val="bg2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Подраздел презентации 1</a:t>
            </a:r>
          </a:p>
          <a:p>
            <a:pPr marL="215873" marR="0" lvl="0" indent="-215873" algn="l" defTabSz="91386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2</a:t>
            </a:r>
          </a:p>
          <a:p>
            <a:pPr marL="215873" marR="0" lvl="0" indent="-215873" algn="l" defTabSz="91386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3</a:t>
            </a:r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6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4991" b="1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1104902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399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1" name="Рисунок 6">
            <a:extLst>
              <a:ext uri="{FF2B5EF4-FFF2-40B4-BE49-F238E27FC236}">
                <a16:creationId xmlns:a16="http://schemas.microsoft.com/office/drawing/2014/main" id="{1D350056-7D55-234D-9A03-20C0F8E9FB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5" y="431800"/>
            <a:ext cx="2407485" cy="59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1401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оглавление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5">
            <a:extLst>
              <a:ext uri="{FF2B5EF4-FFF2-40B4-BE49-F238E27FC236}">
                <a16:creationId xmlns:a16="http://schemas.microsoft.com/office/drawing/2014/main" id="{576F7CF3-5215-9E41-B00F-A2467B5A4064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050" y="3787775"/>
            <a:ext cx="5770563" cy="2636838"/>
          </a:xfrm>
        </p:spPr>
        <p:txBody>
          <a:bodyPr anchor="t" anchorCtr="0"/>
          <a:lstStyle>
            <a:lvl1pPr marL="215873" marR="0" indent="-215873" algn="l" defTabSz="91386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399" cap="none" spc="30" baseline="0">
                <a:solidFill>
                  <a:schemeClr val="bg2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Подраздел презентации 1</a:t>
            </a:r>
          </a:p>
          <a:p>
            <a:pPr marL="215873" marR="0" lvl="0" indent="-215873" algn="l" defTabSz="91386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2</a:t>
            </a:r>
          </a:p>
          <a:p>
            <a:pPr marL="215873" marR="0" lvl="0" indent="-215873" algn="l" defTabSz="91386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3</a:t>
            </a:r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6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4991" b="1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1104902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399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:a16="http://schemas.microsoft.com/office/drawing/2014/main" id="{BC34E9FA-E708-6144-89C3-CDB66D4AFC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5" y="431800"/>
            <a:ext cx="2407485" cy="59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6264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оглавлением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5">
            <a:extLst>
              <a:ext uri="{FF2B5EF4-FFF2-40B4-BE49-F238E27FC236}">
                <a16:creationId xmlns:a16="http://schemas.microsoft.com/office/drawing/2014/main" id="{D893A5DB-B2E0-3B4E-9B24-2C07CA7DBDEE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050" y="3787775"/>
            <a:ext cx="5770563" cy="2636838"/>
          </a:xfrm>
        </p:spPr>
        <p:txBody>
          <a:bodyPr anchor="t" anchorCtr="0"/>
          <a:lstStyle>
            <a:lvl1pPr marL="215873" marR="0" indent="-215873" algn="l" defTabSz="91386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399" cap="none" spc="30" baseline="0">
                <a:solidFill>
                  <a:schemeClr val="bg2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Подраздел презентации 1</a:t>
            </a:r>
          </a:p>
          <a:p>
            <a:pPr marL="215873" marR="0" lvl="0" indent="-215873" algn="l" defTabSz="91386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2</a:t>
            </a:r>
          </a:p>
          <a:p>
            <a:pPr marL="215873" marR="0" lvl="0" indent="-215873" algn="l" defTabSz="91386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3</a:t>
            </a:r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6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4991" b="1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1104902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399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:a16="http://schemas.microsoft.com/office/drawing/2014/main" id="{B285BCAC-AE70-3F4C-A015-C62A1A4A81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5" y="431800"/>
            <a:ext cx="2407485" cy="59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608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крупным показателем 1">
    <p:bg>
      <p:bgPr>
        <a:gradFill>
          <a:gsLst>
            <a:gs pos="100000">
              <a:schemeClr val="accent2"/>
            </a:gs>
            <a:gs pos="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>
                <a:solidFill>
                  <a:prstClr val="white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AA99AE-6A35-4C1E-8082-A4A87B5CA52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80C1A66E-447C-497E-B791-484EC723AC3C}"/>
              </a:ext>
            </a:extLst>
          </p:cNvPr>
          <p:cNvCxnSpPr/>
          <p:nvPr userDrawn="1"/>
        </p:nvCxnSpPr>
        <p:spPr>
          <a:xfrm>
            <a:off x="433389" y="863600"/>
            <a:ext cx="1132522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7">
            <a:extLst>
              <a:ext uri="{FF2B5EF4-FFF2-40B4-BE49-F238E27FC236}">
                <a16:creationId xmlns:a16="http://schemas.microsoft.com/office/drawing/2014/main" id="{328E8370-30AB-4722-8DBA-593A63598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03951" y="1971676"/>
            <a:ext cx="5554661" cy="44529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093F2368-AD98-4728-93E4-1B37173036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391" y="1743075"/>
            <a:ext cx="5554661" cy="185735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99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4%</a:t>
            </a:r>
            <a:endParaRPr lang="ru-RU" dirty="0"/>
          </a:p>
        </p:txBody>
      </p:sp>
      <p:sp>
        <p:nvSpPr>
          <p:cNvPr id="16" name="Текст 7">
            <a:extLst>
              <a:ext uri="{FF2B5EF4-FFF2-40B4-BE49-F238E27FC236}">
                <a16:creationId xmlns:a16="http://schemas.microsoft.com/office/drawing/2014/main" id="{35BF7473-8909-436F-9AC2-13A304FD5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90" y="3838575"/>
            <a:ext cx="5554661" cy="258603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79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подпись к показателю в несколько строк</a:t>
            </a:r>
          </a:p>
        </p:txBody>
      </p:sp>
      <p:pic>
        <p:nvPicPr>
          <p:cNvPr id="9" name="Рисунок 14">
            <a:extLst>
              <a:ext uri="{FF2B5EF4-FFF2-40B4-BE49-F238E27FC236}">
                <a16:creationId xmlns:a16="http://schemas.microsoft.com/office/drawing/2014/main" id="{8B871CEC-3811-5343-8FD4-E15214D6F1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9" y="437814"/>
            <a:ext cx="1244021" cy="30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9898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крупным показателем 2">
    <p:bg>
      <p:bgPr>
        <a:gradFill>
          <a:gsLst>
            <a:gs pos="100000">
              <a:schemeClr val="accent6"/>
            </a:gs>
            <a:gs pos="0">
              <a:schemeClr val="accent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>
                <a:solidFill>
                  <a:prstClr val="white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AA99AE-6A35-4C1E-8082-A4A87B5CA52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80C1A66E-447C-497E-B791-484EC723AC3C}"/>
              </a:ext>
            </a:extLst>
          </p:cNvPr>
          <p:cNvCxnSpPr/>
          <p:nvPr userDrawn="1"/>
        </p:nvCxnSpPr>
        <p:spPr>
          <a:xfrm>
            <a:off x="433389" y="863600"/>
            <a:ext cx="1132522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7">
            <a:extLst>
              <a:ext uri="{FF2B5EF4-FFF2-40B4-BE49-F238E27FC236}">
                <a16:creationId xmlns:a16="http://schemas.microsoft.com/office/drawing/2014/main" id="{328E8370-30AB-4722-8DBA-593A63598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03951" y="1971676"/>
            <a:ext cx="5554661" cy="44529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093F2368-AD98-4728-93E4-1B37173036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391" y="1743075"/>
            <a:ext cx="5554661" cy="185735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99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4%</a:t>
            </a:r>
            <a:endParaRPr lang="ru-RU" dirty="0"/>
          </a:p>
        </p:txBody>
      </p:sp>
      <p:sp>
        <p:nvSpPr>
          <p:cNvPr id="16" name="Текст 7">
            <a:extLst>
              <a:ext uri="{FF2B5EF4-FFF2-40B4-BE49-F238E27FC236}">
                <a16:creationId xmlns:a16="http://schemas.microsoft.com/office/drawing/2014/main" id="{35BF7473-8909-436F-9AC2-13A304FD5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90" y="3838575"/>
            <a:ext cx="5554661" cy="258603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79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подпись к показателю в несколько строк</a:t>
            </a:r>
          </a:p>
        </p:txBody>
      </p:sp>
      <p:pic>
        <p:nvPicPr>
          <p:cNvPr id="9" name="Рисунок 14">
            <a:extLst>
              <a:ext uri="{FF2B5EF4-FFF2-40B4-BE49-F238E27FC236}">
                <a16:creationId xmlns:a16="http://schemas.microsoft.com/office/drawing/2014/main" id="{38EFE22E-1DF4-C14C-9E2C-9B1D944171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9" y="437814"/>
            <a:ext cx="1244021" cy="30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7971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4744" y="3844925"/>
            <a:ext cx="5770563" cy="2636838"/>
          </a:xfrm>
        </p:spPr>
        <p:txBody>
          <a:bodyPr anchor="b" anchorCtr="0"/>
          <a:lstStyle>
            <a:lvl1pPr marL="0" marR="0" indent="0" algn="l" defTabSz="91386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99" cap="none" spc="30" baseline="0">
                <a:solidFill>
                  <a:schemeClr val="bg2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Пункт приема корреспонденции: </a:t>
            </a:r>
          </a:p>
          <a:p>
            <a:pPr lvl="0"/>
            <a:r>
              <a:rPr lang="ru-RU" dirty="0"/>
              <a:t>Москва, </a:t>
            </a:r>
            <a:r>
              <a:rPr lang="ru-RU" dirty="0" err="1"/>
              <a:t>Сандуновский</a:t>
            </a:r>
            <a:r>
              <a:rPr lang="ru-RU" dirty="0"/>
              <a:t> пер., д. 3, стр. 1, телефон +7 495 621-09-61</a:t>
            </a:r>
          </a:p>
          <a:p>
            <a:pPr lvl="0"/>
            <a:r>
              <a:rPr lang="ru-RU" dirty="0"/>
              <a:t>Почтовый адрес: 107016, Москва, ул. Неглинная, д. 12</a:t>
            </a:r>
          </a:p>
          <a:p>
            <a:pPr lvl="0"/>
            <a:r>
              <a:rPr lang="ru-RU" dirty="0"/>
              <a:t>Контактный центр: 8 800 250-40-72, +7 495 771-91-00</a:t>
            </a:r>
          </a:p>
          <a:p>
            <a:pPr lvl="0"/>
            <a:r>
              <a:rPr lang="ru-RU" dirty="0"/>
              <a:t>Факс: +7 495 621-64-65, +7 495 621-62-88</a:t>
            </a:r>
          </a:p>
          <a:p>
            <a:pPr lvl="0"/>
            <a:r>
              <a:rPr lang="ru-RU" dirty="0"/>
              <a:t>Сайт: www.cbr.ru</a:t>
            </a:r>
          </a:p>
          <a:p>
            <a:pPr lvl="0"/>
            <a:r>
              <a:rPr lang="ru-RU" dirty="0"/>
              <a:t>Электронная почта: fps@cbr.ru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1104902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399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Спасибо </a:t>
            </a:r>
          </a:p>
          <a:p>
            <a:pPr lvl="0"/>
            <a:r>
              <a:rPr lang="ru-RU" dirty="0"/>
              <a:t>за внимание</a:t>
            </a:r>
          </a:p>
        </p:txBody>
      </p:sp>
      <p:pic>
        <p:nvPicPr>
          <p:cNvPr id="8" name="Рисунок 6">
            <a:extLst>
              <a:ext uri="{FF2B5EF4-FFF2-40B4-BE49-F238E27FC236}">
                <a16:creationId xmlns:a16="http://schemas.microsoft.com/office/drawing/2014/main" id="{8FCCF32E-0F6E-4544-A5DF-207C316A63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5" y="431800"/>
            <a:ext cx="2407485" cy="59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5465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ите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9" y="4178300"/>
            <a:ext cx="11325224" cy="2303463"/>
          </a:xfrm>
        </p:spPr>
        <p:txBody>
          <a:bodyPr anchor="b" anchorCtr="0"/>
          <a:lstStyle>
            <a:lvl1pPr marL="0" marR="0" indent="0" algn="l" defTabSz="91386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99" cap="none" spc="30" baseline="0">
                <a:solidFill>
                  <a:schemeClr val="bg2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Служба по защите прав потребителей </a:t>
            </a:r>
          </a:p>
          <a:p>
            <a:pPr lvl="0"/>
            <a:r>
              <a:rPr lang="ru-RU" dirty="0"/>
              <a:t>финансовых услуг и миноритарных акционеров</a:t>
            </a:r>
          </a:p>
          <a:p>
            <a:pPr lvl="0"/>
            <a:r>
              <a:rPr lang="ru-RU" dirty="0"/>
              <a:t>Пункт приема корреспонденции: Москва, </a:t>
            </a:r>
            <a:r>
              <a:rPr lang="ru-RU" dirty="0" err="1"/>
              <a:t>Сандуновский</a:t>
            </a:r>
            <a:r>
              <a:rPr lang="ru-RU" dirty="0"/>
              <a:t> пер., д. 3, стр. 1, телефон +7 495 621-09-61</a:t>
            </a:r>
          </a:p>
          <a:p>
            <a:pPr lvl="0"/>
            <a:r>
              <a:rPr lang="ru-RU" dirty="0"/>
              <a:t>Почтовый адрес: 107016, Москва, ул. Неглинная, д. 12</a:t>
            </a:r>
          </a:p>
          <a:p>
            <a:pPr lvl="0"/>
            <a:r>
              <a:rPr lang="ru-RU" dirty="0"/>
              <a:t>Контактный центр: 8 800 250-40-72, +7 495 771-91-00</a:t>
            </a:r>
          </a:p>
          <a:p>
            <a:pPr lvl="0"/>
            <a:r>
              <a:rPr lang="ru-RU" dirty="0"/>
              <a:t>Факс: +7 495 621-64-65, +7 495 621-62-88</a:t>
            </a:r>
          </a:p>
          <a:p>
            <a:pPr lvl="0"/>
            <a:r>
              <a:rPr lang="ru-RU" dirty="0"/>
              <a:t>Сайт: www.cbr.ru</a:t>
            </a:r>
          </a:p>
          <a:p>
            <a:pPr lvl="0"/>
            <a:r>
              <a:rPr lang="ru-RU" dirty="0"/>
              <a:t>Электронная почта: fps@cbr.ru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02FD43A-C81A-4B12-B731-C0200E4E9C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5" y="431800"/>
            <a:ext cx="2407485" cy="59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4471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493330" y="377881"/>
            <a:ext cx="480239" cy="469859"/>
          </a:xfrm>
          <a:prstGeom prst="rect">
            <a:avLst/>
          </a:prstGeom>
        </p:spPr>
        <p:txBody>
          <a:bodyPr/>
          <a:lstStyle/>
          <a:p>
            <a:fld id="{5141225B-AE59-48C9-A737-5E7491829884}" type="slidenum">
              <a:rPr lang="ru-RU" smtClean="0">
                <a:solidFill>
                  <a:srgbClr val="8A8A8D"/>
                </a:solidFill>
              </a:rPr>
              <a:pPr/>
              <a:t>‹#›</a:t>
            </a:fld>
            <a:endParaRPr lang="ru-RU" dirty="0">
              <a:solidFill>
                <a:srgbClr val="8A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9107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493330" y="377881"/>
            <a:ext cx="480239" cy="469859"/>
          </a:xfrm>
          <a:prstGeom prst="rect">
            <a:avLst/>
          </a:prstGeom>
        </p:spPr>
        <p:txBody>
          <a:bodyPr/>
          <a:lstStyle/>
          <a:p>
            <a:fld id="{5141225B-AE59-48C9-A737-5E7491829884}" type="slidenum">
              <a:rPr lang="ru-RU" smtClean="0">
                <a:solidFill>
                  <a:srgbClr val="8A8A8D"/>
                </a:solidFill>
              </a:rPr>
              <a:pPr/>
              <a:t>‹#›</a:t>
            </a:fld>
            <a:endParaRPr lang="ru-RU" dirty="0">
              <a:solidFill>
                <a:srgbClr val="8A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0449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5">
            <a:extLst>
              <a:ext uri="{FF2B5EF4-FFF2-40B4-BE49-F238E27FC236}">
                <a16:creationId xmlns:a16="http://schemas.microsoft.com/office/drawing/2014/main" id="{34CC37E1-89DB-F54C-A285-B011317DB0C4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6340" y="3797300"/>
            <a:ext cx="4062411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399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6340" y="6205566"/>
            <a:ext cx="4062411" cy="276197"/>
          </a:xfrm>
        </p:spPr>
        <p:txBody>
          <a:bodyPr anchor="b"/>
          <a:lstStyle>
            <a:lvl1pPr>
              <a:spcBef>
                <a:spcPts val="0"/>
              </a:spcBef>
              <a:defRPr sz="1799" cap="none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en-US" dirty="0"/>
              <a:t>2017</a:t>
            </a:r>
            <a:r>
              <a:rPr lang="ru-RU" dirty="0"/>
              <a:t> г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D5B71E1-4C95-4E0E-82AA-C4C2E1DAE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7" r="18281"/>
          <a:stretch/>
        </p:blipFill>
        <p:spPr>
          <a:xfrm>
            <a:off x="6096000" y="1"/>
            <a:ext cx="6096000" cy="6858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75B42C9-D670-446A-9583-BD5571714E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5" y="431800"/>
            <a:ext cx="2407485" cy="59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3988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850900"/>
            <a:ext cx="10866438" cy="885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736725"/>
            <a:ext cx="10866438" cy="47164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371250" y="336378"/>
            <a:ext cx="3568700" cy="52173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800" cap="all" baseline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11229975" y="344488"/>
            <a:ext cx="481013" cy="469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2FD5BB-63B7-4D51-B1A2-2322F17743B5}" type="slidenum">
              <a:rPr lang="ru-RU" altLang="ru-RU">
                <a:solidFill>
                  <a:srgbClr val="8A8A8D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8A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052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84" indent="0" algn="ctr">
              <a:buNone/>
              <a:defRPr sz="1625"/>
            </a:lvl2pPr>
            <a:lvl3pPr marL="742969" indent="0" algn="ctr">
              <a:buNone/>
              <a:defRPr sz="1463"/>
            </a:lvl3pPr>
            <a:lvl4pPr marL="1114453" indent="0" algn="ctr">
              <a:buNone/>
              <a:defRPr sz="1300"/>
            </a:lvl4pPr>
            <a:lvl5pPr marL="1485937" indent="0" algn="ctr">
              <a:buNone/>
              <a:defRPr sz="1300"/>
            </a:lvl5pPr>
            <a:lvl6pPr marL="1857421" indent="0" algn="ctr">
              <a:buNone/>
              <a:defRPr sz="1300"/>
            </a:lvl6pPr>
            <a:lvl7pPr marL="2228906" indent="0" algn="ctr">
              <a:buNone/>
              <a:defRPr sz="1300"/>
            </a:lvl7pPr>
            <a:lvl8pPr marL="2600390" indent="0" algn="ctr">
              <a:buNone/>
              <a:defRPr sz="1300"/>
            </a:lvl8pPr>
            <a:lvl9pPr marL="2971874" indent="0" algn="ctr">
              <a:buNone/>
              <a:defRPr sz="13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98C0FE09-2BCF-4652-9FDA-4D61F383DFA2}" type="datetime1">
              <a:rPr lang="ru-RU" smtClean="0">
                <a:solidFill>
                  <a:srgbClr val="8A8A8D"/>
                </a:solidFill>
              </a:rPr>
              <a:pPr/>
              <a:t>30.10.2025</a:t>
            </a:fld>
            <a:endParaRPr lang="ru-RU" dirty="0">
              <a:solidFill>
                <a:srgbClr val="8A8A8D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8A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9666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493330" y="377881"/>
            <a:ext cx="480239" cy="469859"/>
          </a:xfrm>
          <a:prstGeom prst="rect">
            <a:avLst/>
          </a:prstGeom>
        </p:spPr>
        <p:txBody>
          <a:bodyPr/>
          <a:lstStyle/>
          <a:p>
            <a:fld id="{5141225B-AE59-48C9-A737-5E7491829884}" type="slidenum">
              <a:rPr lang="ru-RU" smtClean="0">
                <a:solidFill>
                  <a:srgbClr val="8A8A8D"/>
                </a:solidFill>
              </a:rPr>
              <a:pPr/>
              <a:t>‹#›</a:t>
            </a:fld>
            <a:endParaRPr lang="ru-RU" dirty="0">
              <a:solidFill>
                <a:srgbClr val="8A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1449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493330" y="377881"/>
            <a:ext cx="480239" cy="469859"/>
          </a:xfrm>
          <a:prstGeom prst="rect">
            <a:avLst/>
          </a:prstGeom>
        </p:spPr>
        <p:txBody>
          <a:bodyPr/>
          <a:lstStyle/>
          <a:p>
            <a:fld id="{5141225B-AE59-48C9-A737-5E7491829884}" type="slidenum">
              <a:rPr lang="ru-RU" smtClean="0">
                <a:solidFill>
                  <a:srgbClr val="8A8A8D"/>
                </a:solidFill>
              </a:rPr>
              <a:pPr/>
              <a:t>‹#›</a:t>
            </a:fld>
            <a:endParaRPr lang="ru-RU" dirty="0">
              <a:solidFill>
                <a:srgbClr val="8A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0018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493330" y="377881"/>
            <a:ext cx="480239" cy="469859"/>
          </a:xfrm>
          <a:prstGeom prst="rect">
            <a:avLst/>
          </a:prstGeom>
        </p:spPr>
        <p:txBody>
          <a:bodyPr/>
          <a:lstStyle/>
          <a:p>
            <a:fld id="{5141225B-AE59-48C9-A737-5E7491829884}" type="slidenum">
              <a:rPr lang="ru-RU" smtClean="0">
                <a:solidFill>
                  <a:srgbClr val="8A8A8D"/>
                </a:solidFill>
              </a:rPr>
              <a:pPr/>
              <a:t>‹#›</a:t>
            </a:fld>
            <a:endParaRPr lang="ru-RU" dirty="0">
              <a:solidFill>
                <a:srgbClr val="8A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8136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493330" y="377881"/>
            <a:ext cx="480239" cy="469859"/>
          </a:xfrm>
          <a:prstGeom prst="rect">
            <a:avLst/>
          </a:prstGeom>
        </p:spPr>
        <p:txBody>
          <a:bodyPr/>
          <a:lstStyle/>
          <a:p>
            <a:fld id="{5141225B-AE59-48C9-A737-5E7491829884}" type="slidenum">
              <a:rPr lang="ru-RU" smtClean="0">
                <a:solidFill>
                  <a:srgbClr val="8A8A8D"/>
                </a:solidFill>
              </a:rPr>
              <a:pPr/>
              <a:t>‹#›</a:t>
            </a:fld>
            <a:endParaRPr lang="ru-RU" dirty="0">
              <a:solidFill>
                <a:srgbClr val="8A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9833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850900"/>
            <a:ext cx="10866438" cy="885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736725"/>
            <a:ext cx="10866438" cy="47164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371250" y="336378"/>
            <a:ext cx="3568700" cy="52173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800" cap="all" baseline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11229975" y="344488"/>
            <a:ext cx="481013" cy="469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2FD5BB-63B7-4D51-B1A2-2322F17743B5}" type="slidenum">
              <a:rPr lang="ru-RU" altLang="ru-RU">
                <a:solidFill>
                  <a:srgbClr val="8A8A8D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8A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119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3387" y="1107506"/>
            <a:ext cx="11325225" cy="60699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38153" y="1975652"/>
            <a:ext cx="11320460" cy="27614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371249" y="336378"/>
            <a:ext cx="3568700" cy="52173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800" cap="all" baseline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11014074" y="431801"/>
            <a:ext cx="744537" cy="32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642FE-8EE6-45D8-80F7-05510B20073C}" type="slidenum">
              <a:rPr lang="ru-RU" altLang="ru-RU">
                <a:solidFill>
                  <a:srgbClr val="8A8A8D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8A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187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963D6B-A12F-664A-BDF1-F468FE235C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89375" y="2296162"/>
            <a:ext cx="5852160" cy="2722879"/>
          </a:xfrm>
        </p:spPr>
        <p:txBody>
          <a:bodyPr anchor="ctr">
            <a:normAutofit/>
          </a:bodyPr>
          <a:lstStyle>
            <a:lvl1pPr algn="l">
              <a:defRPr sz="2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88548DB-95D3-9C48-9D94-626687CB25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89375" y="5019039"/>
            <a:ext cx="5852160" cy="108204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015235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963D6B-A12F-664A-BDF1-F468FE235C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89375" y="2296162"/>
            <a:ext cx="5852160" cy="2722879"/>
          </a:xfrm>
        </p:spPr>
        <p:txBody>
          <a:bodyPr anchor="ctr">
            <a:normAutofit/>
          </a:bodyPr>
          <a:lstStyle>
            <a:lvl1pPr algn="l">
              <a:defRPr sz="2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88548DB-95D3-9C48-9D94-626687CB25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89375" y="5019039"/>
            <a:ext cx="5852160" cy="108204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2B2ECE2-1D45-DF13-5A7F-604C80395A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937" y="690023"/>
            <a:ext cx="3009089" cy="11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113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5">
            <a:extLst>
              <a:ext uri="{FF2B5EF4-FFF2-40B4-BE49-F238E27FC236}">
                <a16:creationId xmlns:a16="http://schemas.microsoft.com/office/drawing/2014/main" id="{868D1A79-0555-C24E-AC19-8597029C75B0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300"/>
            <a:ext cx="4592638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798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6205566"/>
            <a:ext cx="4592638" cy="276197"/>
          </a:xfrm>
        </p:spPr>
        <p:txBody>
          <a:bodyPr anchor="b"/>
          <a:lstStyle>
            <a:lvl1pPr>
              <a:spcBef>
                <a:spcPts val="0"/>
              </a:spcBef>
              <a:defRPr sz="1799" cap="none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en-US" dirty="0"/>
              <a:t>2017 </a:t>
            </a:r>
            <a:r>
              <a:rPr lang="ru-RU" dirty="0"/>
              <a:t>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B0CCE6C-1C13-42E8-8E94-10A9B14A5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79" y="431801"/>
            <a:ext cx="3638390" cy="9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6951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bg>
      <p:bgPr>
        <a:solidFill>
          <a:srgbClr val="0082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963D6B-A12F-664A-BDF1-F468FE235C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7241" y="2296162"/>
            <a:ext cx="5852160" cy="2722879"/>
          </a:xfrm>
        </p:spPr>
        <p:txBody>
          <a:bodyPr anchor="ctr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88548DB-95D3-9C48-9D94-626687CB25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7241" y="5019039"/>
            <a:ext cx="5852160" cy="108204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E9634C4-7520-334D-BF4E-0B94DC0F07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937" y="690023"/>
            <a:ext cx="3009089" cy="11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1159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8" y="183181"/>
            <a:ext cx="8875776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FADEC39-D9C5-5E40-B7C9-3E2673CA2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black">
                    <a:lumMod val="50000"/>
                    <a:lumOff val="50000"/>
                  </a:prstClr>
                </a:solidFill>
              </a:rPr>
              <a:pPr algn="r"/>
              <a:t>‹#›</a:t>
            </a:fld>
            <a:endParaRPr lang="ru-RU" sz="16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8806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BF99D88-0FF9-E34F-9A0E-33E9C240DA2F}"/>
              </a:ext>
            </a:extLst>
          </p:cNvPr>
          <p:cNvSpPr/>
          <p:nvPr userDrawn="1"/>
        </p:nvSpPr>
        <p:spPr>
          <a:xfrm>
            <a:off x="0" y="-1"/>
            <a:ext cx="12192000" cy="2688831"/>
          </a:xfrm>
          <a:prstGeom prst="rect">
            <a:avLst/>
          </a:prstGeom>
          <a:solidFill>
            <a:srgbClr val="0082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8" y="183181"/>
            <a:ext cx="8875776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FADEC39-D9C5-5E40-B7C9-3E2673CA2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white"/>
                </a:solidFill>
              </a:rPr>
              <a:pPr algn="r"/>
              <a:t>‹#›</a:t>
            </a:fld>
            <a:endParaRPr lang="ru-RU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3624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BF99D88-0FF9-E34F-9A0E-33E9C240DA2F}"/>
              </a:ext>
            </a:extLst>
          </p:cNvPr>
          <p:cNvSpPr/>
          <p:nvPr userDrawn="1"/>
        </p:nvSpPr>
        <p:spPr>
          <a:xfrm>
            <a:off x="6096000" y="-1"/>
            <a:ext cx="6096000" cy="6858001"/>
          </a:xfrm>
          <a:prstGeom prst="rect">
            <a:avLst/>
          </a:prstGeom>
          <a:solidFill>
            <a:srgbClr val="0082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9" y="183181"/>
            <a:ext cx="3901833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white"/>
                </a:solidFill>
              </a:rPr>
              <a:pPr algn="r"/>
              <a:t>‹#›</a:t>
            </a:fld>
            <a:endParaRPr lang="ru-RU" sz="1600" dirty="0">
              <a:solidFill>
                <a:prstClr val="white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B12A43D-3A97-5045-9C9E-438E22046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4619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BF99D88-0FF9-E34F-9A0E-33E9C240DA2F}"/>
              </a:ext>
            </a:extLst>
          </p:cNvPr>
          <p:cNvSpPr/>
          <p:nvPr userDrawn="1"/>
        </p:nvSpPr>
        <p:spPr>
          <a:xfrm>
            <a:off x="6096000" y="-1"/>
            <a:ext cx="6096000" cy="6858001"/>
          </a:xfrm>
          <a:prstGeom prst="rect">
            <a:avLst/>
          </a:prstGeom>
          <a:solidFill>
            <a:srgbClr val="E4EE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8" y="183181"/>
            <a:ext cx="8833693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white">
                    <a:lumMod val="50000"/>
                  </a:prstClr>
                </a:solidFill>
              </a:rPr>
              <a:pPr algn="r"/>
              <a:t>‹#›</a:t>
            </a:fld>
            <a:endParaRPr lang="ru-RU" sz="1600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B12A43D-3A97-5045-9C9E-438E22046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4372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bg>
      <p:bgPr>
        <a:solidFill>
          <a:srgbClr val="0082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8" y="183181"/>
            <a:ext cx="8875776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FADEC39-D9C5-5E40-B7C9-3E2673CA2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white"/>
                </a:solidFill>
              </a:rPr>
              <a:pPr algn="r"/>
              <a:t>‹#›</a:t>
            </a:fld>
            <a:endParaRPr lang="ru-RU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7335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bg>
      <p:bgPr>
        <a:solidFill>
          <a:srgbClr val="0082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FADEC39-D9C5-5E40-B7C9-3E2673CA2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white"/>
                </a:solidFill>
              </a:rPr>
              <a:pPr algn="r"/>
              <a:t>‹#›</a:t>
            </a:fld>
            <a:endParaRPr lang="ru-RU" sz="1600" dirty="0">
              <a:solidFill>
                <a:prstClr val="white"/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5A9C55BC-EE07-6948-BD8E-CBB0A237B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81" y="2422048"/>
            <a:ext cx="6174260" cy="20192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58615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2FB201D9-CFB7-6849-99D2-19AA4DED672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05525" y="0"/>
            <a:ext cx="6086475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8" y="183181"/>
            <a:ext cx="8875776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FADEC39-D9C5-5E40-B7C9-3E2673CA2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black">
                    <a:lumMod val="50000"/>
                    <a:lumOff val="50000"/>
                  </a:prstClr>
                </a:solidFill>
              </a:rPr>
              <a:pPr algn="r"/>
              <a:t>‹#›</a:t>
            </a:fld>
            <a:endParaRPr lang="ru-RU" sz="16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6723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963D6B-A12F-664A-BDF1-F468FE235C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89375" y="2296162"/>
            <a:ext cx="5852160" cy="2722879"/>
          </a:xfrm>
        </p:spPr>
        <p:txBody>
          <a:bodyPr anchor="ctr">
            <a:normAutofit/>
          </a:bodyPr>
          <a:lstStyle>
            <a:lvl1pPr algn="l">
              <a:defRPr sz="2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88548DB-95D3-9C48-9D94-626687CB25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89375" y="5019039"/>
            <a:ext cx="5852160" cy="108204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791622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963D6B-A12F-664A-BDF1-F468FE235C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89375" y="2296162"/>
            <a:ext cx="5852160" cy="2722879"/>
          </a:xfrm>
        </p:spPr>
        <p:txBody>
          <a:bodyPr anchor="ctr">
            <a:normAutofit/>
          </a:bodyPr>
          <a:lstStyle>
            <a:lvl1pPr algn="l">
              <a:defRPr sz="2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88548DB-95D3-9C48-9D94-626687CB25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89375" y="5019039"/>
            <a:ext cx="5852160" cy="108204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2B2ECE2-1D45-DF13-5A7F-604C80395A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937" y="690023"/>
            <a:ext cx="3009089" cy="11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3482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5">
            <a:extLst>
              <a:ext uri="{FF2B5EF4-FFF2-40B4-BE49-F238E27FC236}">
                <a16:creationId xmlns:a16="http://schemas.microsoft.com/office/drawing/2014/main" id="{20E5DCE5-DCC6-9D49-9FD7-9D01D8772A13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300"/>
            <a:ext cx="4592638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798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6205566"/>
            <a:ext cx="4592638" cy="276197"/>
          </a:xfrm>
        </p:spPr>
        <p:txBody>
          <a:bodyPr anchor="b"/>
          <a:lstStyle>
            <a:lvl1pPr>
              <a:spcBef>
                <a:spcPts val="0"/>
              </a:spcBef>
              <a:defRPr sz="1799" cap="none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en-US" dirty="0"/>
              <a:t>2017 </a:t>
            </a:r>
            <a:r>
              <a:rPr lang="ru-RU" dirty="0"/>
              <a:t>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B0CCE6C-1C13-42E8-8E94-10A9B14A5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79" y="431801"/>
            <a:ext cx="3638390" cy="9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1034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bg>
      <p:bgPr>
        <a:solidFill>
          <a:srgbClr val="0082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963D6B-A12F-664A-BDF1-F468FE235C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7241" y="2296162"/>
            <a:ext cx="5852160" cy="2722879"/>
          </a:xfrm>
        </p:spPr>
        <p:txBody>
          <a:bodyPr anchor="ctr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88548DB-95D3-9C48-9D94-626687CB25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7241" y="5019039"/>
            <a:ext cx="5852160" cy="108204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E9634C4-7520-334D-BF4E-0B94DC0F07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937" y="690023"/>
            <a:ext cx="3009089" cy="119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72426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8" y="183181"/>
            <a:ext cx="8875776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FADEC39-D9C5-5E40-B7C9-3E2673CA2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black">
                    <a:lumMod val="50000"/>
                    <a:lumOff val="50000"/>
                  </a:prstClr>
                </a:solidFill>
              </a:rPr>
              <a:pPr algn="r"/>
              <a:t>‹#›</a:t>
            </a:fld>
            <a:endParaRPr lang="ru-RU" sz="16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0354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8" y="183181"/>
            <a:ext cx="8875776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FADEC39-D9C5-5E40-B7C9-3E2673CA2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black">
                    <a:lumMod val="50000"/>
                    <a:lumOff val="50000"/>
                  </a:prstClr>
                </a:solidFill>
              </a:rPr>
              <a:pPr algn="r"/>
              <a:t>‹#›</a:t>
            </a:fld>
            <a:endParaRPr lang="ru-RU" sz="16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Облачко с текстом: овальное 1">
            <a:extLst>
              <a:ext uri="{FF2B5EF4-FFF2-40B4-BE49-F238E27FC236}">
                <a16:creationId xmlns:a16="http://schemas.microsoft.com/office/drawing/2014/main" id="{B0AFF5B4-D4CE-69F0-DDB1-F33886143326}"/>
              </a:ext>
            </a:extLst>
          </p:cNvPr>
          <p:cNvSpPr/>
          <p:nvPr userDrawn="1"/>
        </p:nvSpPr>
        <p:spPr>
          <a:xfrm>
            <a:off x="10407652" y="140914"/>
            <a:ext cx="1057144" cy="598559"/>
          </a:xfrm>
          <a:prstGeom prst="wedgeEllipseCallout">
            <a:avLst/>
          </a:prstGeom>
          <a:solidFill>
            <a:srgbClr val="1EBCB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Ins="96000" rtlCol="0" anchor="ctr"/>
          <a:lstStyle/>
          <a:p>
            <a:pPr algn="ctr" defTabSz="914377"/>
            <a:r>
              <a:rPr lang="ru-RU" sz="1600" dirty="0">
                <a:solidFill>
                  <a:prstClr val="white"/>
                </a:solidFill>
              </a:rPr>
              <a:t>ЦА</a:t>
            </a:r>
          </a:p>
        </p:txBody>
      </p:sp>
    </p:spTree>
    <p:extLst>
      <p:ext uri="{BB962C8B-B14F-4D97-AF65-F5344CB8AC3E}">
        <p14:creationId xmlns:p14="http://schemas.microsoft.com/office/powerpoint/2010/main" val="42544032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200" y="133613"/>
            <a:ext cx="8066024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FADEC39-D9C5-5E40-B7C9-3E2673CA2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black">
                    <a:lumMod val="50000"/>
                    <a:lumOff val="50000"/>
                  </a:prstClr>
                </a:solidFill>
              </a:rPr>
              <a:pPr algn="r"/>
              <a:t>‹#›</a:t>
            </a:fld>
            <a:endParaRPr lang="ru-RU" sz="16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Облачко с текстом: овальное 1">
            <a:extLst>
              <a:ext uri="{FF2B5EF4-FFF2-40B4-BE49-F238E27FC236}">
                <a16:creationId xmlns:a16="http://schemas.microsoft.com/office/drawing/2014/main" id="{B0AFF5B4-D4CE-69F0-DDB1-F33886143326}"/>
              </a:ext>
            </a:extLst>
          </p:cNvPr>
          <p:cNvSpPr/>
          <p:nvPr userDrawn="1"/>
        </p:nvSpPr>
        <p:spPr>
          <a:xfrm>
            <a:off x="10407652" y="140914"/>
            <a:ext cx="1057144" cy="598559"/>
          </a:xfrm>
          <a:prstGeom prst="wedgeEllipseCallout">
            <a:avLst/>
          </a:prstGeom>
          <a:solidFill>
            <a:srgbClr val="1EBCB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Ins="96000" rtlCol="0" anchor="ctr"/>
          <a:lstStyle/>
          <a:p>
            <a:pPr algn="ctr" defTabSz="914377"/>
            <a:r>
              <a:rPr lang="ru-RU" sz="1600" dirty="0">
                <a:solidFill>
                  <a:prstClr val="white"/>
                </a:solidFill>
              </a:rPr>
              <a:t>ЦА</a:t>
            </a:r>
          </a:p>
        </p:txBody>
      </p:sp>
    </p:spTree>
    <p:extLst>
      <p:ext uri="{BB962C8B-B14F-4D97-AF65-F5344CB8AC3E}">
        <p14:creationId xmlns:p14="http://schemas.microsoft.com/office/powerpoint/2010/main" val="7740626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BF99D88-0FF9-E34F-9A0E-33E9C240DA2F}"/>
              </a:ext>
            </a:extLst>
          </p:cNvPr>
          <p:cNvSpPr/>
          <p:nvPr userDrawn="1"/>
        </p:nvSpPr>
        <p:spPr>
          <a:xfrm>
            <a:off x="0" y="-1"/>
            <a:ext cx="12192000" cy="2688831"/>
          </a:xfrm>
          <a:prstGeom prst="rect">
            <a:avLst/>
          </a:prstGeom>
          <a:solidFill>
            <a:srgbClr val="0082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8" y="183181"/>
            <a:ext cx="8875776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FADEC39-D9C5-5E40-B7C9-3E2673CA2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white"/>
                </a:solidFill>
              </a:rPr>
              <a:pPr algn="r"/>
              <a:t>‹#›</a:t>
            </a:fld>
            <a:endParaRPr lang="ru-RU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18905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BF99D88-0FF9-E34F-9A0E-33E9C240DA2F}"/>
              </a:ext>
            </a:extLst>
          </p:cNvPr>
          <p:cNvSpPr/>
          <p:nvPr userDrawn="1"/>
        </p:nvSpPr>
        <p:spPr>
          <a:xfrm>
            <a:off x="6096000" y="-1"/>
            <a:ext cx="6096000" cy="6858001"/>
          </a:xfrm>
          <a:prstGeom prst="rect">
            <a:avLst/>
          </a:prstGeom>
          <a:solidFill>
            <a:srgbClr val="0082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9" y="183181"/>
            <a:ext cx="3901833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white"/>
                </a:solidFill>
              </a:rPr>
              <a:pPr algn="r"/>
              <a:t>‹#›</a:t>
            </a:fld>
            <a:endParaRPr lang="ru-RU" sz="1600" dirty="0">
              <a:solidFill>
                <a:prstClr val="white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B12A43D-3A97-5045-9C9E-438E22046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6827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BF99D88-0FF9-E34F-9A0E-33E9C240DA2F}"/>
              </a:ext>
            </a:extLst>
          </p:cNvPr>
          <p:cNvSpPr/>
          <p:nvPr userDrawn="1"/>
        </p:nvSpPr>
        <p:spPr>
          <a:xfrm>
            <a:off x="6096000" y="-1"/>
            <a:ext cx="6096000" cy="6858001"/>
          </a:xfrm>
          <a:prstGeom prst="rect">
            <a:avLst/>
          </a:prstGeom>
          <a:solidFill>
            <a:srgbClr val="E4EE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8" y="183181"/>
            <a:ext cx="8833693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white">
                    <a:lumMod val="50000"/>
                  </a:prstClr>
                </a:solidFill>
              </a:rPr>
              <a:pPr algn="r"/>
              <a:t>‹#›</a:t>
            </a:fld>
            <a:endParaRPr lang="ru-RU" sz="1600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B12A43D-3A97-5045-9C9E-438E22046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35411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bg>
      <p:bgPr>
        <a:solidFill>
          <a:srgbClr val="0082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8" y="183181"/>
            <a:ext cx="8875776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FADEC39-D9C5-5E40-B7C9-3E2673CA2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white"/>
                </a:solidFill>
              </a:rPr>
              <a:pPr algn="r"/>
              <a:t>‹#›</a:t>
            </a:fld>
            <a:endParaRPr lang="ru-RU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4364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bg>
      <p:bgPr>
        <a:solidFill>
          <a:srgbClr val="0082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FADEC39-D9C5-5E40-B7C9-3E2673CA2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white"/>
                </a:solidFill>
              </a:rPr>
              <a:pPr algn="r"/>
              <a:t>‹#›</a:t>
            </a:fld>
            <a:endParaRPr lang="ru-RU" sz="1600" dirty="0">
              <a:solidFill>
                <a:prstClr val="white"/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5A9C55BC-EE07-6948-BD8E-CBB0A237B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81" y="2422048"/>
            <a:ext cx="6174260" cy="20192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159049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2FB201D9-CFB7-6849-99D2-19AA4DED672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05525" y="0"/>
            <a:ext cx="6086475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22038D3-A536-1940-B695-05AE333DC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8" y="183181"/>
            <a:ext cx="8875776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FADEC39-D9C5-5E40-B7C9-3E2673CA2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388" y="431801"/>
            <a:ext cx="1266827" cy="316707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C80E97D-881A-4B45-AA8D-732F52197105}"/>
              </a:ext>
            </a:extLst>
          </p:cNvPr>
          <p:cNvSpPr txBox="1">
            <a:spLocks/>
          </p:cNvSpPr>
          <p:nvPr userDrawn="1"/>
        </p:nvSpPr>
        <p:spPr>
          <a:xfrm>
            <a:off x="11014076" y="415472"/>
            <a:ext cx="744537" cy="324000"/>
          </a:xfrm>
          <a:custGeom>
            <a:avLst/>
            <a:gdLst>
              <a:gd name="connsiteX0" fmla="*/ 3760873 w 8576585"/>
              <a:gd name="connsiteY0" fmla="*/ 0 h 10972801"/>
              <a:gd name="connsiteX1" fmla="*/ 8576585 w 8576585"/>
              <a:gd name="connsiteY1" fmla="*/ 0 h 10972801"/>
              <a:gd name="connsiteX2" fmla="*/ 8576585 w 8576585"/>
              <a:gd name="connsiteY2" fmla="*/ 10972801 h 10972801"/>
              <a:gd name="connsiteX3" fmla="*/ 5753575 w 8576585"/>
              <a:gd name="connsiteY3" fmla="*/ 10972801 h 10972801"/>
              <a:gd name="connsiteX4" fmla="*/ 4027397 w 8576585"/>
              <a:gd name="connsiteY4" fmla="*/ 10972799 h 10972801"/>
              <a:gd name="connsiteX5" fmla="*/ 3760873 w 8576585"/>
              <a:gd name="connsiteY5" fmla="*/ 10972799 h 10972801"/>
              <a:gd name="connsiteX6" fmla="*/ 3494349 w 8576585"/>
              <a:gd name="connsiteY6" fmla="*/ 10972799 h 10972801"/>
              <a:gd name="connsiteX7" fmla="*/ 766853 w 8576585"/>
              <a:gd name="connsiteY7" fmla="*/ 10972799 h 10972801"/>
              <a:gd name="connsiteX8" fmla="*/ 730191 w 8576585"/>
              <a:gd name="connsiteY8" fmla="*/ 10951009 h 10972801"/>
              <a:gd name="connsiteX9" fmla="*/ 994739 w 8576585"/>
              <a:gd name="connsiteY9" fmla="*/ 10342959 h 10972801"/>
              <a:gd name="connsiteX10" fmla="*/ 1527603 w 8576585"/>
              <a:gd name="connsiteY10" fmla="*/ 10122945 h 10972801"/>
              <a:gd name="connsiteX11" fmla="*/ 1332993 w 8576585"/>
              <a:gd name="connsiteY11" fmla="*/ 9697115 h 10972801"/>
              <a:gd name="connsiteX12" fmla="*/ 118989 w 8576585"/>
              <a:gd name="connsiteY12" fmla="*/ 9391935 h 10972801"/>
              <a:gd name="connsiteX13" fmla="*/ 355303 w 8576585"/>
              <a:gd name="connsiteY13" fmla="*/ 8987393 h 10972801"/>
              <a:gd name="connsiteX14" fmla="*/ 1833421 w 8576585"/>
              <a:gd name="connsiteY14" fmla="*/ 8888033 h 10972801"/>
              <a:gd name="connsiteX15" fmla="*/ 1986331 w 8576585"/>
              <a:gd name="connsiteY15" fmla="*/ 8448007 h 10972801"/>
              <a:gd name="connsiteX16" fmla="*/ 739891 w 8576585"/>
              <a:gd name="connsiteY16" fmla="*/ 8167669 h 10972801"/>
              <a:gd name="connsiteX17" fmla="*/ 642585 w 8576585"/>
              <a:gd name="connsiteY17" fmla="*/ 7734740 h 10972801"/>
              <a:gd name="connsiteX18" fmla="*/ 1189351 w 8576585"/>
              <a:gd name="connsiteY18" fmla="*/ 7557309 h 10972801"/>
              <a:gd name="connsiteX19" fmla="*/ 1180083 w 8576585"/>
              <a:gd name="connsiteY19" fmla="*/ 6872429 h 10972801"/>
              <a:gd name="connsiteX20" fmla="*/ 415539 w 8576585"/>
              <a:gd name="connsiteY20" fmla="*/ 6822749 h 10972801"/>
              <a:gd name="connsiteX21" fmla="*/ 183859 w 8576585"/>
              <a:gd name="connsiteY21" fmla="*/ 6421758 h 10972801"/>
              <a:gd name="connsiteX22" fmla="*/ 2148507 w 8576585"/>
              <a:gd name="connsiteY22" fmla="*/ 6063348 h 10972801"/>
              <a:gd name="connsiteX23" fmla="*/ 2162407 w 8576585"/>
              <a:gd name="connsiteY23" fmla="*/ 5605579 h 10972801"/>
              <a:gd name="connsiteX24" fmla="*/ 790861 w 8576585"/>
              <a:gd name="connsiteY24" fmla="*/ 5424601 h 10972801"/>
              <a:gd name="connsiteX25" fmla="*/ 633319 w 8576585"/>
              <a:gd name="connsiteY25" fmla="*/ 4963283 h 10972801"/>
              <a:gd name="connsiteX26" fmla="*/ 1180083 w 8576585"/>
              <a:gd name="connsiteY26" fmla="*/ 4782304 h 10972801"/>
              <a:gd name="connsiteX27" fmla="*/ 1184717 w 8576585"/>
              <a:gd name="connsiteY27" fmla="*/ 4097426 h 10972801"/>
              <a:gd name="connsiteX28" fmla="*/ 582349 w 8576585"/>
              <a:gd name="connsiteY28" fmla="*/ 3930641 h 10972801"/>
              <a:gd name="connsiteX29" fmla="*/ 661121 w 8576585"/>
              <a:gd name="connsiteY29" fmla="*/ 3479969 h 10972801"/>
              <a:gd name="connsiteX30" fmla="*/ 1884391 w 8576585"/>
              <a:gd name="connsiteY30" fmla="*/ 3213823 h 10972801"/>
              <a:gd name="connsiteX31" fmla="*/ 1467367 w 8576585"/>
              <a:gd name="connsiteY31" fmla="*/ 2699277 h 10972801"/>
              <a:gd name="connsiteX32" fmla="*/ 387739 w 8576585"/>
              <a:gd name="connsiteY32" fmla="*/ 2670888 h 10972801"/>
              <a:gd name="connsiteX33" fmla="*/ 239463 w 8576585"/>
              <a:gd name="connsiteY33" fmla="*/ 2049883 h 10972801"/>
              <a:gd name="connsiteX34" fmla="*/ 874265 w 8576585"/>
              <a:gd name="connsiteY34" fmla="*/ 2007299 h 10972801"/>
              <a:gd name="connsiteX35" fmla="*/ 1462733 w 8576585"/>
              <a:gd name="connsiteY35" fmla="*/ 1897294 h 10972801"/>
              <a:gd name="connsiteX36" fmla="*/ 994739 w 8576585"/>
              <a:gd name="connsiteY36" fmla="*/ 1315322 h 10972801"/>
              <a:gd name="connsiteX37" fmla="*/ 633319 w 8576585"/>
              <a:gd name="connsiteY37" fmla="*/ 701414 h 10972801"/>
              <a:gd name="connsiteX38" fmla="*/ 1189351 w 8576585"/>
              <a:gd name="connsiteY38" fmla="*/ 616247 h 10972801"/>
              <a:gd name="connsiteX39" fmla="*/ 1754649 w 8576585"/>
              <a:gd name="connsiteY39" fmla="*/ 566568 h 10972801"/>
              <a:gd name="connsiteX40" fmla="*/ 1807293 w 8576585"/>
              <a:gd name="connsiteY40" fmla="*/ 8730 h 10972801"/>
              <a:gd name="connsiteX41" fmla="*/ 1790913 w 8576585"/>
              <a:gd name="connsiteY41" fmla="*/ 1 h 10972801"/>
              <a:gd name="connsiteX42" fmla="*/ 3494349 w 8576585"/>
              <a:gd name="connsiteY42" fmla="*/ 1 h 10972801"/>
              <a:gd name="connsiteX43" fmla="*/ 3760873 w 8576585"/>
              <a:gd name="connsiteY43" fmla="*/ 1 h 1097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6585" h="10972801">
                <a:moveTo>
                  <a:pt x="3760873" y="0"/>
                </a:moveTo>
                <a:lnTo>
                  <a:pt x="8576585" y="0"/>
                </a:lnTo>
                <a:lnTo>
                  <a:pt x="8576585" y="10972801"/>
                </a:lnTo>
                <a:lnTo>
                  <a:pt x="5753575" y="10972801"/>
                </a:lnTo>
                <a:lnTo>
                  <a:pt x="4027397" y="10972799"/>
                </a:lnTo>
                <a:lnTo>
                  <a:pt x="3760873" y="10972799"/>
                </a:lnTo>
                <a:lnTo>
                  <a:pt x="3494349" y="10972799"/>
                </a:lnTo>
                <a:lnTo>
                  <a:pt x="766853" y="10972799"/>
                </a:lnTo>
                <a:lnTo>
                  <a:pt x="730191" y="10951009"/>
                </a:lnTo>
                <a:cubicBezTo>
                  <a:pt x="456517" y="10759419"/>
                  <a:pt x="544701" y="10389535"/>
                  <a:pt x="994739" y="10342959"/>
                </a:cubicBezTo>
                <a:cubicBezTo>
                  <a:pt x="1277389" y="10318117"/>
                  <a:pt x="1439565" y="10303923"/>
                  <a:pt x="1527603" y="10122945"/>
                </a:cubicBezTo>
                <a:cubicBezTo>
                  <a:pt x="1620275" y="9920675"/>
                  <a:pt x="1485901" y="9753891"/>
                  <a:pt x="1332993" y="9697115"/>
                </a:cubicBezTo>
                <a:cubicBezTo>
                  <a:pt x="888165" y="9523233"/>
                  <a:pt x="253363" y="9810669"/>
                  <a:pt x="118989" y="9391935"/>
                </a:cubicBezTo>
                <a:cubicBezTo>
                  <a:pt x="63385" y="9210955"/>
                  <a:pt x="207027" y="9044171"/>
                  <a:pt x="355303" y="8987393"/>
                </a:cubicBezTo>
                <a:cubicBezTo>
                  <a:pt x="675021" y="8873837"/>
                  <a:pt x="1560039" y="9051269"/>
                  <a:pt x="1833421" y="8888033"/>
                </a:cubicBezTo>
                <a:cubicBezTo>
                  <a:pt x="1972431" y="8806415"/>
                  <a:pt x="2097535" y="8636083"/>
                  <a:pt x="1986331" y="8448007"/>
                </a:cubicBezTo>
                <a:cubicBezTo>
                  <a:pt x="1773185" y="8093148"/>
                  <a:pt x="1073511" y="8384133"/>
                  <a:pt x="739891" y="8167669"/>
                </a:cubicBezTo>
                <a:cubicBezTo>
                  <a:pt x="596251" y="8075405"/>
                  <a:pt x="517479" y="7897975"/>
                  <a:pt x="642585" y="7734740"/>
                </a:cubicBezTo>
                <a:cubicBezTo>
                  <a:pt x="767693" y="7571504"/>
                  <a:pt x="906701" y="7596344"/>
                  <a:pt x="1189351" y="7557309"/>
                </a:cubicBezTo>
                <a:cubicBezTo>
                  <a:pt x="1750017" y="7486338"/>
                  <a:pt x="1634177" y="6918562"/>
                  <a:pt x="1180083" y="6872429"/>
                </a:cubicBezTo>
                <a:cubicBezTo>
                  <a:pt x="934501" y="6847589"/>
                  <a:pt x="633319" y="6911465"/>
                  <a:pt x="415539" y="6822749"/>
                </a:cubicBezTo>
                <a:cubicBezTo>
                  <a:pt x="271897" y="6765971"/>
                  <a:pt x="114355" y="6620479"/>
                  <a:pt x="183859" y="6421758"/>
                </a:cubicBezTo>
                <a:cubicBezTo>
                  <a:pt x="359935" y="5910759"/>
                  <a:pt x="1777817" y="6382723"/>
                  <a:pt x="2148507" y="6063348"/>
                </a:cubicBezTo>
                <a:cubicBezTo>
                  <a:pt x="2282881" y="5942696"/>
                  <a:pt x="2310681" y="5740426"/>
                  <a:pt x="2162407" y="5605579"/>
                </a:cubicBezTo>
                <a:cubicBezTo>
                  <a:pt x="1865857" y="5332338"/>
                  <a:pt x="1193985" y="5598483"/>
                  <a:pt x="790861" y="5424601"/>
                </a:cubicBezTo>
                <a:cubicBezTo>
                  <a:pt x="614785" y="5350080"/>
                  <a:pt x="508213" y="5162004"/>
                  <a:pt x="633319" y="4963283"/>
                </a:cubicBezTo>
                <a:cubicBezTo>
                  <a:pt x="725991" y="4814242"/>
                  <a:pt x="911335" y="4807144"/>
                  <a:pt x="1180083" y="4782304"/>
                </a:cubicBezTo>
                <a:cubicBezTo>
                  <a:pt x="1685145" y="4729075"/>
                  <a:pt x="1712949" y="4157752"/>
                  <a:pt x="1184717" y="4097426"/>
                </a:cubicBezTo>
                <a:cubicBezTo>
                  <a:pt x="878899" y="4061939"/>
                  <a:pt x="725991" y="4097426"/>
                  <a:pt x="582349" y="3930641"/>
                </a:cubicBezTo>
                <a:cubicBezTo>
                  <a:pt x="457241" y="3778051"/>
                  <a:pt x="494311" y="3589975"/>
                  <a:pt x="661121" y="3479969"/>
                </a:cubicBezTo>
                <a:cubicBezTo>
                  <a:pt x="985473" y="3263505"/>
                  <a:pt x="1689779" y="3565135"/>
                  <a:pt x="1884391" y="3213823"/>
                </a:cubicBezTo>
                <a:cubicBezTo>
                  <a:pt x="2083635" y="2937033"/>
                  <a:pt x="1791717" y="2717020"/>
                  <a:pt x="1467367" y="2699277"/>
                </a:cubicBezTo>
                <a:cubicBezTo>
                  <a:pt x="1226419" y="2685082"/>
                  <a:pt x="536013" y="2752506"/>
                  <a:pt x="387739" y="2670888"/>
                </a:cubicBezTo>
                <a:cubicBezTo>
                  <a:pt x="-75623" y="2653146"/>
                  <a:pt x="-121959" y="2191827"/>
                  <a:pt x="239463" y="2049883"/>
                </a:cubicBezTo>
                <a:cubicBezTo>
                  <a:pt x="387739" y="1989556"/>
                  <a:pt x="693555" y="2007299"/>
                  <a:pt x="874265" y="2007299"/>
                </a:cubicBezTo>
                <a:cubicBezTo>
                  <a:pt x="1263487" y="2007299"/>
                  <a:pt x="1193985" y="2017945"/>
                  <a:pt x="1462733" y="1897294"/>
                </a:cubicBezTo>
                <a:cubicBezTo>
                  <a:pt x="1661977" y="1535336"/>
                  <a:pt x="1518337" y="1340163"/>
                  <a:pt x="994739" y="1315322"/>
                </a:cubicBezTo>
                <a:cubicBezTo>
                  <a:pt x="466509" y="1294031"/>
                  <a:pt x="410905" y="985302"/>
                  <a:pt x="633319" y="701414"/>
                </a:cubicBezTo>
                <a:cubicBezTo>
                  <a:pt x="874265" y="612700"/>
                  <a:pt x="864999" y="612700"/>
                  <a:pt x="1189351" y="616247"/>
                </a:cubicBezTo>
                <a:cubicBezTo>
                  <a:pt x="1374695" y="616247"/>
                  <a:pt x="1597109" y="641088"/>
                  <a:pt x="1754649" y="566568"/>
                </a:cubicBezTo>
                <a:cubicBezTo>
                  <a:pt x="2026295" y="439261"/>
                  <a:pt x="2053155" y="159808"/>
                  <a:pt x="1807293" y="8730"/>
                </a:cubicBezTo>
                <a:lnTo>
                  <a:pt x="1790913" y="1"/>
                </a:lnTo>
                <a:lnTo>
                  <a:pt x="3494349" y="1"/>
                </a:lnTo>
                <a:lnTo>
                  <a:pt x="3760873" y="1"/>
                </a:lnTo>
                <a:close/>
              </a:path>
            </a:pathLst>
          </a:custGeom>
          <a:noFill/>
          <a:effectLst/>
        </p:spPr>
        <p:txBody>
          <a:bodyPr vert="horz" wrap="square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75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0AA99AE-6A35-4C1E-8082-A4A87B5CA521}" type="slidenum">
              <a:rPr lang="ru-RU" sz="1600">
                <a:solidFill>
                  <a:prstClr val="black">
                    <a:lumMod val="50000"/>
                    <a:lumOff val="50000"/>
                  </a:prstClr>
                </a:solidFill>
              </a:rPr>
              <a:pPr algn="r"/>
              <a:t>‹#›</a:t>
            </a:fld>
            <a:endParaRPr lang="ru-RU" sz="16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721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1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300"/>
            <a:ext cx="4592638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798" cap="all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6205566"/>
            <a:ext cx="4592638" cy="276197"/>
          </a:xfrm>
        </p:spPr>
        <p:txBody>
          <a:bodyPr anchor="b"/>
          <a:lstStyle>
            <a:lvl1pPr>
              <a:spcBef>
                <a:spcPts val="0"/>
              </a:spcBef>
              <a:defRPr sz="1799" cap="none" spc="30" baseline="0">
                <a:solidFill>
                  <a:schemeClr val="bg1"/>
                </a:solidFill>
              </a:defRPr>
            </a:lvl1pPr>
            <a:lvl2pPr>
              <a:defRPr sz="2399"/>
            </a:lvl2pPr>
            <a:lvl3pPr>
              <a:defRPr sz="2399"/>
            </a:lvl3pPr>
            <a:lvl4pPr>
              <a:defRPr sz="2399"/>
            </a:lvl4pPr>
            <a:lvl5pPr>
              <a:defRPr sz="2399"/>
            </a:lvl5pPr>
          </a:lstStyle>
          <a:p>
            <a:pPr lvl="0"/>
            <a:r>
              <a:rPr lang="en-US" dirty="0"/>
              <a:t>2017 </a:t>
            </a:r>
            <a:r>
              <a:rPr lang="ru-RU" dirty="0"/>
              <a:t>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B0CCE6C-1C13-42E8-8E94-10A9B14A5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79" y="431801"/>
            <a:ext cx="3638390" cy="9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337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44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зисы в 4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6"/>
            <a:ext cx="2665411" cy="1847850"/>
          </a:xfrm>
        </p:spPr>
        <p:txBody>
          <a:bodyPr/>
          <a:lstStyle>
            <a:lvl1pPr>
              <a:defRPr sz="13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Текст 7">
            <a:extLst>
              <a:ext uri="{FF2B5EF4-FFF2-40B4-BE49-F238E27FC236}">
                <a16:creationId xmlns:a16="http://schemas.microsoft.com/office/drawing/2014/main" id="{19A166C2-0FC5-4C62-B1C8-A2E9D3DA35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75" y="1971676"/>
            <a:ext cx="2665411" cy="1847850"/>
          </a:xfrm>
        </p:spPr>
        <p:txBody>
          <a:bodyPr/>
          <a:lstStyle>
            <a:lvl1pPr>
              <a:defRPr sz="13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Текст 7">
            <a:extLst>
              <a:ext uri="{FF2B5EF4-FFF2-40B4-BE49-F238E27FC236}">
                <a16:creationId xmlns:a16="http://schemas.microsoft.com/office/drawing/2014/main" id="{7DF90D02-C38A-4C8E-BE27-B09AFCC1C4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3950" y="1971676"/>
            <a:ext cx="2665411" cy="1847850"/>
          </a:xfrm>
        </p:spPr>
        <p:txBody>
          <a:bodyPr/>
          <a:lstStyle>
            <a:lvl1pPr>
              <a:defRPr sz="13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7">
            <a:extLst>
              <a:ext uri="{FF2B5EF4-FFF2-40B4-BE49-F238E27FC236}">
                <a16:creationId xmlns:a16="http://schemas.microsoft.com/office/drawing/2014/main" id="{FDC2D01E-6E23-46AF-88FD-5810F4C0FE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090026" y="1971676"/>
            <a:ext cx="2665411" cy="1847850"/>
          </a:xfrm>
        </p:spPr>
        <p:txBody>
          <a:bodyPr/>
          <a:lstStyle>
            <a:lvl1pPr>
              <a:defRPr sz="13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7">
            <a:extLst>
              <a:ext uri="{FF2B5EF4-FFF2-40B4-BE49-F238E27FC236}">
                <a16:creationId xmlns:a16="http://schemas.microsoft.com/office/drawing/2014/main" id="{8CD2E874-F798-449B-AF52-6E51992865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3389" y="4189629"/>
            <a:ext cx="2665411" cy="1847850"/>
          </a:xfrm>
        </p:spPr>
        <p:txBody>
          <a:bodyPr/>
          <a:lstStyle>
            <a:lvl1pPr>
              <a:defRPr sz="13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>
            <a:extLst>
              <a:ext uri="{FF2B5EF4-FFF2-40B4-BE49-F238E27FC236}">
                <a16:creationId xmlns:a16="http://schemas.microsoft.com/office/drawing/2014/main" id="{8D8FCC09-FB67-4021-814D-A90AB3AA44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17875" y="4189629"/>
            <a:ext cx="2665411" cy="1847850"/>
          </a:xfrm>
        </p:spPr>
        <p:txBody>
          <a:bodyPr/>
          <a:lstStyle>
            <a:lvl1pPr>
              <a:defRPr sz="13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7">
            <a:extLst>
              <a:ext uri="{FF2B5EF4-FFF2-40B4-BE49-F238E27FC236}">
                <a16:creationId xmlns:a16="http://schemas.microsoft.com/office/drawing/2014/main" id="{F12346B4-8A43-495A-AB40-34684AAD88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3950" y="4189629"/>
            <a:ext cx="2665411" cy="1847850"/>
          </a:xfrm>
        </p:spPr>
        <p:txBody>
          <a:bodyPr/>
          <a:lstStyle>
            <a:lvl1pPr>
              <a:defRPr sz="13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>
            <a:extLst>
              <a:ext uri="{FF2B5EF4-FFF2-40B4-BE49-F238E27FC236}">
                <a16:creationId xmlns:a16="http://schemas.microsoft.com/office/drawing/2014/main" id="{5159B785-97A0-4186-AABD-4FE1A5BAF4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90026" y="4189629"/>
            <a:ext cx="2665411" cy="1847850"/>
          </a:xfrm>
        </p:spPr>
        <p:txBody>
          <a:bodyPr/>
          <a:lstStyle>
            <a:lvl1pPr>
              <a:defRPr sz="13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30779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90" y="1971676"/>
            <a:ext cx="5554661" cy="4452937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E8D4A6F7-58EA-4D29-AE28-88336ABCCF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03952" y="1971676"/>
            <a:ext cx="5554659" cy="4452937"/>
          </a:xfrm>
          <a:solidFill>
            <a:schemeClr val="bg2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90504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30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33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ags" Target="../tags/tag2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3.xml"/><Relationship Id="rId9" Type="http://schemas.openxmlformats.org/officeDocument/2006/relationships/image" Target="../media/image7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36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4.vml"/><Relationship Id="rId5" Type="http://schemas.openxmlformats.org/officeDocument/2006/relationships/theme" Target="../theme/theme4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6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vmlDrawing" Target="../drawings/vmlDrawing5.v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8.emf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image" Target="../media/image8.emf"/><Relationship Id="rId2" Type="http://schemas.openxmlformats.org/officeDocument/2006/relationships/slideLayout" Target="../slideLayouts/slideLayout49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vmlDrawing" Target="../drawings/vmlDrawing6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5F56CF-2AEF-4193-83AF-48D8AA396B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8" y="1107507"/>
            <a:ext cx="11325225" cy="60699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EABFE4-ED0F-4CD1-9EC3-8D558C175C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8154" y="1975653"/>
            <a:ext cx="11320460" cy="2761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95DE65F-AEC4-42F8-AE14-6CFCF7F12C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57437" y="431800"/>
            <a:ext cx="8439150" cy="324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99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  <a:endParaRPr lang="ru-RU" dirty="0">
              <a:solidFill>
                <a:srgbClr val="888A8D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58F2AC6-6672-44E2-A8A9-32EB81226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075" y="431802"/>
            <a:ext cx="744537" cy="32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 dirty="0">
              <a:solidFill>
                <a:srgbClr val="888A8D"/>
              </a:solidFill>
            </a:endParaRP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1CB045B0-C148-4BCB-A129-CADC19CDA1E7}"/>
              </a:ext>
            </a:extLst>
          </p:cNvPr>
          <p:cNvCxnSpPr/>
          <p:nvPr userDrawn="1"/>
        </p:nvCxnSpPr>
        <p:spPr>
          <a:xfrm>
            <a:off x="433389" y="866775"/>
            <a:ext cx="11325225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D8C4910-12A5-47A1-A219-F6CDF997B2AA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9" y="437814"/>
            <a:ext cx="1237966" cy="30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584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</p:sldLayoutIdLst>
  <p:hf hdr="0" dt="0"/>
  <p:txStyles>
    <p:titleStyle>
      <a:lvl1pPr algn="l" defTabSz="913862" rtl="0" eaLnBrk="1" latinLnBrk="0" hangingPunct="1">
        <a:lnSpc>
          <a:spcPct val="90000"/>
        </a:lnSpc>
        <a:spcBef>
          <a:spcPct val="0"/>
        </a:spcBef>
        <a:buNone/>
        <a:defRPr sz="2798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386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6932" indent="0" algn="l" defTabSz="91386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3862" indent="0" algn="l" defTabSz="91386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0794" indent="0" algn="l" defTabSz="91386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7724" indent="0" algn="l" defTabSz="91386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120" indent="-228466" algn="l" defTabSz="91386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052" indent="-228466" algn="l" defTabSz="91386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982" indent="-228466" algn="l" defTabSz="91386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3914" indent="-228466" algn="l" defTabSz="913862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8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32" algn="l" defTabSz="9138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62" algn="l" defTabSz="9138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94" algn="l" defTabSz="9138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724" algn="l" defTabSz="9138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656" algn="l" defTabSz="9138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586" algn="l" defTabSz="9138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517" algn="l" defTabSz="9138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448" algn="l" defTabSz="9138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7">
          <p15:clr>
            <a:srgbClr val="F26B43"/>
          </p15:clr>
        </p15:guide>
        <p15:guide id="2" pos="7407">
          <p15:clr>
            <a:srgbClr val="F26B43"/>
          </p15:clr>
        </p15:guide>
        <p15:guide id="3" pos="273">
          <p15:clr>
            <a:srgbClr val="F26B43"/>
          </p15:clr>
        </p15:guide>
        <p15:guide id="4" orient="horz" pos="272">
          <p15:clr>
            <a:srgbClr val="F26B43"/>
          </p15:clr>
        </p15:guide>
        <p15:guide id="5" pos="879">
          <p15:clr>
            <a:srgbClr val="F26B43"/>
          </p15:clr>
        </p15:guide>
        <p15:guide id="6" pos="741">
          <p15:clr>
            <a:srgbClr val="F26B43"/>
          </p15:clr>
        </p15:guide>
        <p15:guide id="7" pos="1368">
          <p15:clr>
            <a:srgbClr val="F26B43"/>
          </p15:clr>
        </p15:guide>
        <p15:guide id="8" pos="1485">
          <p15:clr>
            <a:srgbClr val="F26B43"/>
          </p15:clr>
        </p15:guide>
        <p15:guide id="9" pos="1952">
          <p15:clr>
            <a:srgbClr val="F26B43"/>
          </p15:clr>
        </p15:guide>
        <p15:guide id="10" pos="2090">
          <p15:clr>
            <a:srgbClr val="F26B43"/>
          </p15:clr>
        </p15:guide>
        <p15:guide id="11" pos="2547">
          <p15:clr>
            <a:srgbClr val="F26B43"/>
          </p15:clr>
        </p15:guide>
        <p15:guide id="12" pos="2696">
          <p15:clr>
            <a:srgbClr val="F26B43"/>
          </p15:clr>
        </p15:guide>
        <p15:guide id="13" pos="3165">
          <p15:clr>
            <a:srgbClr val="F26B43"/>
          </p15:clr>
        </p15:guide>
        <p15:guide id="14" pos="3300">
          <p15:clr>
            <a:srgbClr val="F26B43"/>
          </p15:clr>
        </p15:guide>
        <p15:guide id="15" pos="3772">
          <p15:clr>
            <a:srgbClr val="F26B43"/>
          </p15:clr>
        </p15:guide>
        <p15:guide id="16" pos="3908">
          <p15:clr>
            <a:srgbClr val="F26B43"/>
          </p15:clr>
        </p15:guide>
        <p15:guide id="17" pos="4377">
          <p15:clr>
            <a:srgbClr val="F26B43"/>
          </p15:clr>
        </p15:guide>
        <p15:guide id="18" pos="4512">
          <p15:clr>
            <a:srgbClr val="F26B43"/>
          </p15:clr>
        </p15:guide>
        <p15:guide id="19" pos="4985">
          <p15:clr>
            <a:srgbClr val="F26B43"/>
          </p15:clr>
        </p15:guide>
        <p15:guide id="20" pos="5118">
          <p15:clr>
            <a:srgbClr val="F26B43"/>
          </p15:clr>
        </p15:guide>
        <p15:guide id="21" pos="5589">
          <p15:clr>
            <a:srgbClr val="F26B43"/>
          </p15:clr>
        </p15:guide>
        <p15:guide id="22" pos="5726">
          <p15:clr>
            <a:srgbClr val="F26B43"/>
          </p15:clr>
        </p15:guide>
        <p15:guide id="23" pos="6195">
          <p15:clr>
            <a:srgbClr val="F26B43"/>
          </p15:clr>
        </p15:guide>
        <p15:guide id="24" pos="6332">
          <p15:clr>
            <a:srgbClr val="F26B43"/>
          </p15:clr>
        </p15:guide>
        <p15:guide id="25" pos="6801">
          <p15:clr>
            <a:srgbClr val="F26B43"/>
          </p15:clr>
        </p15:guide>
        <p15:guide id="26" pos="6938">
          <p15:clr>
            <a:srgbClr val="F26B43"/>
          </p15:clr>
        </p15:guide>
        <p15:guide id="27" orient="horz" pos="2160">
          <p15:clr>
            <a:srgbClr val="F26B43"/>
          </p15:clr>
        </p15:guide>
        <p15:guide id="28" orient="horz" pos="696">
          <p15:clr>
            <a:srgbClr val="F26B43"/>
          </p15:clr>
        </p15:guide>
        <p15:guide id="29" orient="horz" pos="1242">
          <p15:clr>
            <a:srgbClr val="F26B43"/>
          </p15:clr>
        </p15:guide>
        <p15:guide id="30" orient="horz" pos="10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20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 flipH="1">
            <a:off x="340953" y="846495"/>
            <a:ext cx="11376000" cy="0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D8C4910-12A5-47A1-A219-F6CDF997B2A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33388" y="431800"/>
            <a:ext cx="1266826" cy="316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650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</p:sldLayoutIdLst>
  <p:hf hdr="0" ftr="0" dt="0"/>
  <p:txStyles>
    <p:titleStyle>
      <a:lvl1pPr algn="l" defTabSz="514351" rtl="0" eaLnBrk="1" latinLnBrk="0" hangingPunct="1">
        <a:lnSpc>
          <a:spcPct val="90000"/>
        </a:lnSpc>
        <a:spcBef>
          <a:spcPct val="0"/>
        </a:spcBef>
        <a:buNone/>
        <a:defRPr sz="135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0007" indent="-50007" algn="l" defTabSz="5143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1pPr>
      <a:lvl2pPr marL="100012" indent="-50007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2pPr>
      <a:lvl3pPr marL="150912" indent="-50900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3pPr>
      <a:lvl4pPr marL="200918" indent="-50007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4pPr>
      <a:lvl5pPr marL="250925" indent="-50007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5pPr>
      <a:lvl6pPr marL="1414463" indent="-128588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7" indent="-128588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1pPr>
      <a:lvl2pPr marL="257174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1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771526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1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6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209">
          <p15:clr>
            <a:srgbClr val="F26B43"/>
          </p15:clr>
        </p15:guide>
        <p15:guide id="3" pos="4270">
          <p15:clr>
            <a:srgbClr val="F26B43"/>
          </p15:clr>
        </p15:guide>
        <p15:guide id="4" orient="horz" pos="61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20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 flipH="1">
            <a:off x="340953" y="846495"/>
            <a:ext cx="11376000" cy="0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D8C4910-12A5-47A1-A219-F6CDF997B2A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33388" y="431800"/>
            <a:ext cx="1266826" cy="316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086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</p:sldLayoutIdLst>
  <p:hf hdr="0" ftr="0" dt="0"/>
  <p:txStyles>
    <p:titleStyle>
      <a:lvl1pPr algn="l" defTabSz="514351" rtl="0" eaLnBrk="1" latinLnBrk="0" hangingPunct="1">
        <a:lnSpc>
          <a:spcPct val="90000"/>
        </a:lnSpc>
        <a:spcBef>
          <a:spcPct val="0"/>
        </a:spcBef>
        <a:buNone/>
        <a:defRPr sz="135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0007" indent="-50007" algn="l" defTabSz="5143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1pPr>
      <a:lvl2pPr marL="100012" indent="-50007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2pPr>
      <a:lvl3pPr marL="150912" indent="-50900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3pPr>
      <a:lvl4pPr marL="200918" indent="-50007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4pPr>
      <a:lvl5pPr marL="250925" indent="-50007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5pPr>
      <a:lvl6pPr marL="1414463" indent="-128588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7" indent="-128588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1pPr>
      <a:lvl2pPr marL="257174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1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771526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1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6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209">
          <p15:clr>
            <a:srgbClr val="F26B43"/>
          </p15:clr>
        </p15:guide>
        <p15:guide id="3" pos="4270">
          <p15:clr>
            <a:srgbClr val="F26B43"/>
          </p15:clr>
        </p15:guide>
        <p15:guide id="4" orient="horz" pos="61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20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20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 flipH="1">
            <a:off x="340953" y="846495"/>
            <a:ext cx="11376000" cy="0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D8C4910-12A5-47A1-A219-F6CDF997B2A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433388" y="431800"/>
            <a:ext cx="1266826" cy="316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141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</p:sldLayoutIdLst>
  <p:hf hdr="0" ftr="0" dt="0"/>
  <p:txStyles>
    <p:titleStyle>
      <a:lvl1pPr algn="l" defTabSz="514351" rtl="0" eaLnBrk="1" latinLnBrk="0" hangingPunct="1">
        <a:lnSpc>
          <a:spcPct val="90000"/>
        </a:lnSpc>
        <a:spcBef>
          <a:spcPct val="0"/>
        </a:spcBef>
        <a:buNone/>
        <a:defRPr sz="135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0007" indent="-50007" algn="l" defTabSz="5143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1pPr>
      <a:lvl2pPr marL="100012" indent="-50007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2pPr>
      <a:lvl3pPr marL="150912" indent="-50900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3pPr>
      <a:lvl4pPr marL="200918" indent="-50007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4pPr>
      <a:lvl5pPr marL="250925" indent="-50007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25" kern="1200">
          <a:solidFill>
            <a:srgbClr val="000000"/>
          </a:solidFill>
          <a:latin typeface="+mn-lt"/>
          <a:ea typeface="+mn-ea"/>
          <a:cs typeface="+mn-cs"/>
        </a:defRPr>
      </a:lvl5pPr>
      <a:lvl6pPr marL="1414463" indent="-128588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7" indent="-128588" algn="l" defTabSz="51435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1pPr>
      <a:lvl2pPr marL="257174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1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771526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1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6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1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209">
          <p15:clr>
            <a:srgbClr val="F26B43"/>
          </p15:clr>
        </p15:guide>
        <p15:guide id="3" pos="4270">
          <p15:clr>
            <a:srgbClr val="F26B43"/>
          </p15:clr>
        </p15:guide>
        <p15:guide id="4" orient="horz" pos="61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AD009EA5-B139-4C82-A6E1-58D669F1A3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5" name="Слайд think-cell" r:id="rId14" imgW="425" imgH="426" progId="TCLayout.ActiveDocument.1">
                  <p:embed/>
                </p:oleObj>
              </mc:Choice>
              <mc:Fallback>
                <p:oleObj name="Слайд think-cell" r:id="rId1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966AF37-3845-4A42-9235-7EB387F9C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5952" y="332232"/>
            <a:ext cx="712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D55C03A9-066B-644C-AC1F-23CA021BC1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05FA25-B13B-9846-B04F-71FB8A1985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8" y="183181"/>
            <a:ext cx="8875776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BD09B60-6064-B14D-B70B-35DBB7CA40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6864" y="1825625"/>
            <a:ext cx="10941747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ru-RU" dirty="0"/>
              <a:t>Образец текста
Второй уровень
Третий уровень
Четвертый уровень
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41054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  <p:sldLayoutId id="2147484102" r:id="rId10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AD009EA5-B139-4C82-A6E1-58D669F1A3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9" name="Слайд think-cell" r:id="rId16" imgW="425" imgH="426" progId="TCLayout.ActiveDocument.1">
                  <p:embed/>
                </p:oleObj>
              </mc:Choice>
              <mc:Fallback>
                <p:oleObj name="Слайд think-cell" r:id="rId1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966AF37-3845-4A42-9235-7EB387F9C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5952" y="332232"/>
            <a:ext cx="712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D55C03A9-066B-644C-AC1F-23CA021BC1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05FA25-B13B-9846-B04F-71FB8A1985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448" y="183181"/>
            <a:ext cx="8875776" cy="813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BD09B60-6064-B14D-B70B-35DBB7CA40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6864" y="1825625"/>
            <a:ext cx="10941747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ru-RU" dirty="0"/>
              <a:t>Образец текста
Второй уровень
Третий уровень
Четвертый уровень
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01331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5" r:id="rId1"/>
    <p:sldLayoutId id="2147484106" r:id="rId2"/>
    <p:sldLayoutId id="2147484107" r:id="rId3"/>
    <p:sldLayoutId id="2147484108" r:id="rId4"/>
    <p:sldLayoutId id="2147484109" r:id="rId5"/>
    <p:sldLayoutId id="2147484110" r:id="rId6"/>
    <p:sldLayoutId id="2147484111" r:id="rId7"/>
    <p:sldLayoutId id="2147484112" r:id="rId8"/>
    <p:sldLayoutId id="2147484113" r:id="rId9"/>
    <p:sldLayoutId id="2147484114" r:id="rId10"/>
    <p:sldLayoutId id="2147484115" r:id="rId11"/>
    <p:sldLayoutId id="2147484116" r:id="rId12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gif"/><Relationship Id="rId7" Type="http://schemas.openxmlformats.org/officeDocument/2006/relationships/image" Target="../media/image32.png"/><Relationship Id="rId2" Type="http://schemas.openxmlformats.org/officeDocument/2006/relationships/image" Target="../media/image27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gif"/><Relationship Id="rId9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21A55952-9602-CE4A-A235-0523B5D767FF}"/>
              </a:ext>
            </a:extLst>
          </p:cNvPr>
          <p:cNvSpPr txBox="1">
            <a:spLocks/>
          </p:cNvSpPr>
          <p:nvPr/>
        </p:nvSpPr>
        <p:spPr>
          <a:xfrm>
            <a:off x="104775" y="3671681"/>
            <a:ext cx="6164162" cy="1908768"/>
          </a:xfrm>
          <a:prstGeom prst="rect">
            <a:avLst/>
          </a:prstGeom>
        </p:spPr>
        <p:txBody>
          <a:bodyPr rtlCol="0" anchor="t">
            <a:noAutofit/>
          </a:bodyPr>
          <a:lstStyle>
            <a:lvl1pPr algn="l" defTabSz="9138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98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2800" dirty="0">
                <a:solidFill>
                  <a:schemeClr val="bg1"/>
                </a:solidFill>
              </a:rPr>
              <a:t>Цифровая трансформация Библиотеки Банка России</a:t>
            </a:r>
          </a:p>
          <a:p>
            <a:pPr algn="ctr"/>
            <a:endParaRPr lang="ru-RU" sz="2800" dirty="0">
              <a:solidFill>
                <a:schemeClr val="bg1"/>
              </a:solidFill>
            </a:endParaRPr>
          </a:p>
          <a:p>
            <a:pPr algn="ctr"/>
            <a:endParaRPr lang="ru-RU" sz="2800" dirty="0">
              <a:solidFill>
                <a:schemeClr val="bg1"/>
              </a:solidFill>
            </a:endParaRPr>
          </a:p>
          <a:p>
            <a:pPr algn="ctr"/>
            <a:endParaRPr lang="ru-RU" sz="2800" dirty="0">
              <a:solidFill>
                <a:schemeClr val="bg1"/>
              </a:solidFill>
            </a:endParaRPr>
          </a:p>
          <a:p>
            <a:pPr algn="ctr"/>
            <a:r>
              <a:rPr lang="ru-RU" sz="1800" dirty="0">
                <a:solidFill>
                  <a:schemeClr val="bg1"/>
                </a:solidFill>
              </a:rPr>
              <a:t>Москва, БЕН РАН</a:t>
            </a:r>
          </a:p>
          <a:p>
            <a:pPr algn="ctr"/>
            <a:r>
              <a:rPr lang="ru-RU" sz="1800" dirty="0">
                <a:solidFill>
                  <a:schemeClr val="bg1"/>
                </a:solidFill>
              </a:rPr>
              <a:t>30 октября 2025 г.</a:t>
            </a:r>
          </a:p>
          <a:p>
            <a:pPr algn="ctr"/>
            <a:endParaRPr lang="ru-RU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0003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ботка новых типов данных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888A8D"/>
                </a:solidFill>
              </a:rPr>
              <a:t>Цифровая трансформация Библиотеки Банка Росс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10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3387" y="1783132"/>
            <a:ext cx="11264031" cy="2693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Сбор структурированной информации в рамках Библиотеки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Поступление 17 обзоров с аналитическими данными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Формат </a:t>
            </a:r>
            <a:r>
              <a:rPr lang="en-US" sz="2400" dirty="0" err="1"/>
              <a:t>xls</a:t>
            </a:r>
            <a:r>
              <a:rPr lang="en-US" sz="2400" dirty="0"/>
              <a:t> </a:t>
            </a:r>
            <a:r>
              <a:rPr lang="ru-RU" sz="2400" dirty="0"/>
              <a:t>и</a:t>
            </a:r>
            <a:r>
              <a:rPr lang="en-US" sz="2400" dirty="0"/>
              <a:t> pdf</a:t>
            </a:r>
            <a:endParaRPr lang="ru-RU" sz="2400" dirty="0"/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Формирование отдельного раздела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Механизм выгрузки временных рядов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Разработка системы для анализа данных</a:t>
            </a:r>
          </a:p>
        </p:txBody>
      </p:sp>
      <p:pic>
        <p:nvPicPr>
          <p:cNvPr id="48130" name="Picture 2" descr="Обзор рынка масличных и продуктов их переработки. — 2025. — № 22.10.202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026" y="4407857"/>
            <a:ext cx="1797469" cy="2324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32" name="Picture 4" descr="Рынок овощей открытого грунта. — 2025. — № 22.10.202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7363" y="1376449"/>
            <a:ext cx="1665952" cy="2355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34" name="Picture 6" descr="Еженедельный обзор рынка сахара. — 2025. — № 22.10.202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4269" y="3055541"/>
            <a:ext cx="1860732" cy="2631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87893" y="4202365"/>
            <a:ext cx="1728594" cy="244771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4476177"/>
            <a:ext cx="1504254" cy="212852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69121" y="4490659"/>
            <a:ext cx="1610347" cy="227713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87031" y="4582611"/>
            <a:ext cx="1394451" cy="197456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85803" y="2861325"/>
            <a:ext cx="1710906" cy="1209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765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налитика данных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888A8D"/>
                </a:solidFill>
              </a:rPr>
              <a:t>Цифровая трансформация Библиотеки Банка Росс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11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3387" y="1783132"/>
            <a:ext cx="11325226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Любые действия в информационных системах оставляют цифровой след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Библиотека Банка России состоит из двух ИТ систем и обеспечивает доступ к многим внешним информационным ресурсам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Создание общих метрик и правил сбора аналитики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Объединение данных в единую систему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Разработка модели принятия решений по организации информационно-библиотечной деятельности на основе поведения пользователей </a:t>
            </a:r>
          </a:p>
        </p:txBody>
      </p:sp>
    </p:spTree>
    <p:extLst>
      <p:ext uri="{BB962C8B-B14F-4D97-AF65-F5344CB8AC3E}">
        <p14:creationId xmlns:p14="http://schemas.microsoft.com/office/powerpoint/2010/main" val="1898823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И каталогизация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888A8D"/>
                </a:solidFill>
              </a:rPr>
              <a:t>Цифровая трансформация Библиотеки Банка Росс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12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3388" y="1783132"/>
            <a:ext cx="10910348" cy="3062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Работа во внутренней сети (</a:t>
            </a:r>
            <a:r>
              <a:rPr lang="en-US" sz="2400" dirty="0" err="1"/>
              <a:t>Qwen</a:t>
            </a:r>
            <a:r>
              <a:rPr lang="en-US" sz="2400" dirty="0"/>
              <a:t> 2.5</a:t>
            </a:r>
            <a:r>
              <a:rPr lang="ru-RU" sz="2400" dirty="0"/>
              <a:t>)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Анализ поступающих журналов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Разделение на статьи и содержание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Составление сводной записи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Составление записей на каждую статью, выделение рубрик, аннотаций и ключевых слов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База данных для формирования подборок по запросам пользователей</a:t>
            </a:r>
          </a:p>
        </p:txBody>
      </p:sp>
    </p:spTree>
    <p:extLst>
      <p:ext uri="{BB962C8B-B14F-4D97-AF65-F5344CB8AC3E}">
        <p14:creationId xmlns:p14="http://schemas.microsoft.com/office/powerpoint/2010/main" val="39433207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ABAE4F8B-A60E-43F7-8C70-C78DC0541A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21361" y="2362461"/>
            <a:ext cx="5732857" cy="979227"/>
          </a:xfrm>
        </p:spPr>
        <p:txBody>
          <a:bodyPr/>
          <a:lstStyle/>
          <a:p>
            <a:pPr algn="ctr"/>
            <a:r>
              <a:rPr lang="ru-RU" sz="3198" dirty="0">
                <a:latin typeface="+mj-lt"/>
              </a:rPr>
              <a:t>СПАСИБО ЗА ВНИМАНИЕ!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351917" y="4510313"/>
            <a:ext cx="538863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Корягин Борис Сергеевич</a:t>
            </a:r>
          </a:p>
          <a:p>
            <a:r>
              <a:rPr lang="ru-RU" dirty="0">
                <a:solidFill>
                  <a:schemeClr val="bg1"/>
                </a:solidFill>
              </a:rPr>
              <a:t>Заместитель начальника отдела</a:t>
            </a:r>
          </a:p>
          <a:p>
            <a:r>
              <a:rPr lang="ru-RU" dirty="0">
                <a:solidFill>
                  <a:schemeClr val="bg1"/>
                </a:solidFill>
              </a:rPr>
              <a:t>Информационно-библиографический отдел</a:t>
            </a:r>
          </a:p>
          <a:p>
            <a:r>
              <a:rPr lang="ru-RU" dirty="0">
                <a:solidFill>
                  <a:schemeClr val="bg1"/>
                </a:solidFill>
              </a:rPr>
              <a:t>KoryaginBS@cbr.ru</a:t>
            </a:r>
          </a:p>
          <a:p>
            <a:r>
              <a:rPr lang="ru-RU" dirty="0">
                <a:solidFill>
                  <a:schemeClr val="bg1"/>
                </a:solidFill>
              </a:rPr>
              <a:t>Тел.: +7 (495) 771-99-99, ВТС: 1-57-98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273" y="4510313"/>
            <a:ext cx="1562801" cy="1580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574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иблиотека Банка России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888A8D"/>
                </a:solidFill>
              </a:rPr>
              <a:t>Цифровая трансформация Библиотеки Банка Росс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2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3387" y="1783132"/>
            <a:ext cx="11264031" cy="3062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Информационно-библиотечная деятельность на протяжении более 1</a:t>
            </a:r>
            <a:r>
              <a:rPr lang="en-US" sz="2400" dirty="0"/>
              <a:t>1</a:t>
            </a:r>
            <a:r>
              <a:rPr lang="ru-RU" sz="2400" dirty="0"/>
              <a:t>0 лет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Одна из крупнейших специализированных библиотек по финансово-экономической тематике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Общий фонд более 370 тысяч изданий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Включая свыше 7</a:t>
            </a:r>
            <a:r>
              <a:rPr lang="en-US" sz="2400" dirty="0"/>
              <a:t>000</a:t>
            </a:r>
            <a:r>
              <a:rPr lang="ru-RU" sz="2400" dirty="0"/>
              <a:t> редких и ценных экземпляров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Преимущественное комплектование электронными изданиями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Представленность в каждом субъекте Российской Федерации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b="37971"/>
          <a:stretch/>
        </p:blipFill>
        <p:spPr>
          <a:xfrm>
            <a:off x="1313574" y="5173312"/>
            <a:ext cx="9216507" cy="1486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6459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Цифровая трансформация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888A8D"/>
                </a:solidFill>
              </a:rPr>
              <a:t>Цифровая трансформация Библиотеки Банка Росс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3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3387" y="1783132"/>
            <a:ext cx="5553345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Изменение текущих бизнес процессов и поведения пользователей, основанное на внедрении передовых цифровых технологий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Направлена на повышение эффективности и адаптацию к изменениям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Включает изменения в корпоративной культуре и организационной структуре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0153" y="1215814"/>
            <a:ext cx="4876190" cy="487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8642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водный каталог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888A8D"/>
                </a:solidFill>
              </a:rPr>
              <a:t>Цифровая трансформация Библиотеки Банка Росс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4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3388" y="1783132"/>
            <a:ext cx="4940106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85 каталогов объединены в сводный каталог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Библиотека ЦА методологический контроль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Заказ из любого региона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Более 2700 заказов по внутреннему МБА в год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На МБА 35% выдач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2/3 заказов по МБА  в ТУ без участия Библиотеки ЦА 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4323924" y="1798148"/>
            <a:ext cx="7788230" cy="5129401"/>
            <a:chOff x="507393" y="712739"/>
            <a:chExt cx="10881196" cy="7785988"/>
          </a:xfrm>
        </p:grpSpPr>
        <p:sp>
          <p:nvSpPr>
            <p:cNvPr id="7" name="Freeform 3"/>
            <p:cNvSpPr>
              <a:spLocks/>
            </p:cNvSpPr>
            <p:nvPr/>
          </p:nvSpPr>
          <p:spPr bwMode="auto">
            <a:xfrm>
              <a:off x="6943407" y="1983060"/>
              <a:ext cx="2683670" cy="3233202"/>
            </a:xfrm>
            <a:custGeom>
              <a:avLst/>
              <a:gdLst>
                <a:gd name="T0" fmla="*/ 2130439 w 1545"/>
                <a:gd name="T1" fmla="*/ 187325 h 1718"/>
                <a:gd name="T2" fmla="*/ 2184653 w 1545"/>
                <a:gd name="T3" fmla="*/ 339725 h 1718"/>
                <a:gd name="T4" fmla="*/ 2249123 w 1545"/>
                <a:gd name="T5" fmla="*/ 463550 h 1718"/>
                <a:gd name="T6" fmla="*/ 2149487 w 1545"/>
                <a:gd name="T7" fmla="*/ 639763 h 1718"/>
                <a:gd name="T8" fmla="*/ 2159744 w 1545"/>
                <a:gd name="T9" fmla="*/ 715962 h 1718"/>
                <a:gd name="T10" fmla="*/ 2165605 w 1545"/>
                <a:gd name="T11" fmla="*/ 900113 h 1718"/>
                <a:gd name="T12" fmla="*/ 2054248 w 1545"/>
                <a:gd name="T13" fmla="*/ 979488 h 1718"/>
                <a:gd name="T14" fmla="*/ 2038130 w 1545"/>
                <a:gd name="T15" fmla="*/ 1049338 h 1718"/>
                <a:gd name="T16" fmla="*/ 2030804 w 1545"/>
                <a:gd name="T17" fmla="*/ 1163638 h 1718"/>
                <a:gd name="T18" fmla="*/ 2104065 w 1545"/>
                <a:gd name="T19" fmla="*/ 1392237 h 1718"/>
                <a:gd name="T20" fmla="*/ 2014687 w 1545"/>
                <a:gd name="T21" fmla="*/ 1422400 h 1718"/>
                <a:gd name="T22" fmla="*/ 1894538 w 1545"/>
                <a:gd name="T23" fmla="*/ 1543050 h 1718"/>
                <a:gd name="T24" fmla="*/ 1941425 w 1545"/>
                <a:gd name="T25" fmla="*/ 1833563 h 1718"/>
                <a:gd name="T26" fmla="*/ 1906260 w 1545"/>
                <a:gd name="T27" fmla="*/ 1935163 h 1718"/>
                <a:gd name="T28" fmla="*/ 1772924 w 1545"/>
                <a:gd name="T29" fmla="*/ 2055813 h 1718"/>
                <a:gd name="T30" fmla="*/ 1708454 w 1545"/>
                <a:gd name="T31" fmla="*/ 2108200 h 1718"/>
                <a:gd name="T32" fmla="*/ 1718711 w 1545"/>
                <a:gd name="T33" fmla="*/ 2319338 h 1718"/>
                <a:gd name="T34" fmla="*/ 1784646 w 1545"/>
                <a:gd name="T35" fmla="*/ 2536825 h 1718"/>
                <a:gd name="T36" fmla="*/ 1567793 w 1545"/>
                <a:gd name="T37" fmla="*/ 2681288 h 1718"/>
                <a:gd name="T38" fmla="*/ 1328960 w 1545"/>
                <a:gd name="T39" fmla="*/ 2698750 h 1718"/>
                <a:gd name="T40" fmla="*/ 1005145 w 1545"/>
                <a:gd name="T41" fmla="*/ 2678113 h 1718"/>
                <a:gd name="T42" fmla="*/ 934815 w 1545"/>
                <a:gd name="T43" fmla="*/ 2557463 h 1718"/>
                <a:gd name="T44" fmla="*/ 868879 w 1545"/>
                <a:gd name="T45" fmla="*/ 2449513 h 1718"/>
                <a:gd name="T46" fmla="*/ 804409 w 1545"/>
                <a:gd name="T47" fmla="*/ 2416175 h 1718"/>
                <a:gd name="T48" fmla="*/ 634443 w 1545"/>
                <a:gd name="T49" fmla="*/ 2322513 h 1718"/>
                <a:gd name="T50" fmla="*/ 536273 w 1545"/>
                <a:gd name="T51" fmla="*/ 2546350 h 1718"/>
                <a:gd name="T52" fmla="*/ 449825 w 1545"/>
                <a:gd name="T53" fmla="*/ 2530475 h 1718"/>
                <a:gd name="T54" fmla="*/ 322350 w 1545"/>
                <a:gd name="T55" fmla="*/ 2478088 h 1718"/>
                <a:gd name="T56" fmla="*/ 293045 w 1545"/>
                <a:gd name="T57" fmla="*/ 2173288 h 1718"/>
                <a:gd name="T58" fmla="*/ 190479 w 1545"/>
                <a:gd name="T59" fmla="*/ 2003425 h 1718"/>
                <a:gd name="T60" fmla="*/ 162640 w 1545"/>
                <a:gd name="T61" fmla="*/ 1914525 h 1718"/>
                <a:gd name="T62" fmla="*/ 41026 w 1545"/>
                <a:gd name="T63" fmla="*/ 1868488 h 1718"/>
                <a:gd name="T64" fmla="*/ 43957 w 1545"/>
                <a:gd name="T65" fmla="*/ 1609725 h 1718"/>
                <a:gd name="T66" fmla="*/ 51283 w 1545"/>
                <a:gd name="T67" fmla="*/ 1387475 h 1718"/>
                <a:gd name="T68" fmla="*/ 133336 w 1545"/>
                <a:gd name="T69" fmla="*/ 1184275 h 1718"/>
                <a:gd name="T70" fmla="*/ 227110 w 1545"/>
                <a:gd name="T71" fmla="*/ 949325 h 1718"/>
                <a:gd name="T72" fmla="*/ 137731 w 1545"/>
                <a:gd name="T73" fmla="*/ 750887 h 1718"/>
                <a:gd name="T74" fmla="*/ 197806 w 1545"/>
                <a:gd name="T75" fmla="*/ 644525 h 1718"/>
                <a:gd name="T76" fmla="*/ 230041 w 1545"/>
                <a:gd name="T77" fmla="*/ 703262 h 1718"/>
                <a:gd name="T78" fmla="*/ 401472 w 1545"/>
                <a:gd name="T79" fmla="*/ 620713 h 1718"/>
                <a:gd name="T80" fmla="*/ 501107 w 1545"/>
                <a:gd name="T81" fmla="*/ 682625 h 1718"/>
                <a:gd name="T82" fmla="*/ 574369 w 1545"/>
                <a:gd name="T83" fmla="*/ 547688 h 1718"/>
                <a:gd name="T84" fmla="*/ 687191 w 1545"/>
                <a:gd name="T85" fmla="*/ 539750 h 1718"/>
                <a:gd name="T86" fmla="*/ 794153 w 1545"/>
                <a:gd name="T87" fmla="*/ 603250 h 1718"/>
                <a:gd name="T88" fmla="*/ 804409 w 1545"/>
                <a:gd name="T89" fmla="*/ 682625 h 1718"/>
                <a:gd name="T90" fmla="*/ 858623 w 1545"/>
                <a:gd name="T91" fmla="*/ 706437 h 1718"/>
                <a:gd name="T92" fmla="*/ 967050 w 1545"/>
                <a:gd name="T93" fmla="*/ 658813 h 1718"/>
                <a:gd name="T94" fmla="*/ 1079872 w 1545"/>
                <a:gd name="T95" fmla="*/ 585788 h 1718"/>
                <a:gd name="T96" fmla="*/ 1194160 w 1545"/>
                <a:gd name="T97" fmla="*/ 571500 h 1718"/>
                <a:gd name="T98" fmla="*/ 1232255 w 1545"/>
                <a:gd name="T99" fmla="*/ 522288 h 1718"/>
                <a:gd name="T100" fmla="*/ 1164855 w 1545"/>
                <a:gd name="T101" fmla="*/ 395287 h 1718"/>
                <a:gd name="T102" fmla="*/ 1378778 w 1545"/>
                <a:gd name="T103" fmla="*/ 239713 h 1718"/>
                <a:gd name="T104" fmla="*/ 1386104 w 1545"/>
                <a:gd name="T105" fmla="*/ 260350 h 1718"/>
                <a:gd name="T106" fmla="*/ 1375848 w 1545"/>
                <a:gd name="T107" fmla="*/ 342900 h 1718"/>
                <a:gd name="T108" fmla="*/ 1427131 w 1545"/>
                <a:gd name="T109" fmla="*/ 204788 h 1718"/>
                <a:gd name="T110" fmla="*/ 1494531 w 1545"/>
                <a:gd name="T111" fmla="*/ 236538 h 1718"/>
                <a:gd name="T112" fmla="*/ 1613215 w 1545"/>
                <a:gd name="T113" fmla="*/ 214313 h 1718"/>
                <a:gd name="T114" fmla="*/ 1727502 w 1545"/>
                <a:gd name="T115" fmla="*/ 138113 h 1718"/>
                <a:gd name="T116" fmla="*/ 1935564 w 1545"/>
                <a:gd name="T117" fmla="*/ 22225 h 1718"/>
                <a:gd name="T118" fmla="*/ 2057178 w 1545"/>
                <a:gd name="T119" fmla="*/ 42862 h 17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545"/>
                <a:gd name="T181" fmla="*/ 0 h 1718"/>
                <a:gd name="T182" fmla="*/ 1545 w 1545"/>
                <a:gd name="T183" fmla="*/ 1718 h 17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545" h="1718">
                  <a:moveTo>
                    <a:pt x="1404" y="0"/>
                  </a:moveTo>
                  <a:lnTo>
                    <a:pt x="1419" y="9"/>
                  </a:lnTo>
                  <a:lnTo>
                    <a:pt x="1436" y="18"/>
                  </a:lnTo>
                  <a:lnTo>
                    <a:pt x="1450" y="27"/>
                  </a:lnTo>
                  <a:lnTo>
                    <a:pt x="1465" y="39"/>
                  </a:lnTo>
                  <a:lnTo>
                    <a:pt x="1471" y="42"/>
                  </a:lnTo>
                  <a:lnTo>
                    <a:pt x="1474" y="46"/>
                  </a:lnTo>
                  <a:lnTo>
                    <a:pt x="1476" y="50"/>
                  </a:lnTo>
                  <a:lnTo>
                    <a:pt x="1478" y="53"/>
                  </a:lnTo>
                  <a:lnTo>
                    <a:pt x="1476" y="59"/>
                  </a:lnTo>
                  <a:lnTo>
                    <a:pt x="1471" y="68"/>
                  </a:lnTo>
                  <a:lnTo>
                    <a:pt x="1467" y="87"/>
                  </a:lnTo>
                  <a:lnTo>
                    <a:pt x="1463" y="101"/>
                  </a:lnTo>
                  <a:lnTo>
                    <a:pt x="1458" y="111"/>
                  </a:lnTo>
                  <a:lnTo>
                    <a:pt x="1454" y="118"/>
                  </a:lnTo>
                  <a:lnTo>
                    <a:pt x="1443" y="131"/>
                  </a:lnTo>
                  <a:lnTo>
                    <a:pt x="1434" y="146"/>
                  </a:lnTo>
                  <a:lnTo>
                    <a:pt x="1428" y="157"/>
                  </a:lnTo>
                  <a:lnTo>
                    <a:pt x="1425" y="166"/>
                  </a:lnTo>
                  <a:lnTo>
                    <a:pt x="1423" y="173"/>
                  </a:lnTo>
                  <a:lnTo>
                    <a:pt x="1423" y="179"/>
                  </a:lnTo>
                  <a:lnTo>
                    <a:pt x="1430" y="179"/>
                  </a:lnTo>
                  <a:lnTo>
                    <a:pt x="1437" y="181"/>
                  </a:lnTo>
                  <a:lnTo>
                    <a:pt x="1436" y="190"/>
                  </a:lnTo>
                  <a:lnTo>
                    <a:pt x="1436" y="201"/>
                  </a:lnTo>
                  <a:lnTo>
                    <a:pt x="1449" y="210"/>
                  </a:lnTo>
                  <a:lnTo>
                    <a:pt x="1458" y="214"/>
                  </a:lnTo>
                  <a:lnTo>
                    <a:pt x="1467" y="216"/>
                  </a:lnTo>
                  <a:lnTo>
                    <a:pt x="1476" y="216"/>
                  </a:lnTo>
                  <a:lnTo>
                    <a:pt x="1491" y="214"/>
                  </a:lnTo>
                  <a:lnTo>
                    <a:pt x="1508" y="216"/>
                  </a:lnTo>
                  <a:lnTo>
                    <a:pt x="1515" y="223"/>
                  </a:lnTo>
                  <a:lnTo>
                    <a:pt x="1522" y="236"/>
                  </a:lnTo>
                  <a:lnTo>
                    <a:pt x="1524" y="242"/>
                  </a:lnTo>
                  <a:lnTo>
                    <a:pt x="1530" y="247"/>
                  </a:lnTo>
                  <a:lnTo>
                    <a:pt x="1534" y="251"/>
                  </a:lnTo>
                  <a:lnTo>
                    <a:pt x="1539" y="253"/>
                  </a:lnTo>
                  <a:lnTo>
                    <a:pt x="1541" y="253"/>
                  </a:lnTo>
                  <a:lnTo>
                    <a:pt x="1543" y="262"/>
                  </a:lnTo>
                  <a:lnTo>
                    <a:pt x="1545" y="271"/>
                  </a:lnTo>
                  <a:lnTo>
                    <a:pt x="1539" y="277"/>
                  </a:lnTo>
                  <a:lnTo>
                    <a:pt x="1535" y="282"/>
                  </a:lnTo>
                  <a:lnTo>
                    <a:pt x="1535" y="288"/>
                  </a:lnTo>
                  <a:lnTo>
                    <a:pt x="1535" y="292"/>
                  </a:lnTo>
                  <a:lnTo>
                    <a:pt x="1535" y="303"/>
                  </a:lnTo>
                  <a:lnTo>
                    <a:pt x="1535" y="310"/>
                  </a:lnTo>
                  <a:lnTo>
                    <a:pt x="1522" y="310"/>
                  </a:lnTo>
                  <a:lnTo>
                    <a:pt x="1511" y="310"/>
                  </a:lnTo>
                  <a:lnTo>
                    <a:pt x="1510" y="319"/>
                  </a:lnTo>
                  <a:lnTo>
                    <a:pt x="1510" y="332"/>
                  </a:lnTo>
                  <a:lnTo>
                    <a:pt x="1491" y="340"/>
                  </a:lnTo>
                  <a:lnTo>
                    <a:pt x="1473" y="347"/>
                  </a:lnTo>
                  <a:lnTo>
                    <a:pt x="1467" y="366"/>
                  </a:lnTo>
                  <a:lnTo>
                    <a:pt x="1461" y="377"/>
                  </a:lnTo>
                  <a:lnTo>
                    <a:pt x="1469" y="388"/>
                  </a:lnTo>
                  <a:lnTo>
                    <a:pt x="1478" y="395"/>
                  </a:lnTo>
                  <a:lnTo>
                    <a:pt x="1474" y="399"/>
                  </a:lnTo>
                  <a:lnTo>
                    <a:pt x="1471" y="401"/>
                  </a:lnTo>
                  <a:lnTo>
                    <a:pt x="1467" y="403"/>
                  </a:lnTo>
                  <a:lnTo>
                    <a:pt x="1463" y="403"/>
                  </a:lnTo>
                  <a:lnTo>
                    <a:pt x="1458" y="403"/>
                  </a:lnTo>
                  <a:lnTo>
                    <a:pt x="1456" y="404"/>
                  </a:lnTo>
                  <a:lnTo>
                    <a:pt x="1454" y="408"/>
                  </a:lnTo>
                  <a:lnTo>
                    <a:pt x="1454" y="412"/>
                  </a:lnTo>
                  <a:lnTo>
                    <a:pt x="1454" y="419"/>
                  </a:lnTo>
                  <a:lnTo>
                    <a:pt x="1458" y="423"/>
                  </a:lnTo>
                  <a:lnTo>
                    <a:pt x="1461" y="423"/>
                  </a:lnTo>
                  <a:lnTo>
                    <a:pt x="1467" y="423"/>
                  </a:lnTo>
                  <a:lnTo>
                    <a:pt x="1471" y="423"/>
                  </a:lnTo>
                  <a:lnTo>
                    <a:pt x="1476" y="425"/>
                  </a:lnTo>
                  <a:lnTo>
                    <a:pt x="1482" y="427"/>
                  </a:lnTo>
                  <a:lnTo>
                    <a:pt x="1485" y="432"/>
                  </a:lnTo>
                  <a:lnTo>
                    <a:pt x="1482" y="443"/>
                  </a:lnTo>
                  <a:lnTo>
                    <a:pt x="1474" y="451"/>
                  </a:lnTo>
                  <a:lnTo>
                    <a:pt x="1471" y="456"/>
                  </a:lnTo>
                  <a:lnTo>
                    <a:pt x="1469" y="462"/>
                  </a:lnTo>
                  <a:lnTo>
                    <a:pt x="1471" y="469"/>
                  </a:lnTo>
                  <a:lnTo>
                    <a:pt x="1476" y="476"/>
                  </a:lnTo>
                  <a:lnTo>
                    <a:pt x="1485" y="488"/>
                  </a:lnTo>
                  <a:lnTo>
                    <a:pt x="1495" y="497"/>
                  </a:lnTo>
                  <a:lnTo>
                    <a:pt x="1500" y="502"/>
                  </a:lnTo>
                  <a:lnTo>
                    <a:pt x="1504" y="508"/>
                  </a:lnTo>
                  <a:lnTo>
                    <a:pt x="1508" y="513"/>
                  </a:lnTo>
                  <a:lnTo>
                    <a:pt x="1510" y="521"/>
                  </a:lnTo>
                  <a:lnTo>
                    <a:pt x="1502" y="534"/>
                  </a:lnTo>
                  <a:lnTo>
                    <a:pt x="1493" y="556"/>
                  </a:lnTo>
                  <a:lnTo>
                    <a:pt x="1487" y="561"/>
                  </a:lnTo>
                  <a:lnTo>
                    <a:pt x="1482" y="565"/>
                  </a:lnTo>
                  <a:lnTo>
                    <a:pt x="1478" y="567"/>
                  </a:lnTo>
                  <a:lnTo>
                    <a:pt x="1476" y="571"/>
                  </a:lnTo>
                  <a:lnTo>
                    <a:pt x="1474" y="576"/>
                  </a:lnTo>
                  <a:lnTo>
                    <a:pt x="1473" y="584"/>
                  </a:lnTo>
                  <a:lnTo>
                    <a:pt x="1456" y="582"/>
                  </a:lnTo>
                  <a:lnTo>
                    <a:pt x="1439" y="582"/>
                  </a:lnTo>
                  <a:lnTo>
                    <a:pt x="1437" y="587"/>
                  </a:lnTo>
                  <a:lnTo>
                    <a:pt x="1434" y="593"/>
                  </a:lnTo>
                  <a:lnTo>
                    <a:pt x="1434" y="600"/>
                  </a:lnTo>
                  <a:lnTo>
                    <a:pt x="1432" y="606"/>
                  </a:lnTo>
                  <a:lnTo>
                    <a:pt x="1425" y="608"/>
                  </a:lnTo>
                  <a:lnTo>
                    <a:pt x="1415" y="608"/>
                  </a:lnTo>
                  <a:lnTo>
                    <a:pt x="1412" y="608"/>
                  </a:lnTo>
                  <a:lnTo>
                    <a:pt x="1408" y="609"/>
                  </a:lnTo>
                  <a:lnTo>
                    <a:pt x="1404" y="613"/>
                  </a:lnTo>
                  <a:lnTo>
                    <a:pt x="1402" y="617"/>
                  </a:lnTo>
                  <a:lnTo>
                    <a:pt x="1401" y="622"/>
                  </a:lnTo>
                  <a:lnTo>
                    <a:pt x="1402" y="628"/>
                  </a:lnTo>
                  <a:lnTo>
                    <a:pt x="1406" y="630"/>
                  </a:lnTo>
                  <a:lnTo>
                    <a:pt x="1410" y="634"/>
                  </a:lnTo>
                  <a:lnTo>
                    <a:pt x="1413" y="635"/>
                  </a:lnTo>
                  <a:lnTo>
                    <a:pt x="1417" y="639"/>
                  </a:lnTo>
                  <a:lnTo>
                    <a:pt x="1419" y="646"/>
                  </a:lnTo>
                  <a:lnTo>
                    <a:pt x="1419" y="656"/>
                  </a:lnTo>
                  <a:lnTo>
                    <a:pt x="1415" y="659"/>
                  </a:lnTo>
                  <a:lnTo>
                    <a:pt x="1412" y="659"/>
                  </a:lnTo>
                  <a:lnTo>
                    <a:pt x="1408" y="659"/>
                  </a:lnTo>
                  <a:lnTo>
                    <a:pt x="1404" y="658"/>
                  </a:lnTo>
                  <a:lnTo>
                    <a:pt x="1399" y="654"/>
                  </a:lnTo>
                  <a:lnTo>
                    <a:pt x="1393" y="652"/>
                  </a:lnTo>
                  <a:lnTo>
                    <a:pt x="1391" y="661"/>
                  </a:lnTo>
                  <a:lnTo>
                    <a:pt x="1389" y="669"/>
                  </a:lnTo>
                  <a:lnTo>
                    <a:pt x="1382" y="670"/>
                  </a:lnTo>
                  <a:lnTo>
                    <a:pt x="1375" y="669"/>
                  </a:lnTo>
                  <a:lnTo>
                    <a:pt x="1371" y="670"/>
                  </a:lnTo>
                  <a:lnTo>
                    <a:pt x="1367" y="672"/>
                  </a:lnTo>
                  <a:lnTo>
                    <a:pt x="1362" y="676"/>
                  </a:lnTo>
                  <a:lnTo>
                    <a:pt x="1358" y="683"/>
                  </a:lnTo>
                  <a:lnTo>
                    <a:pt x="1364" y="689"/>
                  </a:lnTo>
                  <a:lnTo>
                    <a:pt x="1367" y="696"/>
                  </a:lnTo>
                  <a:lnTo>
                    <a:pt x="1369" y="702"/>
                  </a:lnTo>
                  <a:lnTo>
                    <a:pt x="1369" y="707"/>
                  </a:lnTo>
                  <a:lnTo>
                    <a:pt x="1369" y="717"/>
                  </a:lnTo>
                  <a:lnTo>
                    <a:pt x="1371" y="724"/>
                  </a:lnTo>
                  <a:lnTo>
                    <a:pt x="1380" y="728"/>
                  </a:lnTo>
                  <a:lnTo>
                    <a:pt x="1386" y="733"/>
                  </a:lnTo>
                  <a:lnTo>
                    <a:pt x="1386" y="748"/>
                  </a:lnTo>
                  <a:lnTo>
                    <a:pt x="1384" y="759"/>
                  </a:lnTo>
                  <a:lnTo>
                    <a:pt x="1391" y="774"/>
                  </a:lnTo>
                  <a:lnTo>
                    <a:pt x="1404" y="792"/>
                  </a:lnTo>
                  <a:lnTo>
                    <a:pt x="1419" y="811"/>
                  </a:lnTo>
                  <a:lnTo>
                    <a:pt x="1428" y="822"/>
                  </a:lnTo>
                  <a:lnTo>
                    <a:pt x="1425" y="842"/>
                  </a:lnTo>
                  <a:lnTo>
                    <a:pt x="1425" y="859"/>
                  </a:lnTo>
                  <a:lnTo>
                    <a:pt x="1430" y="864"/>
                  </a:lnTo>
                  <a:lnTo>
                    <a:pt x="1434" y="870"/>
                  </a:lnTo>
                  <a:lnTo>
                    <a:pt x="1436" y="872"/>
                  </a:lnTo>
                  <a:lnTo>
                    <a:pt x="1436" y="874"/>
                  </a:lnTo>
                  <a:lnTo>
                    <a:pt x="1436" y="877"/>
                  </a:lnTo>
                  <a:lnTo>
                    <a:pt x="1434" y="879"/>
                  </a:lnTo>
                  <a:lnTo>
                    <a:pt x="1428" y="883"/>
                  </a:lnTo>
                  <a:lnTo>
                    <a:pt x="1423" y="885"/>
                  </a:lnTo>
                  <a:lnTo>
                    <a:pt x="1419" y="883"/>
                  </a:lnTo>
                  <a:lnTo>
                    <a:pt x="1415" y="879"/>
                  </a:lnTo>
                  <a:lnTo>
                    <a:pt x="1410" y="872"/>
                  </a:lnTo>
                  <a:lnTo>
                    <a:pt x="1406" y="868"/>
                  </a:lnTo>
                  <a:lnTo>
                    <a:pt x="1402" y="874"/>
                  </a:lnTo>
                  <a:lnTo>
                    <a:pt x="1402" y="879"/>
                  </a:lnTo>
                  <a:lnTo>
                    <a:pt x="1393" y="877"/>
                  </a:lnTo>
                  <a:lnTo>
                    <a:pt x="1382" y="877"/>
                  </a:lnTo>
                  <a:lnTo>
                    <a:pt x="1376" y="881"/>
                  </a:lnTo>
                  <a:lnTo>
                    <a:pt x="1375" y="887"/>
                  </a:lnTo>
                  <a:lnTo>
                    <a:pt x="1375" y="890"/>
                  </a:lnTo>
                  <a:lnTo>
                    <a:pt x="1375" y="896"/>
                  </a:lnTo>
                  <a:lnTo>
                    <a:pt x="1376" y="900"/>
                  </a:lnTo>
                  <a:lnTo>
                    <a:pt x="1376" y="905"/>
                  </a:lnTo>
                  <a:lnTo>
                    <a:pt x="1375" y="911"/>
                  </a:lnTo>
                  <a:lnTo>
                    <a:pt x="1371" y="916"/>
                  </a:lnTo>
                  <a:lnTo>
                    <a:pt x="1347" y="916"/>
                  </a:lnTo>
                  <a:lnTo>
                    <a:pt x="1319" y="914"/>
                  </a:lnTo>
                  <a:lnTo>
                    <a:pt x="1304" y="913"/>
                  </a:lnTo>
                  <a:lnTo>
                    <a:pt x="1293" y="913"/>
                  </a:lnTo>
                  <a:lnTo>
                    <a:pt x="1290" y="913"/>
                  </a:lnTo>
                  <a:lnTo>
                    <a:pt x="1286" y="914"/>
                  </a:lnTo>
                  <a:lnTo>
                    <a:pt x="1284" y="916"/>
                  </a:lnTo>
                  <a:lnTo>
                    <a:pt x="1284" y="920"/>
                  </a:lnTo>
                  <a:lnTo>
                    <a:pt x="1286" y="935"/>
                  </a:lnTo>
                  <a:lnTo>
                    <a:pt x="1290" y="955"/>
                  </a:lnTo>
                  <a:lnTo>
                    <a:pt x="1293" y="972"/>
                  </a:lnTo>
                  <a:lnTo>
                    <a:pt x="1293" y="981"/>
                  </a:lnTo>
                  <a:lnTo>
                    <a:pt x="1290" y="1009"/>
                  </a:lnTo>
                  <a:lnTo>
                    <a:pt x="1280" y="1034"/>
                  </a:lnTo>
                  <a:lnTo>
                    <a:pt x="1277" y="1047"/>
                  </a:lnTo>
                  <a:lnTo>
                    <a:pt x="1273" y="1059"/>
                  </a:lnTo>
                  <a:lnTo>
                    <a:pt x="1273" y="1070"/>
                  </a:lnTo>
                  <a:lnTo>
                    <a:pt x="1273" y="1077"/>
                  </a:lnTo>
                  <a:lnTo>
                    <a:pt x="1279" y="1086"/>
                  </a:lnTo>
                  <a:lnTo>
                    <a:pt x="1284" y="1092"/>
                  </a:lnTo>
                  <a:lnTo>
                    <a:pt x="1290" y="1095"/>
                  </a:lnTo>
                  <a:lnTo>
                    <a:pt x="1297" y="1099"/>
                  </a:lnTo>
                  <a:lnTo>
                    <a:pt x="1301" y="1112"/>
                  </a:lnTo>
                  <a:lnTo>
                    <a:pt x="1303" y="1125"/>
                  </a:lnTo>
                  <a:lnTo>
                    <a:pt x="1314" y="1144"/>
                  </a:lnTo>
                  <a:lnTo>
                    <a:pt x="1325" y="1155"/>
                  </a:lnTo>
                  <a:lnTo>
                    <a:pt x="1330" y="1160"/>
                  </a:lnTo>
                  <a:lnTo>
                    <a:pt x="1334" y="1164"/>
                  </a:lnTo>
                  <a:lnTo>
                    <a:pt x="1336" y="1171"/>
                  </a:lnTo>
                  <a:lnTo>
                    <a:pt x="1338" y="1177"/>
                  </a:lnTo>
                  <a:lnTo>
                    <a:pt x="1336" y="1180"/>
                  </a:lnTo>
                  <a:lnTo>
                    <a:pt x="1332" y="1182"/>
                  </a:lnTo>
                  <a:lnTo>
                    <a:pt x="1327" y="1180"/>
                  </a:lnTo>
                  <a:lnTo>
                    <a:pt x="1321" y="1179"/>
                  </a:lnTo>
                  <a:lnTo>
                    <a:pt x="1314" y="1182"/>
                  </a:lnTo>
                  <a:lnTo>
                    <a:pt x="1310" y="1186"/>
                  </a:lnTo>
                  <a:lnTo>
                    <a:pt x="1308" y="1192"/>
                  </a:lnTo>
                  <a:lnTo>
                    <a:pt x="1306" y="1197"/>
                  </a:lnTo>
                  <a:lnTo>
                    <a:pt x="1306" y="1203"/>
                  </a:lnTo>
                  <a:lnTo>
                    <a:pt x="1304" y="1210"/>
                  </a:lnTo>
                  <a:lnTo>
                    <a:pt x="1301" y="1219"/>
                  </a:lnTo>
                  <a:lnTo>
                    <a:pt x="1295" y="1227"/>
                  </a:lnTo>
                  <a:lnTo>
                    <a:pt x="1288" y="1234"/>
                  </a:lnTo>
                  <a:lnTo>
                    <a:pt x="1282" y="1238"/>
                  </a:lnTo>
                  <a:lnTo>
                    <a:pt x="1277" y="1240"/>
                  </a:lnTo>
                  <a:lnTo>
                    <a:pt x="1269" y="1241"/>
                  </a:lnTo>
                  <a:lnTo>
                    <a:pt x="1260" y="1243"/>
                  </a:lnTo>
                  <a:lnTo>
                    <a:pt x="1253" y="1247"/>
                  </a:lnTo>
                  <a:lnTo>
                    <a:pt x="1251" y="1260"/>
                  </a:lnTo>
                  <a:lnTo>
                    <a:pt x="1255" y="1280"/>
                  </a:lnTo>
                  <a:lnTo>
                    <a:pt x="1245" y="1282"/>
                  </a:lnTo>
                  <a:lnTo>
                    <a:pt x="1238" y="1280"/>
                  </a:lnTo>
                  <a:lnTo>
                    <a:pt x="1231" y="1278"/>
                  </a:lnTo>
                  <a:lnTo>
                    <a:pt x="1221" y="1278"/>
                  </a:lnTo>
                  <a:lnTo>
                    <a:pt x="1216" y="1286"/>
                  </a:lnTo>
                  <a:lnTo>
                    <a:pt x="1210" y="1295"/>
                  </a:lnTo>
                  <a:lnTo>
                    <a:pt x="1203" y="1293"/>
                  </a:lnTo>
                  <a:lnTo>
                    <a:pt x="1194" y="1289"/>
                  </a:lnTo>
                  <a:lnTo>
                    <a:pt x="1190" y="1297"/>
                  </a:lnTo>
                  <a:lnTo>
                    <a:pt x="1184" y="1304"/>
                  </a:lnTo>
                  <a:lnTo>
                    <a:pt x="1179" y="1304"/>
                  </a:lnTo>
                  <a:lnTo>
                    <a:pt x="1173" y="1302"/>
                  </a:lnTo>
                  <a:lnTo>
                    <a:pt x="1170" y="1302"/>
                  </a:lnTo>
                  <a:lnTo>
                    <a:pt x="1168" y="1302"/>
                  </a:lnTo>
                  <a:lnTo>
                    <a:pt x="1164" y="1304"/>
                  </a:lnTo>
                  <a:lnTo>
                    <a:pt x="1162" y="1308"/>
                  </a:lnTo>
                  <a:lnTo>
                    <a:pt x="1159" y="1314"/>
                  </a:lnTo>
                  <a:lnTo>
                    <a:pt x="1159" y="1319"/>
                  </a:lnTo>
                  <a:lnTo>
                    <a:pt x="1159" y="1323"/>
                  </a:lnTo>
                  <a:lnTo>
                    <a:pt x="1160" y="1325"/>
                  </a:lnTo>
                  <a:lnTo>
                    <a:pt x="1166" y="1328"/>
                  </a:lnTo>
                  <a:lnTo>
                    <a:pt x="1168" y="1334"/>
                  </a:lnTo>
                  <a:lnTo>
                    <a:pt x="1160" y="1341"/>
                  </a:lnTo>
                  <a:lnTo>
                    <a:pt x="1155" y="1347"/>
                  </a:lnTo>
                  <a:lnTo>
                    <a:pt x="1157" y="1360"/>
                  </a:lnTo>
                  <a:lnTo>
                    <a:pt x="1160" y="1371"/>
                  </a:lnTo>
                  <a:lnTo>
                    <a:pt x="1159" y="1382"/>
                  </a:lnTo>
                  <a:lnTo>
                    <a:pt x="1157" y="1391"/>
                  </a:lnTo>
                  <a:lnTo>
                    <a:pt x="1164" y="1399"/>
                  </a:lnTo>
                  <a:lnTo>
                    <a:pt x="1170" y="1410"/>
                  </a:lnTo>
                  <a:lnTo>
                    <a:pt x="1162" y="1411"/>
                  </a:lnTo>
                  <a:lnTo>
                    <a:pt x="1153" y="1417"/>
                  </a:lnTo>
                  <a:lnTo>
                    <a:pt x="1168" y="1430"/>
                  </a:lnTo>
                  <a:lnTo>
                    <a:pt x="1183" y="1441"/>
                  </a:lnTo>
                  <a:lnTo>
                    <a:pt x="1177" y="1450"/>
                  </a:lnTo>
                  <a:lnTo>
                    <a:pt x="1173" y="1461"/>
                  </a:lnTo>
                  <a:lnTo>
                    <a:pt x="1183" y="1471"/>
                  </a:lnTo>
                  <a:lnTo>
                    <a:pt x="1190" y="1480"/>
                  </a:lnTo>
                  <a:lnTo>
                    <a:pt x="1183" y="1493"/>
                  </a:lnTo>
                  <a:lnTo>
                    <a:pt x="1175" y="1506"/>
                  </a:lnTo>
                  <a:lnTo>
                    <a:pt x="1192" y="1511"/>
                  </a:lnTo>
                  <a:lnTo>
                    <a:pt x="1208" y="1522"/>
                  </a:lnTo>
                  <a:lnTo>
                    <a:pt x="1207" y="1533"/>
                  </a:lnTo>
                  <a:lnTo>
                    <a:pt x="1207" y="1548"/>
                  </a:lnTo>
                  <a:lnTo>
                    <a:pt x="1199" y="1556"/>
                  </a:lnTo>
                  <a:lnTo>
                    <a:pt x="1197" y="1563"/>
                  </a:lnTo>
                  <a:lnTo>
                    <a:pt x="1197" y="1570"/>
                  </a:lnTo>
                  <a:lnTo>
                    <a:pt x="1201" y="1576"/>
                  </a:lnTo>
                  <a:lnTo>
                    <a:pt x="1210" y="1585"/>
                  </a:lnTo>
                  <a:lnTo>
                    <a:pt x="1218" y="1591"/>
                  </a:lnTo>
                  <a:lnTo>
                    <a:pt x="1218" y="1598"/>
                  </a:lnTo>
                  <a:lnTo>
                    <a:pt x="1216" y="1604"/>
                  </a:lnTo>
                  <a:lnTo>
                    <a:pt x="1216" y="1609"/>
                  </a:lnTo>
                  <a:lnTo>
                    <a:pt x="1212" y="1613"/>
                  </a:lnTo>
                  <a:lnTo>
                    <a:pt x="1190" y="1622"/>
                  </a:lnTo>
                  <a:lnTo>
                    <a:pt x="1168" y="1633"/>
                  </a:lnTo>
                  <a:lnTo>
                    <a:pt x="1149" y="1642"/>
                  </a:lnTo>
                  <a:lnTo>
                    <a:pt x="1144" y="1650"/>
                  </a:lnTo>
                  <a:lnTo>
                    <a:pt x="1147" y="1661"/>
                  </a:lnTo>
                  <a:lnTo>
                    <a:pt x="1147" y="1672"/>
                  </a:lnTo>
                  <a:lnTo>
                    <a:pt x="1138" y="1676"/>
                  </a:lnTo>
                  <a:lnTo>
                    <a:pt x="1129" y="1676"/>
                  </a:lnTo>
                  <a:lnTo>
                    <a:pt x="1118" y="1674"/>
                  </a:lnTo>
                  <a:lnTo>
                    <a:pt x="1103" y="1674"/>
                  </a:lnTo>
                  <a:lnTo>
                    <a:pt x="1088" y="1681"/>
                  </a:lnTo>
                  <a:lnTo>
                    <a:pt x="1070" y="1689"/>
                  </a:lnTo>
                  <a:lnTo>
                    <a:pt x="1059" y="1687"/>
                  </a:lnTo>
                  <a:lnTo>
                    <a:pt x="1050" y="1689"/>
                  </a:lnTo>
                  <a:lnTo>
                    <a:pt x="1044" y="1690"/>
                  </a:lnTo>
                  <a:lnTo>
                    <a:pt x="1038" y="1694"/>
                  </a:lnTo>
                  <a:lnTo>
                    <a:pt x="1031" y="1705"/>
                  </a:lnTo>
                  <a:lnTo>
                    <a:pt x="1018" y="1714"/>
                  </a:lnTo>
                  <a:lnTo>
                    <a:pt x="1000" y="1709"/>
                  </a:lnTo>
                  <a:lnTo>
                    <a:pt x="981" y="1703"/>
                  </a:lnTo>
                  <a:lnTo>
                    <a:pt x="957" y="1711"/>
                  </a:lnTo>
                  <a:lnTo>
                    <a:pt x="935" y="1718"/>
                  </a:lnTo>
                  <a:lnTo>
                    <a:pt x="929" y="1716"/>
                  </a:lnTo>
                  <a:lnTo>
                    <a:pt x="924" y="1714"/>
                  </a:lnTo>
                  <a:lnTo>
                    <a:pt x="920" y="1709"/>
                  </a:lnTo>
                  <a:lnTo>
                    <a:pt x="913" y="1705"/>
                  </a:lnTo>
                  <a:lnTo>
                    <a:pt x="907" y="1700"/>
                  </a:lnTo>
                  <a:lnTo>
                    <a:pt x="898" y="1696"/>
                  </a:lnTo>
                  <a:lnTo>
                    <a:pt x="889" y="1692"/>
                  </a:lnTo>
                  <a:lnTo>
                    <a:pt x="874" y="1692"/>
                  </a:lnTo>
                  <a:lnTo>
                    <a:pt x="848" y="1696"/>
                  </a:lnTo>
                  <a:lnTo>
                    <a:pt x="828" y="1698"/>
                  </a:lnTo>
                  <a:lnTo>
                    <a:pt x="815" y="1690"/>
                  </a:lnTo>
                  <a:lnTo>
                    <a:pt x="802" y="1683"/>
                  </a:lnTo>
                  <a:lnTo>
                    <a:pt x="778" y="1679"/>
                  </a:lnTo>
                  <a:lnTo>
                    <a:pt x="767" y="1676"/>
                  </a:lnTo>
                  <a:lnTo>
                    <a:pt x="752" y="1683"/>
                  </a:lnTo>
                  <a:lnTo>
                    <a:pt x="737" y="1687"/>
                  </a:lnTo>
                  <a:lnTo>
                    <a:pt x="723" y="1690"/>
                  </a:lnTo>
                  <a:lnTo>
                    <a:pt x="704" y="1692"/>
                  </a:lnTo>
                  <a:lnTo>
                    <a:pt x="693" y="1690"/>
                  </a:lnTo>
                  <a:lnTo>
                    <a:pt x="686" y="1687"/>
                  </a:lnTo>
                  <a:lnTo>
                    <a:pt x="682" y="1681"/>
                  </a:lnTo>
                  <a:lnTo>
                    <a:pt x="680" y="1674"/>
                  </a:lnTo>
                  <a:lnTo>
                    <a:pt x="680" y="1668"/>
                  </a:lnTo>
                  <a:lnTo>
                    <a:pt x="680" y="1661"/>
                  </a:lnTo>
                  <a:lnTo>
                    <a:pt x="678" y="1655"/>
                  </a:lnTo>
                  <a:lnTo>
                    <a:pt x="676" y="1652"/>
                  </a:lnTo>
                  <a:lnTo>
                    <a:pt x="671" y="1652"/>
                  </a:lnTo>
                  <a:lnTo>
                    <a:pt x="663" y="1654"/>
                  </a:lnTo>
                  <a:lnTo>
                    <a:pt x="660" y="1655"/>
                  </a:lnTo>
                  <a:lnTo>
                    <a:pt x="656" y="1654"/>
                  </a:lnTo>
                  <a:lnTo>
                    <a:pt x="652" y="1652"/>
                  </a:lnTo>
                  <a:lnTo>
                    <a:pt x="649" y="1648"/>
                  </a:lnTo>
                  <a:lnTo>
                    <a:pt x="647" y="1633"/>
                  </a:lnTo>
                  <a:lnTo>
                    <a:pt x="647" y="1618"/>
                  </a:lnTo>
                  <a:lnTo>
                    <a:pt x="638" y="1611"/>
                  </a:lnTo>
                  <a:lnTo>
                    <a:pt x="628" y="1607"/>
                  </a:lnTo>
                  <a:lnTo>
                    <a:pt x="632" y="1598"/>
                  </a:lnTo>
                  <a:lnTo>
                    <a:pt x="632" y="1593"/>
                  </a:lnTo>
                  <a:lnTo>
                    <a:pt x="630" y="1589"/>
                  </a:lnTo>
                  <a:lnTo>
                    <a:pt x="626" y="1585"/>
                  </a:lnTo>
                  <a:lnTo>
                    <a:pt x="619" y="1581"/>
                  </a:lnTo>
                  <a:lnTo>
                    <a:pt x="615" y="1574"/>
                  </a:lnTo>
                  <a:lnTo>
                    <a:pt x="614" y="1561"/>
                  </a:lnTo>
                  <a:lnTo>
                    <a:pt x="612" y="1554"/>
                  </a:lnTo>
                  <a:lnTo>
                    <a:pt x="608" y="1550"/>
                  </a:lnTo>
                  <a:lnTo>
                    <a:pt x="604" y="1548"/>
                  </a:lnTo>
                  <a:lnTo>
                    <a:pt x="602" y="1548"/>
                  </a:lnTo>
                  <a:lnTo>
                    <a:pt x="599" y="1548"/>
                  </a:lnTo>
                  <a:lnTo>
                    <a:pt x="597" y="1546"/>
                  </a:lnTo>
                  <a:lnTo>
                    <a:pt x="593" y="1543"/>
                  </a:lnTo>
                  <a:lnTo>
                    <a:pt x="595" y="1533"/>
                  </a:lnTo>
                  <a:lnTo>
                    <a:pt x="595" y="1528"/>
                  </a:lnTo>
                  <a:lnTo>
                    <a:pt x="595" y="1520"/>
                  </a:lnTo>
                  <a:lnTo>
                    <a:pt x="591" y="1517"/>
                  </a:lnTo>
                  <a:lnTo>
                    <a:pt x="588" y="1513"/>
                  </a:lnTo>
                  <a:lnTo>
                    <a:pt x="584" y="1511"/>
                  </a:lnTo>
                  <a:lnTo>
                    <a:pt x="578" y="1509"/>
                  </a:lnTo>
                  <a:lnTo>
                    <a:pt x="573" y="1509"/>
                  </a:lnTo>
                  <a:lnTo>
                    <a:pt x="571" y="1515"/>
                  </a:lnTo>
                  <a:lnTo>
                    <a:pt x="567" y="1520"/>
                  </a:lnTo>
                  <a:lnTo>
                    <a:pt x="566" y="1522"/>
                  </a:lnTo>
                  <a:lnTo>
                    <a:pt x="564" y="1522"/>
                  </a:lnTo>
                  <a:lnTo>
                    <a:pt x="560" y="1522"/>
                  </a:lnTo>
                  <a:lnTo>
                    <a:pt x="554" y="1519"/>
                  </a:lnTo>
                  <a:lnTo>
                    <a:pt x="549" y="1522"/>
                  </a:lnTo>
                  <a:lnTo>
                    <a:pt x="542" y="1526"/>
                  </a:lnTo>
                  <a:lnTo>
                    <a:pt x="532" y="1528"/>
                  </a:lnTo>
                  <a:lnTo>
                    <a:pt x="523" y="1526"/>
                  </a:lnTo>
                  <a:lnTo>
                    <a:pt x="523" y="1517"/>
                  </a:lnTo>
                  <a:lnTo>
                    <a:pt x="523" y="1508"/>
                  </a:lnTo>
                  <a:lnTo>
                    <a:pt x="521" y="1500"/>
                  </a:lnTo>
                  <a:lnTo>
                    <a:pt x="518" y="1493"/>
                  </a:lnTo>
                  <a:lnTo>
                    <a:pt x="514" y="1487"/>
                  </a:lnTo>
                  <a:lnTo>
                    <a:pt x="508" y="1482"/>
                  </a:lnTo>
                  <a:lnTo>
                    <a:pt x="503" y="1476"/>
                  </a:lnTo>
                  <a:lnTo>
                    <a:pt x="495" y="1472"/>
                  </a:lnTo>
                  <a:lnTo>
                    <a:pt x="482" y="1465"/>
                  </a:lnTo>
                  <a:lnTo>
                    <a:pt x="466" y="1463"/>
                  </a:lnTo>
                  <a:lnTo>
                    <a:pt x="449" y="1461"/>
                  </a:lnTo>
                  <a:lnTo>
                    <a:pt x="433" y="1463"/>
                  </a:lnTo>
                  <a:lnTo>
                    <a:pt x="421" y="1485"/>
                  </a:lnTo>
                  <a:lnTo>
                    <a:pt x="416" y="1500"/>
                  </a:lnTo>
                  <a:lnTo>
                    <a:pt x="414" y="1509"/>
                  </a:lnTo>
                  <a:lnTo>
                    <a:pt x="414" y="1517"/>
                  </a:lnTo>
                  <a:lnTo>
                    <a:pt x="416" y="1520"/>
                  </a:lnTo>
                  <a:lnTo>
                    <a:pt x="418" y="1524"/>
                  </a:lnTo>
                  <a:lnTo>
                    <a:pt x="416" y="1530"/>
                  </a:lnTo>
                  <a:lnTo>
                    <a:pt x="414" y="1537"/>
                  </a:lnTo>
                  <a:lnTo>
                    <a:pt x="399" y="1546"/>
                  </a:lnTo>
                  <a:lnTo>
                    <a:pt x="385" y="1557"/>
                  </a:lnTo>
                  <a:lnTo>
                    <a:pt x="381" y="1574"/>
                  </a:lnTo>
                  <a:lnTo>
                    <a:pt x="375" y="1589"/>
                  </a:lnTo>
                  <a:lnTo>
                    <a:pt x="373" y="1594"/>
                  </a:lnTo>
                  <a:lnTo>
                    <a:pt x="370" y="1600"/>
                  </a:lnTo>
                  <a:lnTo>
                    <a:pt x="366" y="1604"/>
                  </a:lnTo>
                  <a:lnTo>
                    <a:pt x="360" y="1605"/>
                  </a:lnTo>
                  <a:lnTo>
                    <a:pt x="360" y="1615"/>
                  </a:lnTo>
                  <a:lnTo>
                    <a:pt x="357" y="1622"/>
                  </a:lnTo>
                  <a:lnTo>
                    <a:pt x="353" y="1622"/>
                  </a:lnTo>
                  <a:lnTo>
                    <a:pt x="351" y="1618"/>
                  </a:lnTo>
                  <a:lnTo>
                    <a:pt x="351" y="1617"/>
                  </a:lnTo>
                  <a:lnTo>
                    <a:pt x="351" y="1611"/>
                  </a:lnTo>
                  <a:lnTo>
                    <a:pt x="349" y="1604"/>
                  </a:lnTo>
                  <a:lnTo>
                    <a:pt x="348" y="1596"/>
                  </a:lnTo>
                  <a:lnTo>
                    <a:pt x="336" y="1585"/>
                  </a:lnTo>
                  <a:lnTo>
                    <a:pt x="329" y="1578"/>
                  </a:lnTo>
                  <a:lnTo>
                    <a:pt x="322" y="1589"/>
                  </a:lnTo>
                  <a:lnTo>
                    <a:pt x="316" y="1593"/>
                  </a:lnTo>
                  <a:lnTo>
                    <a:pt x="312" y="1594"/>
                  </a:lnTo>
                  <a:lnTo>
                    <a:pt x="307" y="1594"/>
                  </a:lnTo>
                  <a:lnTo>
                    <a:pt x="292" y="1602"/>
                  </a:lnTo>
                  <a:lnTo>
                    <a:pt x="283" y="1604"/>
                  </a:lnTo>
                  <a:lnTo>
                    <a:pt x="277" y="1604"/>
                  </a:lnTo>
                  <a:lnTo>
                    <a:pt x="268" y="1605"/>
                  </a:lnTo>
                  <a:lnTo>
                    <a:pt x="257" y="1618"/>
                  </a:lnTo>
                  <a:lnTo>
                    <a:pt x="246" y="1628"/>
                  </a:lnTo>
                  <a:lnTo>
                    <a:pt x="235" y="1622"/>
                  </a:lnTo>
                  <a:lnTo>
                    <a:pt x="227" y="1617"/>
                  </a:lnTo>
                  <a:lnTo>
                    <a:pt x="224" y="1607"/>
                  </a:lnTo>
                  <a:lnTo>
                    <a:pt x="220" y="1600"/>
                  </a:lnTo>
                  <a:lnTo>
                    <a:pt x="220" y="1591"/>
                  </a:lnTo>
                  <a:lnTo>
                    <a:pt x="220" y="1583"/>
                  </a:lnTo>
                  <a:lnTo>
                    <a:pt x="220" y="1578"/>
                  </a:lnTo>
                  <a:lnTo>
                    <a:pt x="222" y="1574"/>
                  </a:lnTo>
                  <a:lnTo>
                    <a:pt x="220" y="1561"/>
                  </a:lnTo>
                  <a:lnTo>
                    <a:pt x="218" y="1548"/>
                  </a:lnTo>
                  <a:lnTo>
                    <a:pt x="218" y="1537"/>
                  </a:lnTo>
                  <a:lnTo>
                    <a:pt x="220" y="1526"/>
                  </a:lnTo>
                  <a:lnTo>
                    <a:pt x="224" y="1515"/>
                  </a:lnTo>
                  <a:lnTo>
                    <a:pt x="229" y="1504"/>
                  </a:lnTo>
                  <a:lnTo>
                    <a:pt x="235" y="1495"/>
                  </a:lnTo>
                  <a:lnTo>
                    <a:pt x="240" y="1487"/>
                  </a:lnTo>
                  <a:lnTo>
                    <a:pt x="240" y="1471"/>
                  </a:lnTo>
                  <a:lnTo>
                    <a:pt x="242" y="1456"/>
                  </a:lnTo>
                  <a:lnTo>
                    <a:pt x="227" y="1447"/>
                  </a:lnTo>
                  <a:lnTo>
                    <a:pt x="215" y="1437"/>
                  </a:lnTo>
                  <a:lnTo>
                    <a:pt x="203" y="1424"/>
                  </a:lnTo>
                  <a:lnTo>
                    <a:pt x="192" y="1411"/>
                  </a:lnTo>
                  <a:lnTo>
                    <a:pt x="196" y="1391"/>
                  </a:lnTo>
                  <a:lnTo>
                    <a:pt x="200" y="1369"/>
                  </a:lnTo>
                  <a:lnTo>
                    <a:pt x="194" y="1360"/>
                  </a:lnTo>
                  <a:lnTo>
                    <a:pt x="185" y="1352"/>
                  </a:lnTo>
                  <a:lnTo>
                    <a:pt x="181" y="1345"/>
                  </a:lnTo>
                  <a:lnTo>
                    <a:pt x="179" y="1338"/>
                  </a:lnTo>
                  <a:lnTo>
                    <a:pt x="178" y="1325"/>
                  </a:lnTo>
                  <a:lnTo>
                    <a:pt x="179" y="1310"/>
                  </a:lnTo>
                  <a:lnTo>
                    <a:pt x="179" y="1304"/>
                  </a:lnTo>
                  <a:lnTo>
                    <a:pt x="178" y="1297"/>
                  </a:lnTo>
                  <a:lnTo>
                    <a:pt x="174" y="1288"/>
                  </a:lnTo>
                  <a:lnTo>
                    <a:pt x="168" y="1278"/>
                  </a:lnTo>
                  <a:lnTo>
                    <a:pt x="159" y="1264"/>
                  </a:lnTo>
                  <a:lnTo>
                    <a:pt x="152" y="1256"/>
                  </a:lnTo>
                  <a:lnTo>
                    <a:pt x="143" y="1258"/>
                  </a:lnTo>
                  <a:lnTo>
                    <a:pt x="135" y="1260"/>
                  </a:lnTo>
                  <a:lnTo>
                    <a:pt x="130" y="1262"/>
                  </a:lnTo>
                  <a:lnTo>
                    <a:pt x="128" y="1262"/>
                  </a:lnTo>
                  <a:lnTo>
                    <a:pt x="124" y="1260"/>
                  </a:lnTo>
                  <a:lnTo>
                    <a:pt x="124" y="1258"/>
                  </a:lnTo>
                  <a:lnTo>
                    <a:pt x="122" y="1253"/>
                  </a:lnTo>
                  <a:lnTo>
                    <a:pt x="122" y="1247"/>
                  </a:lnTo>
                  <a:lnTo>
                    <a:pt x="122" y="1240"/>
                  </a:lnTo>
                  <a:lnTo>
                    <a:pt x="124" y="1234"/>
                  </a:lnTo>
                  <a:lnTo>
                    <a:pt x="131" y="1236"/>
                  </a:lnTo>
                  <a:lnTo>
                    <a:pt x="137" y="1236"/>
                  </a:lnTo>
                  <a:lnTo>
                    <a:pt x="141" y="1234"/>
                  </a:lnTo>
                  <a:lnTo>
                    <a:pt x="141" y="1232"/>
                  </a:lnTo>
                  <a:lnTo>
                    <a:pt x="143" y="1229"/>
                  </a:lnTo>
                  <a:lnTo>
                    <a:pt x="141" y="1223"/>
                  </a:lnTo>
                  <a:lnTo>
                    <a:pt x="126" y="1199"/>
                  </a:lnTo>
                  <a:lnTo>
                    <a:pt x="111" y="1206"/>
                  </a:lnTo>
                  <a:lnTo>
                    <a:pt x="104" y="1203"/>
                  </a:lnTo>
                  <a:lnTo>
                    <a:pt x="94" y="1201"/>
                  </a:lnTo>
                  <a:lnTo>
                    <a:pt x="83" y="1201"/>
                  </a:lnTo>
                  <a:lnTo>
                    <a:pt x="74" y="1203"/>
                  </a:lnTo>
                  <a:lnTo>
                    <a:pt x="67" y="1197"/>
                  </a:lnTo>
                  <a:lnTo>
                    <a:pt x="61" y="1192"/>
                  </a:lnTo>
                  <a:lnTo>
                    <a:pt x="54" y="1192"/>
                  </a:lnTo>
                  <a:lnTo>
                    <a:pt x="48" y="1195"/>
                  </a:lnTo>
                  <a:lnTo>
                    <a:pt x="45" y="1195"/>
                  </a:lnTo>
                  <a:lnTo>
                    <a:pt x="41" y="1195"/>
                  </a:lnTo>
                  <a:lnTo>
                    <a:pt x="37" y="1193"/>
                  </a:lnTo>
                  <a:lnTo>
                    <a:pt x="30" y="1188"/>
                  </a:lnTo>
                  <a:lnTo>
                    <a:pt x="28" y="1184"/>
                  </a:lnTo>
                  <a:lnTo>
                    <a:pt x="28" y="1180"/>
                  </a:lnTo>
                  <a:lnTo>
                    <a:pt x="28" y="1177"/>
                  </a:lnTo>
                  <a:lnTo>
                    <a:pt x="32" y="1173"/>
                  </a:lnTo>
                  <a:lnTo>
                    <a:pt x="37" y="1166"/>
                  </a:lnTo>
                  <a:lnTo>
                    <a:pt x="45" y="1162"/>
                  </a:lnTo>
                  <a:lnTo>
                    <a:pt x="39" y="1156"/>
                  </a:lnTo>
                  <a:lnTo>
                    <a:pt x="35" y="1151"/>
                  </a:lnTo>
                  <a:lnTo>
                    <a:pt x="50" y="1132"/>
                  </a:lnTo>
                  <a:lnTo>
                    <a:pt x="67" y="1107"/>
                  </a:lnTo>
                  <a:lnTo>
                    <a:pt x="58" y="1099"/>
                  </a:lnTo>
                  <a:lnTo>
                    <a:pt x="54" y="1090"/>
                  </a:lnTo>
                  <a:lnTo>
                    <a:pt x="50" y="1084"/>
                  </a:lnTo>
                  <a:lnTo>
                    <a:pt x="48" y="1077"/>
                  </a:lnTo>
                  <a:lnTo>
                    <a:pt x="35" y="1064"/>
                  </a:lnTo>
                  <a:lnTo>
                    <a:pt x="22" y="1049"/>
                  </a:lnTo>
                  <a:lnTo>
                    <a:pt x="26" y="1031"/>
                  </a:lnTo>
                  <a:lnTo>
                    <a:pt x="30" y="1014"/>
                  </a:lnTo>
                  <a:lnTo>
                    <a:pt x="30" y="1007"/>
                  </a:lnTo>
                  <a:lnTo>
                    <a:pt x="28" y="1001"/>
                  </a:lnTo>
                  <a:lnTo>
                    <a:pt x="22" y="998"/>
                  </a:lnTo>
                  <a:lnTo>
                    <a:pt x="19" y="996"/>
                  </a:lnTo>
                  <a:lnTo>
                    <a:pt x="13" y="992"/>
                  </a:lnTo>
                  <a:lnTo>
                    <a:pt x="10" y="990"/>
                  </a:lnTo>
                  <a:lnTo>
                    <a:pt x="8" y="986"/>
                  </a:lnTo>
                  <a:lnTo>
                    <a:pt x="6" y="983"/>
                  </a:lnTo>
                  <a:lnTo>
                    <a:pt x="26" y="975"/>
                  </a:lnTo>
                  <a:lnTo>
                    <a:pt x="45" y="968"/>
                  </a:lnTo>
                  <a:lnTo>
                    <a:pt x="45" y="955"/>
                  </a:lnTo>
                  <a:lnTo>
                    <a:pt x="43" y="938"/>
                  </a:lnTo>
                  <a:lnTo>
                    <a:pt x="39" y="922"/>
                  </a:lnTo>
                  <a:lnTo>
                    <a:pt x="37" y="901"/>
                  </a:lnTo>
                  <a:lnTo>
                    <a:pt x="35" y="874"/>
                  </a:lnTo>
                  <a:lnTo>
                    <a:pt x="34" y="850"/>
                  </a:lnTo>
                  <a:lnTo>
                    <a:pt x="30" y="829"/>
                  </a:lnTo>
                  <a:lnTo>
                    <a:pt x="24" y="813"/>
                  </a:lnTo>
                  <a:lnTo>
                    <a:pt x="17" y="804"/>
                  </a:lnTo>
                  <a:lnTo>
                    <a:pt x="8" y="796"/>
                  </a:lnTo>
                  <a:lnTo>
                    <a:pt x="4" y="791"/>
                  </a:lnTo>
                  <a:lnTo>
                    <a:pt x="0" y="787"/>
                  </a:lnTo>
                  <a:lnTo>
                    <a:pt x="0" y="779"/>
                  </a:lnTo>
                  <a:lnTo>
                    <a:pt x="0" y="772"/>
                  </a:lnTo>
                  <a:lnTo>
                    <a:pt x="11" y="772"/>
                  </a:lnTo>
                  <a:lnTo>
                    <a:pt x="26" y="772"/>
                  </a:lnTo>
                  <a:lnTo>
                    <a:pt x="46" y="755"/>
                  </a:lnTo>
                  <a:lnTo>
                    <a:pt x="63" y="743"/>
                  </a:lnTo>
                  <a:lnTo>
                    <a:pt x="76" y="744"/>
                  </a:lnTo>
                  <a:lnTo>
                    <a:pt x="91" y="746"/>
                  </a:lnTo>
                  <a:lnTo>
                    <a:pt x="94" y="726"/>
                  </a:lnTo>
                  <a:lnTo>
                    <a:pt x="94" y="706"/>
                  </a:lnTo>
                  <a:lnTo>
                    <a:pt x="98" y="700"/>
                  </a:lnTo>
                  <a:lnTo>
                    <a:pt x="102" y="694"/>
                  </a:lnTo>
                  <a:lnTo>
                    <a:pt x="109" y="691"/>
                  </a:lnTo>
                  <a:lnTo>
                    <a:pt x="120" y="685"/>
                  </a:lnTo>
                  <a:lnTo>
                    <a:pt x="126" y="678"/>
                  </a:lnTo>
                  <a:lnTo>
                    <a:pt x="128" y="667"/>
                  </a:lnTo>
                  <a:lnTo>
                    <a:pt x="150" y="645"/>
                  </a:lnTo>
                  <a:lnTo>
                    <a:pt x="172" y="622"/>
                  </a:lnTo>
                  <a:lnTo>
                    <a:pt x="170" y="617"/>
                  </a:lnTo>
                  <a:lnTo>
                    <a:pt x="168" y="613"/>
                  </a:lnTo>
                  <a:lnTo>
                    <a:pt x="167" y="609"/>
                  </a:lnTo>
                  <a:lnTo>
                    <a:pt x="163" y="606"/>
                  </a:lnTo>
                  <a:lnTo>
                    <a:pt x="155" y="598"/>
                  </a:lnTo>
                  <a:lnTo>
                    <a:pt x="150" y="593"/>
                  </a:lnTo>
                  <a:lnTo>
                    <a:pt x="148" y="576"/>
                  </a:lnTo>
                  <a:lnTo>
                    <a:pt x="146" y="560"/>
                  </a:lnTo>
                  <a:lnTo>
                    <a:pt x="143" y="552"/>
                  </a:lnTo>
                  <a:lnTo>
                    <a:pt x="139" y="547"/>
                  </a:lnTo>
                  <a:lnTo>
                    <a:pt x="135" y="541"/>
                  </a:lnTo>
                  <a:lnTo>
                    <a:pt x="130" y="537"/>
                  </a:lnTo>
                  <a:lnTo>
                    <a:pt x="118" y="530"/>
                  </a:lnTo>
                  <a:lnTo>
                    <a:pt x="109" y="523"/>
                  </a:lnTo>
                  <a:lnTo>
                    <a:pt x="104" y="510"/>
                  </a:lnTo>
                  <a:lnTo>
                    <a:pt x="100" y="495"/>
                  </a:lnTo>
                  <a:lnTo>
                    <a:pt x="94" y="489"/>
                  </a:lnTo>
                  <a:lnTo>
                    <a:pt x="93" y="484"/>
                  </a:lnTo>
                  <a:lnTo>
                    <a:pt x="93" y="478"/>
                  </a:lnTo>
                  <a:lnTo>
                    <a:pt x="94" y="473"/>
                  </a:lnTo>
                  <a:lnTo>
                    <a:pt x="96" y="464"/>
                  </a:lnTo>
                  <a:lnTo>
                    <a:pt x="98" y="456"/>
                  </a:lnTo>
                  <a:lnTo>
                    <a:pt x="91" y="451"/>
                  </a:lnTo>
                  <a:lnTo>
                    <a:pt x="87" y="445"/>
                  </a:lnTo>
                  <a:lnTo>
                    <a:pt x="85" y="439"/>
                  </a:lnTo>
                  <a:lnTo>
                    <a:pt x="85" y="434"/>
                  </a:lnTo>
                  <a:lnTo>
                    <a:pt x="91" y="423"/>
                  </a:lnTo>
                  <a:lnTo>
                    <a:pt x="100" y="408"/>
                  </a:lnTo>
                  <a:lnTo>
                    <a:pt x="111" y="414"/>
                  </a:lnTo>
                  <a:lnTo>
                    <a:pt x="124" y="419"/>
                  </a:lnTo>
                  <a:lnTo>
                    <a:pt x="128" y="419"/>
                  </a:lnTo>
                  <a:lnTo>
                    <a:pt x="131" y="417"/>
                  </a:lnTo>
                  <a:lnTo>
                    <a:pt x="135" y="415"/>
                  </a:lnTo>
                  <a:lnTo>
                    <a:pt x="137" y="412"/>
                  </a:lnTo>
                  <a:lnTo>
                    <a:pt x="135" y="406"/>
                  </a:lnTo>
                  <a:lnTo>
                    <a:pt x="133" y="403"/>
                  </a:lnTo>
                  <a:lnTo>
                    <a:pt x="131" y="397"/>
                  </a:lnTo>
                  <a:lnTo>
                    <a:pt x="133" y="391"/>
                  </a:lnTo>
                  <a:lnTo>
                    <a:pt x="135" y="391"/>
                  </a:lnTo>
                  <a:lnTo>
                    <a:pt x="137" y="391"/>
                  </a:lnTo>
                  <a:lnTo>
                    <a:pt x="139" y="391"/>
                  </a:lnTo>
                  <a:lnTo>
                    <a:pt x="139" y="393"/>
                  </a:lnTo>
                  <a:lnTo>
                    <a:pt x="141" y="399"/>
                  </a:lnTo>
                  <a:lnTo>
                    <a:pt x="143" y="404"/>
                  </a:lnTo>
                  <a:lnTo>
                    <a:pt x="148" y="415"/>
                  </a:lnTo>
                  <a:lnTo>
                    <a:pt x="148" y="421"/>
                  </a:lnTo>
                  <a:lnTo>
                    <a:pt x="146" y="425"/>
                  </a:lnTo>
                  <a:lnTo>
                    <a:pt x="144" y="432"/>
                  </a:lnTo>
                  <a:lnTo>
                    <a:pt x="150" y="439"/>
                  </a:lnTo>
                  <a:lnTo>
                    <a:pt x="157" y="443"/>
                  </a:lnTo>
                  <a:lnTo>
                    <a:pt x="165" y="445"/>
                  </a:lnTo>
                  <a:lnTo>
                    <a:pt x="172" y="445"/>
                  </a:lnTo>
                  <a:lnTo>
                    <a:pt x="163" y="436"/>
                  </a:lnTo>
                  <a:lnTo>
                    <a:pt x="159" y="427"/>
                  </a:lnTo>
                  <a:lnTo>
                    <a:pt x="163" y="423"/>
                  </a:lnTo>
                  <a:lnTo>
                    <a:pt x="176" y="421"/>
                  </a:lnTo>
                  <a:lnTo>
                    <a:pt x="187" y="414"/>
                  </a:lnTo>
                  <a:lnTo>
                    <a:pt x="196" y="403"/>
                  </a:lnTo>
                  <a:lnTo>
                    <a:pt x="203" y="399"/>
                  </a:lnTo>
                  <a:lnTo>
                    <a:pt x="211" y="397"/>
                  </a:lnTo>
                  <a:lnTo>
                    <a:pt x="222" y="397"/>
                  </a:lnTo>
                  <a:lnTo>
                    <a:pt x="237" y="399"/>
                  </a:lnTo>
                  <a:lnTo>
                    <a:pt x="251" y="393"/>
                  </a:lnTo>
                  <a:lnTo>
                    <a:pt x="266" y="391"/>
                  </a:lnTo>
                  <a:lnTo>
                    <a:pt x="274" y="391"/>
                  </a:lnTo>
                  <a:lnTo>
                    <a:pt x="279" y="393"/>
                  </a:lnTo>
                  <a:lnTo>
                    <a:pt x="283" y="397"/>
                  </a:lnTo>
                  <a:lnTo>
                    <a:pt x="285" y="403"/>
                  </a:lnTo>
                  <a:lnTo>
                    <a:pt x="281" y="406"/>
                  </a:lnTo>
                  <a:lnTo>
                    <a:pt x="279" y="408"/>
                  </a:lnTo>
                  <a:lnTo>
                    <a:pt x="277" y="412"/>
                  </a:lnTo>
                  <a:lnTo>
                    <a:pt x="277" y="415"/>
                  </a:lnTo>
                  <a:lnTo>
                    <a:pt x="279" y="417"/>
                  </a:lnTo>
                  <a:lnTo>
                    <a:pt x="283" y="421"/>
                  </a:lnTo>
                  <a:lnTo>
                    <a:pt x="290" y="423"/>
                  </a:lnTo>
                  <a:lnTo>
                    <a:pt x="298" y="425"/>
                  </a:lnTo>
                  <a:lnTo>
                    <a:pt x="312" y="425"/>
                  </a:lnTo>
                  <a:lnTo>
                    <a:pt x="325" y="427"/>
                  </a:lnTo>
                  <a:lnTo>
                    <a:pt x="336" y="428"/>
                  </a:lnTo>
                  <a:lnTo>
                    <a:pt x="342" y="430"/>
                  </a:lnTo>
                  <a:lnTo>
                    <a:pt x="355" y="425"/>
                  </a:lnTo>
                  <a:lnTo>
                    <a:pt x="373" y="415"/>
                  </a:lnTo>
                  <a:lnTo>
                    <a:pt x="396" y="406"/>
                  </a:lnTo>
                  <a:lnTo>
                    <a:pt x="407" y="401"/>
                  </a:lnTo>
                  <a:lnTo>
                    <a:pt x="407" y="391"/>
                  </a:lnTo>
                  <a:lnTo>
                    <a:pt x="403" y="386"/>
                  </a:lnTo>
                  <a:lnTo>
                    <a:pt x="399" y="382"/>
                  </a:lnTo>
                  <a:lnTo>
                    <a:pt x="396" y="379"/>
                  </a:lnTo>
                  <a:lnTo>
                    <a:pt x="394" y="373"/>
                  </a:lnTo>
                  <a:lnTo>
                    <a:pt x="396" y="367"/>
                  </a:lnTo>
                  <a:lnTo>
                    <a:pt x="388" y="360"/>
                  </a:lnTo>
                  <a:lnTo>
                    <a:pt x="386" y="354"/>
                  </a:lnTo>
                  <a:lnTo>
                    <a:pt x="386" y="351"/>
                  </a:lnTo>
                  <a:lnTo>
                    <a:pt x="388" y="349"/>
                  </a:lnTo>
                  <a:lnTo>
                    <a:pt x="392" y="345"/>
                  </a:lnTo>
                  <a:lnTo>
                    <a:pt x="399" y="343"/>
                  </a:lnTo>
                  <a:lnTo>
                    <a:pt x="403" y="338"/>
                  </a:lnTo>
                  <a:lnTo>
                    <a:pt x="407" y="334"/>
                  </a:lnTo>
                  <a:lnTo>
                    <a:pt x="410" y="332"/>
                  </a:lnTo>
                  <a:lnTo>
                    <a:pt x="414" y="332"/>
                  </a:lnTo>
                  <a:lnTo>
                    <a:pt x="423" y="336"/>
                  </a:lnTo>
                  <a:lnTo>
                    <a:pt x="433" y="343"/>
                  </a:lnTo>
                  <a:lnTo>
                    <a:pt x="436" y="342"/>
                  </a:lnTo>
                  <a:lnTo>
                    <a:pt x="440" y="342"/>
                  </a:lnTo>
                  <a:lnTo>
                    <a:pt x="445" y="340"/>
                  </a:lnTo>
                  <a:lnTo>
                    <a:pt x="451" y="343"/>
                  </a:lnTo>
                  <a:lnTo>
                    <a:pt x="455" y="340"/>
                  </a:lnTo>
                  <a:lnTo>
                    <a:pt x="460" y="340"/>
                  </a:lnTo>
                  <a:lnTo>
                    <a:pt x="464" y="340"/>
                  </a:lnTo>
                  <a:lnTo>
                    <a:pt x="469" y="340"/>
                  </a:lnTo>
                  <a:lnTo>
                    <a:pt x="473" y="329"/>
                  </a:lnTo>
                  <a:lnTo>
                    <a:pt x="479" y="318"/>
                  </a:lnTo>
                  <a:lnTo>
                    <a:pt x="482" y="316"/>
                  </a:lnTo>
                  <a:lnTo>
                    <a:pt x="486" y="316"/>
                  </a:lnTo>
                  <a:lnTo>
                    <a:pt x="492" y="318"/>
                  </a:lnTo>
                  <a:lnTo>
                    <a:pt x="495" y="319"/>
                  </a:lnTo>
                  <a:lnTo>
                    <a:pt x="506" y="325"/>
                  </a:lnTo>
                  <a:lnTo>
                    <a:pt x="514" y="332"/>
                  </a:lnTo>
                  <a:lnTo>
                    <a:pt x="527" y="340"/>
                  </a:lnTo>
                  <a:lnTo>
                    <a:pt x="536" y="347"/>
                  </a:lnTo>
                  <a:lnTo>
                    <a:pt x="543" y="358"/>
                  </a:lnTo>
                  <a:lnTo>
                    <a:pt x="551" y="371"/>
                  </a:lnTo>
                  <a:lnTo>
                    <a:pt x="549" y="377"/>
                  </a:lnTo>
                  <a:lnTo>
                    <a:pt x="543" y="379"/>
                  </a:lnTo>
                  <a:lnTo>
                    <a:pt x="542" y="380"/>
                  </a:lnTo>
                  <a:lnTo>
                    <a:pt x="542" y="382"/>
                  </a:lnTo>
                  <a:lnTo>
                    <a:pt x="542" y="384"/>
                  </a:lnTo>
                  <a:lnTo>
                    <a:pt x="543" y="388"/>
                  </a:lnTo>
                  <a:lnTo>
                    <a:pt x="551" y="386"/>
                  </a:lnTo>
                  <a:lnTo>
                    <a:pt x="558" y="388"/>
                  </a:lnTo>
                  <a:lnTo>
                    <a:pt x="564" y="391"/>
                  </a:lnTo>
                  <a:lnTo>
                    <a:pt x="571" y="401"/>
                  </a:lnTo>
                  <a:lnTo>
                    <a:pt x="571" y="406"/>
                  </a:lnTo>
                  <a:lnTo>
                    <a:pt x="569" y="410"/>
                  </a:lnTo>
                  <a:lnTo>
                    <a:pt x="567" y="412"/>
                  </a:lnTo>
                  <a:lnTo>
                    <a:pt x="564" y="414"/>
                  </a:lnTo>
                  <a:lnTo>
                    <a:pt x="556" y="415"/>
                  </a:lnTo>
                  <a:lnTo>
                    <a:pt x="547" y="417"/>
                  </a:lnTo>
                  <a:lnTo>
                    <a:pt x="547" y="423"/>
                  </a:lnTo>
                  <a:lnTo>
                    <a:pt x="549" y="430"/>
                  </a:lnTo>
                  <a:lnTo>
                    <a:pt x="553" y="434"/>
                  </a:lnTo>
                  <a:lnTo>
                    <a:pt x="556" y="438"/>
                  </a:lnTo>
                  <a:lnTo>
                    <a:pt x="560" y="439"/>
                  </a:lnTo>
                  <a:lnTo>
                    <a:pt x="567" y="441"/>
                  </a:lnTo>
                  <a:lnTo>
                    <a:pt x="569" y="438"/>
                  </a:lnTo>
                  <a:lnTo>
                    <a:pt x="569" y="436"/>
                  </a:lnTo>
                  <a:lnTo>
                    <a:pt x="569" y="432"/>
                  </a:lnTo>
                  <a:lnTo>
                    <a:pt x="567" y="430"/>
                  </a:lnTo>
                  <a:lnTo>
                    <a:pt x="564" y="428"/>
                  </a:lnTo>
                  <a:lnTo>
                    <a:pt x="562" y="425"/>
                  </a:lnTo>
                  <a:lnTo>
                    <a:pt x="566" y="423"/>
                  </a:lnTo>
                  <a:lnTo>
                    <a:pt x="573" y="425"/>
                  </a:lnTo>
                  <a:lnTo>
                    <a:pt x="582" y="427"/>
                  </a:lnTo>
                  <a:lnTo>
                    <a:pt x="588" y="432"/>
                  </a:lnTo>
                  <a:lnTo>
                    <a:pt x="586" y="445"/>
                  </a:lnTo>
                  <a:lnTo>
                    <a:pt x="586" y="456"/>
                  </a:lnTo>
                  <a:lnTo>
                    <a:pt x="588" y="462"/>
                  </a:lnTo>
                  <a:lnTo>
                    <a:pt x="593" y="465"/>
                  </a:lnTo>
                  <a:lnTo>
                    <a:pt x="601" y="471"/>
                  </a:lnTo>
                  <a:lnTo>
                    <a:pt x="608" y="475"/>
                  </a:lnTo>
                  <a:lnTo>
                    <a:pt x="628" y="484"/>
                  </a:lnTo>
                  <a:lnTo>
                    <a:pt x="647" y="493"/>
                  </a:lnTo>
                  <a:lnTo>
                    <a:pt x="651" y="489"/>
                  </a:lnTo>
                  <a:lnTo>
                    <a:pt x="651" y="484"/>
                  </a:lnTo>
                  <a:lnTo>
                    <a:pt x="662" y="489"/>
                  </a:lnTo>
                  <a:lnTo>
                    <a:pt x="675" y="497"/>
                  </a:lnTo>
                  <a:lnTo>
                    <a:pt x="671" y="471"/>
                  </a:lnTo>
                  <a:lnTo>
                    <a:pt x="669" y="445"/>
                  </a:lnTo>
                  <a:lnTo>
                    <a:pt x="667" y="432"/>
                  </a:lnTo>
                  <a:lnTo>
                    <a:pt x="660" y="415"/>
                  </a:lnTo>
                  <a:lnTo>
                    <a:pt x="658" y="406"/>
                  </a:lnTo>
                  <a:lnTo>
                    <a:pt x="656" y="397"/>
                  </a:lnTo>
                  <a:lnTo>
                    <a:pt x="656" y="393"/>
                  </a:lnTo>
                  <a:lnTo>
                    <a:pt x="658" y="391"/>
                  </a:lnTo>
                  <a:lnTo>
                    <a:pt x="660" y="388"/>
                  </a:lnTo>
                  <a:lnTo>
                    <a:pt x="662" y="386"/>
                  </a:lnTo>
                  <a:lnTo>
                    <a:pt x="673" y="395"/>
                  </a:lnTo>
                  <a:lnTo>
                    <a:pt x="689" y="408"/>
                  </a:lnTo>
                  <a:lnTo>
                    <a:pt x="699" y="408"/>
                  </a:lnTo>
                  <a:lnTo>
                    <a:pt x="710" y="408"/>
                  </a:lnTo>
                  <a:lnTo>
                    <a:pt x="719" y="406"/>
                  </a:lnTo>
                  <a:lnTo>
                    <a:pt x="728" y="403"/>
                  </a:lnTo>
                  <a:lnTo>
                    <a:pt x="728" y="390"/>
                  </a:lnTo>
                  <a:lnTo>
                    <a:pt x="732" y="375"/>
                  </a:lnTo>
                  <a:lnTo>
                    <a:pt x="737" y="369"/>
                  </a:lnTo>
                  <a:lnTo>
                    <a:pt x="743" y="364"/>
                  </a:lnTo>
                  <a:lnTo>
                    <a:pt x="748" y="362"/>
                  </a:lnTo>
                  <a:lnTo>
                    <a:pt x="754" y="360"/>
                  </a:lnTo>
                  <a:lnTo>
                    <a:pt x="758" y="360"/>
                  </a:lnTo>
                  <a:lnTo>
                    <a:pt x="763" y="362"/>
                  </a:lnTo>
                  <a:lnTo>
                    <a:pt x="767" y="364"/>
                  </a:lnTo>
                  <a:lnTo>
                    <a:pt x="772" y="367"/>
                  </a:lnTo>
                  <a:lnTo>
                    <a:pt x="791" y="369"/>
                  </a:lnTo>
                  <a:lnTo>
                    <a:pt x="809" y="375"/>
                  </a:lnTo>
                  <a:lnTo>
                    <a:pt x="815" y="371"/>
                  </a:lnTo>
                  <a:lnTo>
                    <a:pt x="820" y="367"/>
                  </a:lnTo>
                  <a:lnTo>
                    <a:pt x="822" y="362"/>
                  </a:lnTo>
                  <a:lnTo>
                    <a:pt x="822" y="356"/>
                  </a:lnTo>
                  <a:lnTo>
                    <a:pt x="819" y="356"/>
                  </a:lnTo>
                  <a:lnTo>
                    <a:pt x="815" y="360"/>
                  </a:lnTo>
                  <a:lnTo>
                    <a:pt x="811" y="362"/>
                  </a:lnTo>
                  <a:lnTo>
                    <a:pt x="809" y="362"/>
                  </a:lnTo>
                  <a:lnTo>
                    <a:pt x="808" y="358"/>
                  </a:lnTo>
                  <a:lnTo>
                    <a:pt x="804" y="353"/>
                  </a:lnTo>
                  <a:lnTo>
                    <a:pt x="802" y="336"/>
                  </a:lnTo>
                  <a:lnTo>
                    <a:pt x="804" y="332"/>
                  </a:lnTo>
                  <a:lnTo>
                    <a:pt x="809" y="330"/>
                  </a:lnTo>
                  <a:lnTo>
                    <a:pt x="824" y="327"/>
                  </a:lnTo>
                  <a:lnTo>
                    <a:pt x="828" y="329"/>
                  </a:lnTo>
                  <a:lnTo>
                    <a:pt x="830" y="332"/>
                  </a:lnTo>
                  <a:lnTo>
                    <a:pt x="832" y="332"/>
                  </a:lnTo>
                  <a:lnTo>
                    <a:pt x="833" y="334"/>
                  </a:lnTo>
                  <a:lnTo>
                    <a:pt x="835" y="334"/>
                  </a:lnTo>
                  <a:lnTo>
                    <a:pt x="839" y="332"/>
                  </a:lnTo>
                  <a:lnTo>
                    <a:pt x="841" y="329"/>
                  </a:lnTo>
                  <a:lnTo>
                    <a:pt x="841" y="323"/>
                  </a:lnTo>
                  <a:lnTo>
                    <a:pt x="839" y="318"/>
                  </a:lnTo>
                  <a:lnTo>
                    <a:pt x="835" y="312"/>
                  </a:lnTo>
                  <a:lnTo>
                    <a:pt x="826" y="303"/>
                  </a:lnTo>
                  <a:lnTo>
                    <a:pt x="817" y="295"/>
                  </a:lnTo>
                  <a:lnTo>
                    <a:pt x="819" y="281"/>
                  </a:lnTo>
                  <a:lnTo>
                    <a:pt x="819" y="266"/>
                  </a:lnTo>
                  <a:lnTo>
                    <a:pt x="806" y="273"/>
                  </a:lnTo>
                  <a:lnTo>
                    <a:pt x="795" y="282"/>
                  </a:lnTo>
                  <a:lnTo>
                    <a:pt x="791" y="279"/>
                  </a:lnTo>
                  <a:lnTo>
                    <a:pt x="791" y="273"/>
                  </a:lnTo>
                  <a:lnTo>
                    <a:pt x="793" y="268"/>
                  </a:lnTo>
                  <a:lnTo>
                    <a:pt x="796" y="264"/>
                  </a:lnTo>
                  <a:lnTo>
                    <a:pt x="796" y="257"/>
                  </a:lnTo>
                  <a:lnTo>
                    <a:pt x="795" y="249"/>
                  </a:lnTo>
                  <a:lnTo>
                    <a:pt x="800" y="244"/>
                  </a:lnTo>
                  <a:lnTo>
                    <a:pt x="808" y="240"/>
                  </a:lnTo>
                  <a:lnTo>
                    <a:pt x="813" y="236"/>
                  </a:lnTo>
                  <a:lnTo>
                    <a:pt x="817" y="229"/>
                  </a:lnTo>
                  <a:lnTo>
                    <a:pt x="808" y="216"/>
                  </a:lnTo>
                  <a:lnTo>
                    <a:pt x="796" y="207"/>
                  </a:lnTo>
                  <a:lnTo>
                    <a:pt x="811" y="203"/>
                  </a:lnTo>
                  <a:lnTo>
                    <a:pt x="835" y="201"/>
                  </a:lnTo>
                  <a:lnTo>
                    <a:pt x="863" y="184"/>
                  </a:lnTo>
                  <a:lnTo>
                    <a:pt x="885" y="172"/>
                  </a:lnTo>
                  <a:lnTo>
                    <a:pt x="909" y="164"/>
                  </a:lnTo>
                  <a:lnTo>
                    <a:pt x="926" y="157"/>
                  </a:lnTo>
                  <a:lnTo>
                    <a:pt x="931" y="153"/>
                  </a:lnTo>
                  <a:lnTo>
                    <a:pt x="937" y="153"/>
                  </a:lnTo>
                  <a:lnTo>
                    <a:pt x="941" y="151"/>
                  </a:lnTo>
                  <a:lnTo>
                    <a:pt x="942" y="153"/>
                  </a:lnTo>
                  <a:lnTo>
                    <a:pt x="928" y="166"/>
                  </a:lnTo>
                  <a:lnTo>
                    <a:pt x="907" y="181"/>
                  </a:lnTo>
                  <a:lnTo>
                    <a:pt x="905" y="190"/>
                  </a:lnTo>
                  <a:lnTo>
                    <a:pt x="902" y="197"/>
                  </a:lnTo>
                  <a:lnTo>
                    <a:pt x="907" y="201"/>
                  </a:lnTo>
                  <a:lnTo>
                    <a:pt x="911" y="201"/>
                  </a:lnTo>
                  <a:lnTo>
                    <a:pt x="913" y="201"/>
                  </a:lnTo>
                  <a:lnTo>
                    <a:pt x="917" y="199"/>
                  </a:lnTo>
                  <a:lnTo>
                    <a:pt x="922" y="192"/>
                  </a:lnTo>
                  <a:lnTo>
                    <a:pt x="926" y="183"/>
                  </a:lnTo>
                  <a:lnTo>
                    <a:pt x="929" y="177"/>
                  </a:lnTo>
                  <a:lnTo>
                    <a:pt x="939" y="170"/>
                  </a:lnTo>
                  <a:lnTo>
                    <a:pt x="942" y="166"/>
                  </a:lnTo>
                  <a:lnTo>
                    <a:pt x="946" y="164"/>
                  </a:lnTo>
                  <a:lnTo>
                    <a:pt x="950" y="164"/>
                  </a:lnTo>
                  <a:lnTo>
                    <a:pt x="952" y="164"/>
                  </a:lnTo>
                  <a:lnTo>
                    <a:pt x="953" y="177"/>
                  </a:lnTo>
                  <a:lnTo>
                    <a:pt x="952" y="190"/>
                  </a:lnTo>
                  <a:lnTo>
                    <a:pt x="948" y="188"/>
                  </a:lnTo>
                  <a:lnTo>
                    <a:pt x="946" y="183"/>
                  </a:lnTo>
                  <a:lnTo>
                    <a:pt x="944" y="181"/>
                  </a:lnTo>
                  <a:lnTo>
                    <a:pt x="942" y="181"/>
                  </a:lnTo>
                  <a:lnTo>
                    <a:pt x="941" y="183"/>
                  </a:lnTo>
                  <a:lnTo>
                    <a:pt x="937" y="186"/>
                  </a:lnTo>
                  <a:lnTo>
                    <a:pt x="944" y="192"/>
                  </a:lnTo>
                  <a:lnTo>
                    <a:pt x="944" y="196"/>
                  </a:lnTo>
                  <a:lnTo>
                    <a:pt x="942" y="201"/>
                  </a:lnTo>
                  <a:lnTo>
                    <a:pt x="933" y="210"/>
                  </a:lnTo>
                  <a:lnTo>
                    <a:pt x="939" y="216"/>
                  </a:lnTo>
                  <a:lnTo>
                    <a:pt x="944" y="227"/>
                  </a:lnTo>
                  <a:lnTo>
                    <a:pt x="948" y="227"/>
                  </a:lnTo>
                  <a:lnTo>
                    <a:pt x="952" y="225"/>
                  </a:lnTo>
                  <a:lnTo>
                    <a:pt x="955" y="221"/>
                  </a:lnTo>
                  <a:lnTo>
                    <a:pt x="957" y="216"/>
                  </a:lnTo>
                  <a:lnTo>
                    <a:pt x="959" y="212"/>
                  </a:lnTo>
                  <a:lnTo>
                    <a:pt x="963" y="209"/>
                  </a:lnTo>
                  <a:lnTo>
                    <a:pt x="965" y="201"/>
                  </a:lnTo>
                  <a:lnTo>
                    <a:pt x="965" y="186"/>
                  </a:lnTo>
                  <a:lnTo>
                    <a:pt x="961" y="166"/>
                  </a:lnTo>
                  <a:lnTo>
                    <a:pt x="959" y="149"/>
                  </a:lnTo>
                  <a:lnTo>
                    <a:pt x="959" y="142"/>
                  </a:lnTo>
                  <a:lnTo>
                    <a:pt x="961" y="136"/>
                  </a:lnTo>
                  <a:lnTo>
                    <a:pt x="966" y="133"/>
                  </a:lnTo>
                  <a:lnTo>
                    <a:pt x="974" y="129"/>
                  </a:lnTo>
                  <a:lnTo>
                    <a:pt x="992" y="122"/>
                  </a:lnTo>
                  <a:lnTo>
                    <a:pt x="1011" y="116"/>
                  </a:lnTo>
                  <a:lnTo>
                    <a:pt x="1020" y="114"/>
                  </a:lnTo>
                  <a:lnTo>
                    <a:pt x="1029" y="114"/>
                  </a:lnTo>
                  <a:lnTo>
                    <a:pt x="1037" y="116"/>
                  </a:lnTo>
                  <a:lnTo>
                    <a:pt x="1042" y="124"/>
                  </a:lnTo>
                  <a:lnTo>
                    <a:pt x="1040" y="127"/>
                  </a:lnTo>
                  <a:lnTo>
                    <a:pt x="1040" y="131"/>
                  </a:lnTo>
                  <a:lnTo>
                    <a:pt x="1038" y="133"/>
                  </a:lnTo>
                  <a:lnTo>
                    <a:pt x="1037" y="135"/>
                  </a:lnTo>
                  <a:lnTo>
                    <a:pt x="1031" y="135"/>
                  </a:lnTo>
                  <a:lnTo>
                    <a:pt x="1026" y="138"/>
                  </a:lnTo>
                  <a:lnTo>
                    <a:pt x="1022" y="142"/>
                  </a:lnTo>
                  <a:lnTo>
                    <a:pt x="1020" y="148"/>
                  </a:lnTo>
                  <a:lnTo>
                    <a:pt x="1020" y="149"/>
                  </a:lnTo>
                  <a:lnTo>
                    <a:pt x="1022" y="151"/>
                  </a:lnTo>
                  <a:lnTo>
                    <a:pt x="1024" y="151"/>
                  </a:lnTo>
                  <a:lnTo>
                    <a:pt x="1026" y="151"/>
                  </a:lnTo>
                  <a:lnTo>
                    <a:pt x="1040" y="148"/>
                  </a:lnTo>
                  <a:lnTo>
                    <a:pt x="1059" y="144"/>
                  </a:lnTo>
                  <a:lnTo>
                    <a:pt x="1064" y="140"/>
                  </a:lnTo>
                  <a:lnTo>
                    <a:pt x="1066" y="138"/>
                  </a:lnTo>
                  <a:lnTo>
                    <a:pt x="1070" y="140"/>
                  </a:lnTo>
                  <a:lnTo>
                    <a:pt x="1074" y="146"/>
                  </a:lnTo>
                  <a:lnTo>
                    <a:pt x="1079" y="136"/>
                  </a:lnTo>
                  <a:lnTo>
                    <a:pt x="1085" y="133"/>
                  </a:lnTo>
                  <a:lnTo>
                    <a:pt x="1088" y="131"/>
                  </a:lnTo>
                  <a:lnTo>
                    <a:pt x="1092" y="131"/>
                  </a:lnTo>
                  <a:lnTo>
                    <a:pt x="1096" y="131"/>
                  </a:lnTo>
                  <a:lnTo>
                    <a:pt x="1101" y="135"/>
                  </a:lnTo>
                  <a:lnTo>
                    <a:pt x="1105" y="133"/>
                  </a:lnTo>
                  <a:lnTo>
                    <a:pt x="1110" y="131"/>
                  </a:lnTo>
                  <a:lnTo>
                    <a:pt x="1118" y="135"/>
                  </a:lnTo>
                  <a:lnTo>
                    <a:pt x="1131" y="138"/>
                  </a:lnTo>
                  <a:lnTo>
                    <a:pt x="1129" y="142"/>
                  </a:lnTo>
                  <a:lnTo>
                    <a:pt x="1127" y="146"/>
                  </a:lnTo>
                  <a:lnTo>
                    <a:pt x="1136" y="146"/>
                  </a:lnTo>
                  <a:lnTo>
                    <a:pt x="1142" y="144"/>
                  </a:lnTo>
                  <a:lnTo>
                    <a:pt x="1147" y="138"/>
                  </a:lnTo>
                  <a:lnTo>
                    <a:pt x="1151" y="133"/>
                  </a:lnTo>
                  <a:lnTo>
                    <a:pt x="1155" y="125"/>
                  </a:lnTo>
                  <a:lnTo>
                    <a:pt x="1160" y="120"/>
                  </a:lnTo>
                  <a:lnTo>
                    <a:pt x="1166" y="114"/>
                  </a:lnTo>
                  <a:lnTo>
                    <a:pt x="1171" y="111"/>
                  </a:lnTo>
                  <a:lnTo>
                    <a:pt x="1179" y="87"/>
                  </a:lnTo>
                  <a:lnTo>
                    <a:pt x="1186" y="70"/>
                  </a:lnTo>
                  <a:lnTo>
                    <a:pt x="1194" y="59"/>
                  </a:lnTo>
                  <a:lnTo>
                    <a:pt x="1201" y="51"/>
                  </a:lnTo>
                  <a:lnTo>
                    <a:pt x="1214" y="42"/>
                  </a:lnTo>
                  <a:lnTo>
                    <a:pt x="1221" y="37"/>
                  </a:lnTo>
                  <a:lnTo>
                    <a:pt x="1221" y="29"/>
                  </a:lnTo>
                  <a:lnTo>
                    <a:pt x="1227" y="24"/>
                  </a:lnTo>
                  <a:lnTo>
                    <a:pt x="1232" y="18"/>
                  </a:lnTo>
                  <a:lnTo>
                    <a:pt x="1242" y="16"/>
                  </a:lnTo>
                  <a:lnTo>
                    <a:pt x="1260" y="13"/>
                  </a:lnTo>
                  <a:lnTo>
                    <a:pt x="1277" y="7"/>
                  </a:lnTo>
                  <a:lnTo>
                    <a:pt x="1290" y="7"/>
                  </a:lnTo>
                  <a:lnTo>
                    <a:pt x="1306" y="7"/>
                  </a:lnTo>
                  <a:lnTo>
                    <a:pt x="1314" y="11"/>
                  </a:lnTo>
                  <a:lnTo>
                    <a:pt x="1321" y="14"/>
                  </a:lnTo>
                  <a:lnTo>
                    <a:pt x="1327" y="22"/>
                  </a:lnTo>
                  <a:lnTo>
                    <a:pt x="1330" y="33"/>
                  </a:lnTo>
                  <a:lnTo>
                    <a:pt x="1332" y="37"/>
                  </a:lnTo>
                  <a:lnTo>
                    <a:pt x="1336" y="40"/>
                  </a:lnTo>
                  <a:lnTo>
                    <a:pt x="1340" y="44"/>
                  </a:lnTo>
                  <a:lnTo>
                    <a:pt x="1343" y="46"/>
                  </a:lnTo>
                  <a:lnTo>
                    <a:pt x="1351" y="48"/>
                  </a:lnTo>
                  <a:lnTo>
                    <a:pt x="1358" y="48"/>
                  </a:lnTo>
                  <a:lnTo>
                    <a:pt x="1369" y="40"/>
                  </a:lnTo>
                  <a:lnTo>
                    <a:pt x="1375" y="39"/>
                  </a:lnTo>
                  <a:lnTo>
                    <a:pt x="1384" y="39"/>
                  </a:lnTo>
                  <a:lnTo>
                    <a:pt x="1395" y="40"/>
                  </a:lnTo>
                  <a:lnTo>
                    <a:pt x="1393" y="33"/>
                  </a:lnTo>
                  <a:lnTo>
                    <a:pt x="1395" y="24"/>
                  </a:lnTo>
                  <a:lnTo>
                    <a:pt x="1404" y="27"/>
                  </a:lnTo>
                  <a:lnTo>
                    <a:pt x="1413" y="31"/>
                  </a:lnTo>
                  <a:lnTo>
                    <a:pt x="1406" y="11"/>
                  </a:lnTo>
                  <a:lnTo>
                    <a:pt x="1404" y="0"/>
                  </a:lnTo>
                  <a:close/>
                </a:path>
              </a:pathLst>
            </a:custGeom>
            <a:solidFill>
              <a:srgbClr val="CBD8E7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8" name="Freeform 4"/>
            <p:cNvSpPr>
              <a:spLocks noEditPoints="1"/>
            </p:cNvSpPr>
            <p:nvPr/>
          </p:nvSpPr>
          <p:spPr bwMode="auto">
            <a:xfrm>
              <a:off x="11093120" y="4190596"/>
              <a:ext cx="250301" cy="1627892"/>
            </a:xfrm>
            <a:custGeom>
              <a:avLst/>
              <a:gdLst>
                <a:gd name="T0" fmla="*/ 76244 w 144"/>
                <a:gd name="T1" fmla="*/ 31750 h 865"/>
                <a:gd name="T2" fmla="*/ 58649 w 144"/>
                <a:gd name="T3" fmla="*/ 49212 h 865"/>
                <a:gd name="T4" fmla="*/ 29325 w 144"/>
                <a:gd name="T5" fmla="*/ 76200 h 865"/>
                <a:gd name="T6" fmla="*/ 89440 w 144"/>
                <a:gd name="T7" fmla="*/ 106362 h 865"/>
                <a:gd name="T8" fmla="*/ 80643 w 144"/>
                <a:gd name="T9" fmla="*/ 144462 h 865"/>
                <a:gd name="T10" fmla="*/ 115833 w 144"/>
                <a:gd name="T11" fmla="*/ 158750 h 865"/>
                <a:gd name="T12" fmla="*/ 140759 w 144"/>
                <a:gd name="T13" fmla="*/ 93662 h 865"/>
                <a:gd name="T14" fmla="*/ 124630 w 144"/>
                <a:gd name="T15" fmla="*/ 14287 h 865"/>
                <a:gd name="T16" fmla="*/ 127563 w 144"/>
                <a:gd name="T17" fmla="*/ 322262 h 865"/>
                <a:gd name="T18" fmla="*/ 118765 w 144"/>
                <a:gd name="T19" fmla="*/ 346075 h 865"/>
                <a:gd name="T20" fmla="*/ 140759 w 144"/>
                <a:gd name="T21" fmla="*/ 355600 h 865"/>
                <a:gd name="T22" fmla="*/ 167151 w 144"/>
                <a:gd name="T23" fmla="*/ 334962 h 865"/>
                <a:gd name="T24" fmla="*/ 131961 w 144"/>
                <a:gd name="T25" fmla="*/ 319087 h 865"/>
                <a:gd name="T26" fmla="*/ 151022 w 144"/>
                <a:gd name="T27" fmla="*/ 238125 h 865"/>
                <a:gd name="T28" fmla="*/ 121698 w 144"/>
                <a:gd name="T29" fmla="*/ 211137 h 865"/>
                <a:gd name="T30" fmla="*/ 112900 w 144"/>
                <a:gd name="T31" fmla="*/ 249237 h 865"/>
                <a:gd name="T32" fmla="*/ 131961 w 144"/>
                <a:gd name="T33" fmla="*/ 276225 h 865"/>
                <a:gd name="T34" fmla="*/ 137826 w 144"/>
                <a:gd name="T35" fmla="*/ 300037 h 865"/>
                <a:gd name="T36" fmla="*/ 156887 w 144"/>
                <a:gd name="T37" fmla="*/ 290512 h 865"/>
                <a:gd name="T38" fmla="*/ 151022 w 144"/>
                <a:gd name="T39" fmla="*/ 273050 h 865"/>
                <a:gd name="T40" fmla="*/ 167151 w 144"/>
                <a:gd name="T41" fmla="*/ 508000 h 865"/>
                <a:gd name="T42" fmla="*/ 200874 w 144"/>
                <a:gd name="T43" fmla="*/ 525462 h 865"/>
                <a:gd name="T44" fmla="*/ 167151 w 144"/>
                <a:gd name="T45" fmla="*/ 452437 h 865"/>
                <a:gd name="T46" fmla="*/ 153955 w 144"/>
                <a:gd name="T47" fmla="*/ 466725 h 865"/>
                <a:gd name="T48" fmla="*/ 162752 w 144"/>
                <a:gd name="T49" fmla="*/ 484187 h 865"/>
                <a:gd name="T50" fmla="*/ 181813 w 144"/>
                <a:gd name="T51" fmla="*/ 477837 h 865"/>
                <a:gd name="T52" fmla="*/ 181813 w 144"/>
                <a:gd name="T53" fmla="*/ 457200 h 865"/>
                <a:gd name="T54" fmla="*/ 178881 w 144"/>
                <a:gd name="T55" fmla="*/ 569912 h 865"/>
                <a:gd name="T56" fmla="*/ 181813 w 144"/>
                <a:gd name="T57" fmla="*/ 601662 h 865"/>
                <a:gd name="T58" fmla="*/ 175948 w 144"/>
                <a:gd name="T59" fmla="*/ 654050 h 865"/>
                <a:gd name="T60" fmla="*/ 205273 w 144"/>
                <a:gd name="T61" fmla="*/ 677862 h 865"/>
                <a:gd name="T62" fmla="*/ 211138 w 144"/>
                <a:gd name="T63" fmla="*/ 622300 h 865"/>
                <a:gd name="T64" fmla="*/ 200874 w 144"/>
                <a:gd name="T65" fmla="*/ 588962 h 865"/>
                <a:gd name="T66" fmla="*/ 134894 w 144"/>
                <a:gd name="T67" fmla="*/ 727075 h 865"/>
                <a:gd name="T68" fmla="*/ 124630 w 144"/>
                <a:gd name="T69" fmla="*/ 750887 h 865"/>
                <a:gd name="T70" fmla="*/ 146624 w 144"/>
                <a:gd name="T71" fmla="*/ 754062 h 865"/>
                <a:gd name="T72" fmla="*/ 170083 w 144"/>
                <a:gd name="T73" fmla="*/ 763587 h 865"/>
                <a:gd name="T74" fmla="*/ 162752 w 144"/>
                <a:gd name="T75" fmla="*/ 736600 h 865"/>
                <a:gd name="T76" fmla="*/ 140759 w 144"/>
                <a:gd name="T77" fmla="*/ 727075 h 865"/>
                <a:gd name="T78" fmla="*/ 111434 w 144"/>
                <a:gd name="T79" fmla="*/ 1300162 h 865"/>
                <a:gd name="T80" fmla="*/ 121698 w 144"/>
                <a:gd name="T81" fmla="*/ 1262062 h 865"/>
                <a:gd name="T82" fmla="*/ 13196 w 144"/>
                <a:gd name="T83" fmla="*/ 1231900 h 865"/>
                <a:gd name="T84" fmla="*/ 10264 w 144"/>
                <a:gd name="T85" fmla="*/ 1282700 h 865"/>
                <a:gd name="T86" fmla="*/ 5865 w 144"/>
                <a:gd name="T87" fmla="*/ 1366837 h 865"/>
                <a:gd name="T88" fmla="*/ 45453 w 144"/>
                <a:gd name="T89" fmla="*/ 1304925 h 865"/>
                <a:gd name="T90" fmla="*/ 61582 w 144"/>
                <a:gd name="T91" fmla="*/ 1244600 h 865"/>
                <a:gd name="T92" fmla="*/ 42521 w 144"/>
                <a:gd name="T93" fmla="*/ 1044575 h 865"/>
                <a:gd name="T94" fmla="*/ 48386 w 144"/>
                <a:gd name="T95" fmla="*/ 1089025 h 865"/>
                <a:gd name="T96" fmla="*/ 51318 w 144"/>
                <a:gd name="T97" fmla="*/ 1165225 h 865"/>
                <a:gd name="T98" fmla="*/ 89440 w 144"/>
                <a:gd name="T99" fmla="*/ 1196975 h 865"/>
                <a:gd name="T100" fmla="*/ 93839 w 144"/>
                <a:gd name="T101" fmla="*/ 1128712 h 865"/>
                <a:gd name="T102" fmla="*/ 115833 w 144"/>
                <a:gd name="T103" fmla="*/ 1038225 h 865"/>
                <a:gd name="T104" fmla="*/ 131961 w 144"/>
                <a:gd name="T105" fmla="*/ 979487 h 865"/>
                <a:gd name="T106" fmla="*/ 99704 w 144"/>
                <a:gd name="T107" fmla="*/ 974725 h 865"/>
                <a:gd name="T108" fmla="*/ 148090 w 144"/>
                <a:gd name="T109" fmla="*/ 809625 h 865"/>
                <a:gd name="T110" fmla="*/ 127563 w 144"/>
                <a:gd name="T111" fmla="*/ 917575 h 865"/>
                <a:gd name="T112" fmla="*/ 156887 w 144"/>
                <a:gd name="T113" fmla="*/ 927100 h 865"/>
                <a:gd name="T114" fmla="*/ 175948 w 144"/>
                <a:gd name="T115" fmla="*/ 830262 h 86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44"/>
                <a:gd name="T175" fmla="*/ 0 h 865"/>
                <a:gd name="T176" fmla="*/ 144 w 144"/>
                <a:gd name="T177" fmla="*/ 865 h 86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44" h="865">
                  <a:moveTo>
                    <a:pt x="61" y="0"/>
                  </a:moveTo>
                  <a:lnTo>
                    <a:pt x="63" y="13"/>
                  </a:lnTo>
                  <a:lnTo>
                    <a:pt x="63" y="17"/>
                  </a:lnTo>
                  <a:lnTo>
                    <a:pt x="61" y="17"/>
                  </a:lnTo>
                  <a:lnTo>
                    <a:pt x="57" y="17"/>
                  </a:lnTo>
                  <a:lnTo>
                    <a:pt x="53" y="19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6" y="26"/>
                  </a:lnTo>
                  <a:lnTo>
                    <a:pt x="46" y="30"/>
                  </a:lnTo>
                  <a:lnTo>
                    <a:pt x="46" y="33"/>
                  </a:lnTo>
                  <a:lnTo>
                    <a:pt x="46" y="35"/>
                  </a:lnTo>
                  <a:lnTo>
                    <a:pt x="42" y="33"/>
                  </a:lnTo>
                  <a:lnTo>
                    <a:pt x="40" y="31"/>
                  </a:lnTo>
                  <a:lnTo>
                    <a:pt x="37" y="31"/>
                  </a:lnTo>
                  <a:lnTo>
                    <a:pt x="35" y="31"/>
                  </a:lnTo>
                  <a:lnTo>
                    <a:pt x="31" y="31"/>
                  </a:lnTo>
                  <a:lnTo>
                    <a:pt x="28" y="33"/>
                  </a:lnTo>
                  <a:lnTo>
                    <a:pt x="26" y="35"/>
                  </a:lnTo>
                  <a:lnTo>
                    <a:pt x="20" y="41"/>
                  </a:lnTo>
                  <a:lnTo>
                    <a:pt x="20" y="48"/>
                  </a:lnTo>
                  <a:lnTo>
                    <a:pt x="26" y="54"/>
                  </a:lnTo>
                  <a:lnTo>
                    <a:pt x="31" y="54"/>
                  </a:lnTo>
                  <a:lnTo>
                    <a:pt x="33" y="52"/>
                  </a:lnTo>
                  <a:lnTo>
                    <a:pt x="42" y="48"/>
                  </a:lnTo>
                  <a:lnTo>
                    <a:pt x="50" y="44"/>
                  </a:lnTo>
                  <a:lnTo>
                    <a:pt x="55" y="56"/>
                  </a:lnTo>
                  <a:lnTo>
                    <a:pt x="61" y="67"/>
                  </a:lnTo>
                  <a:lnTo>
                    <a:pt x="61" y="68"/>
                  </a:lnTo>
                  <a:lnTo>
                    <a:pt x="57" y="74"/>
                  </a:lnTo>
                  <a:lnTo>
                    <a:pt x="55" y="81"/>
                  </a:lnTo>
                  <a:lnTo>
                    <a:pt x="55" y="83"/>
                  </a:lnTo>
                  <a:lnTo>
                    <a:pt x="53" y="87"/>
                  </a:lnTo>
                  <a:lnTo>
                    <a:pt x="55" y="91"/>
                  </a:lnTo>
                  <a:lnTo>
                    <a:pt x="57" y="94"/>
                  </a:lnTo>
                  <a:lnTo>
                    <a:pt x="59" y="98"/>
                  </a:lnTo>
                  <a:lnTo>
                    <a:pt x="63" y="102"/>
                  </a:lnTo>
                  <a:lnTo>
                    <a:pt x="68" y="104"/>
                  </a:lnTo>
                  <a:lnTo>
                    <a:pt x="74" y="104"/>
                  </a:lnTo>
                  <a:lnTo>
                    <a:pt x="77" y="102"/>
                  </a:lnTo>
                  <a:lnTo>
                    <a:pt x="79" y="100"/>
                  </a:lnTo>
                  <a:lnTo>
                    <a:pt x="81" y="96"/>
                  </a:lnTo>
                  <a:lnTo>
                    <a:pt x="83" y="92"/>
                  </a:lnTo>
                  <a:lnTo>
                    <a:pt x="85" y="87"/>
                  </a:lnTo>
                  <a:lnTo>
                    <a:pt x="87" y="78"/>
                  </a:lnTo>
                  <a:lnTo>
                    <a:pt x="90" y="67"/>
                  </a:lnTo>
                  <a:lnTo>
                    <a:pt x="92" y="65"/>
                  </a:lnTo>
                  <a:lnTo>
                    <a:pt x="96" y="59"/>
                  </a:lnTo>
                  <a:lnTo>
                    <a:pt x="90" y="50"/>
                  </a:lnTo>
                  <a:lnTo>
                    <a:pt x="85" y="39"/>
                  </a:lnTo>
                  <a:lnTo>
                    <a:pt x="79" y="28"/>
                  </a:lnTo>
                  <a:lnTo>
                    <a:pt x="90" y="31"/>
                  </a:lnTo>
                  <a:lnTo>
                    <a:pt x="88" y="17"/>
                  </a:lnTo>
                  <a:lnTo>
                    <a:pt x="87" y="13"/>
                  </a:lnTo>
                  <a:lnTo>
                    <a:pt x="85" y="9"/>
                  </a:lnTo>
                  <a:lnTo>
                    <a:pt x="83" y="7"/>
                  </a:lnTo>
                  <a:lnTo>
                    <a:pt x="81" y="6"/>
                  </a:lnTo>
                  <a:lnTo>
                    <a:pt x="77" y="4"/>
                  </a:lnTo>
                  <a:lnTo>
                    <a:pt x="74" y="4"/>
                  </a:lnTo>
                  <a:lnTo>
                    <a:pt x="61" y="0"/>
                  </a:lnTo>
                  <a:close/>
                  <a:moveTo>
                    <a:pt x="90" y="201"/>
                  </a:moveTo>
                  <a:lnTo>
                    <a:pt x="87" y="203"/>
                  </a:lnTo>
                  <a:lnTo>
                    <a:pt x="85" y="205"/>
                  </a:lnTo>
                  <a:lnTo>
                    <a:pt x="83" y="207"/>
                  </a:lnTo>
                  <a:lnTo>
                    <a:pt x="81" y="209"/>
                  </a:lnTo>
                  <a:lnTo>
                    <a:pt x="81" y="211"/>
                  </a:lnTo>
                  <a:lnTo>
                    <a:pt x="81" y="213"/>
                  </a:lnTo>
                  <a:lnTo>
                    <a:pt x="81" y="214"/>
                  </a:lnTo>
                  <a:lnTo>
                    <a:pt x="81" y="218"/>
                  </a:lnTo>
                  <a:lnTo>
                    <a:pt x="83" y="220"/>
                  </a:lnTo>
                  <a:lnTo>
                    <a:pt x="85" y="220"/>
                  </a:lnTo>
                  <a:lnTo>
                    <a:pt x="87" y="222"/>
                  </a:lnTo>
                  <a:lnTo>
                    <a:pt x="90" y="222"/>
                  </a:lnTo>
                  <a:lnTo>
                    <a:pt x="94" y="222"/>
                  </a:lnTo>
                  <a:lnTo>
                    <a:pt x="96" y="222"/>
                  </a:lnTo>
                  <a:lnTo>
                    <a:pt x="96" y="224"/>
                  </a:lnTo>
                  <a:lnTo>
                    <a:pt x="100" y="227"/>
                  </a:lnTo>
                  <a:lnTo>
                    <a:pt x="109" y="233"/>
                  </a:lnTo>
                  <a:lnTo>
                    <a:pt x="114" y="224"/>
                  </a:lnTo>
                  <a:lnTo>
                    <a:pt x="114" y="220"/>
                  </a:lnTo>
                  <a:lnTo>
                    <a:pt x="116" y="216"/>
                  </a:lnTo>
                  <a:lnTo>
                    <a:pt x="116" y="213"/>
                  </a:lnTo>
                  <a:lnTo>
                    <a:pt x="114" y="211"/>
                  </a:lnTo>
                  <a:lnTo>
                    <a:pt x="114" y="207"/>
                  </a:lnTo>
                  <a:lnTo>
                    <a:pt x="112" y="205"/>
                  </a:lnTo>
                  <a:lnTo>
                    <a:pt x="101" y="192"/>
                  </a:lnTo>
                  <a:lnTo>
                    <a:pt x="98" y="205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0" y="201"/>
                  </a:lnTo>
                  <a:close/>
                  <a:moveTo>
                    <a:pt x="98" y="170"/>
                  </a:moveTo>
                  <a:lnTo>
                    <a:pt x="96" y="170"/>
                  </a:lnTo>
                  <a:lnTo>
                    <a:pt x="101" y="163"/>
                  </a:lnTo>
                  <a:lnTo>
                    <a:pt x="103" y="157"/>
                  </a:lnTo>
                  <a:lnTo>
                    <a:pt x="103" y="155"/>
                  </a:lnTo>
                  <a:lnTo>
                    <a:pt x="103" y="152"/>
                  </a:lnTo>
                  <a:lnTo>
                    <a:pt x="103" y="150"/>
                  </a:lnTo>
                  <a:lnTo>
                    <a:pt x="103" y="146"/>
                  </a:lnTo>
                  <a:lnTo>
                    <a:pt x="101" y="144"/>
                  </a:lnTo>
                  <a:lnTo>
                    <a:pt x="100" y="142"/>
                  </a:lnTo>
                  <a:lnTo>
                    <a:pt x="98" y="141"/>
                  </a:lnTo>
                  <a:lnTo>
                    <a:pt x="94" y="137"/>
                  </a:lnTo>
                  <a:lnTo>
                    <a:pt x="88" y="135"/>
                  </a:lnTo>
                  <a:lnTo>
                    <a:pt x="83" y="133"/>
                  </a:lnTo>
                  <a:lnTo>
                    <a:pt x="79" y="139"/>
                  </a:lnTo>
                  <a:lnTo>
                    <a:pt x="77" y="141"/>
                  </a:lnTo>
                  <a:lnTo>
                    <a:pt x="77" y="144"/>
                  </a:lnTo>
                  <a:lnTo>
                    <a:pt x="77" y="148"/>
                  </a:lnTo>
                  <a:lnTo>
                    <a:pt x="77" y="152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9" y="161"/>
                  </a:lnTo>
                  <a:lnTo>
                    <a:pt x="81" y="165"/>
                  </a:lnTo>
                  <a:lnTo>
                    <a:pt x="83" y="166"/>
                  </a:lnTo>
                  <a:lnTo>
                    <a:pt x="85" y="168"/>
                  </a:lnTo>
                  <a:lnTo>
                    <a:pt x="87" y="170"/>
                  </a:lnTo>
                  <a:lnTo>
                    <a:pt x="92" y="172"/>
                  </a:lnTo>
                  <a:lnTo>
                    <a:pt x="90" y="174"/>
                  </a:lnTo>
                  <a:lnTo>
                    <a:pt x="88" y="177"/>
                  </a:lnTo>
                  <a:lnTo>
                    <a:pt x="88" y="181"/>
                  </a:lnTo>
                  <a:lnTo>
                    <a:pt x="88" y="183"/>
                  </a:lnTo>
                  <a:lnTo>
                    <a:pt x="90" y="185"/>
                  </a:lnTo>
                  <a:lnTo>
                    <a:pt x="90" y="187"/>
                  </a:lnTo>
                  <a:lnTo>
                    <a:pt x="92" y="187"/>
                  </a:lnTo>
                  <a:lnTo>
                    <a:pt x="94" y="189"/>
                  </a:lnTo>
                  <a:lnTo>
                    <a:pt x="96" y="189"/>
                  </a:lnTo>
                  <a:lnTo>
                    <a:pt x="98" y="189"/>
                  </a:lnTo>
                  <a:lnTo>
                    <a:pt x="100" y="189"/>
                  </a:lnTo>
                  <a:lnTo>
                    <a:pt x="101" y="189"/>
                  </a:lnTo>
                  <a:lnTo>
                    <a:pt x="103" y="187"/>
                  </a:lnTo>
                  <a:lnTo>
                    <a:pt x="105" y="187"/>
                  </a:lnTo>
                  <a:lnTo>
                    <a:pt x="107" y="183"/>
                  </a:lnTo>
                  <a:lnTo>
                    <a:pt x="107" y="181"/>
                  </a:lnTo>
                  <a:lnTo>
                    <a:pt x="107" y="179"/>
                  </a:lnTo>
                  <a:lnTo>
                    <a:pt x="107" y="177"/>
                  </a:lnTo>
                  <a:lnTo>
                    <a:pt x="107" y="176"/>
                  </a:lnTo>
                  <a:lnTo>
                    <a:pt x="105" y="176"/>
                  </a:lnTo>
                  <a:lnTo>
                    <a:pt x="105" y="174"/>
                  </a:lnTo>
                  <a:lnTo>
                    <a:pt x="103" y="172"/>
                  </a:lnTo>
                  <a:lnTo>
                    <a:pt x="101" y="172"/>
                  </a:lnTo>
                  <a:lnTo>
                    <a:pt x="100" y="170"/>
                  </a:lnTo>
                  <a:lnTo>
                    <a:pt x="98" y="170"/>
                  </a:lnTo>
                  <a:close/>
                  <a:moveTo>
                    <a:pt x="124" y="311"/>
                  </a:moveTo>
                  <a:lnTo>
                    <a:pt x="118" y="312"/>
                  </a:lnTo>
                  <a:lnTo>
                    <a:pt x="116" y="316"/>
                  </a:lnTo>
                  <a:lnTo>
                    <a:pt x="114" y="320"/>
                  </a:lnTo>
                  <a:lnTo>
                    <a:pt x="114" y="323"/>
                  </a:lnTo>
                  <a:lnTo>
                    <a:pt x="114" y="327"/>
                  </a:lnTo>
                  <a:lnTo>
                    <a:pt x="118" y="331"/>
                  </a:lnTo>
                  <a:lnTo>
                    <a:pt x="120" y="335"/>
                  </a:lnTo>
                  <a:lnTo>
                    <a:pt x="125" y="336"/>
                  </a:lnTo>
                  <a:lnTo>
                    <a:pt x="131" y="335"/>
                  </a:lnTo>
                  <a:lnTo>
                    <a:pt x="137" y="331"/>
                  </a:lnTo>
                  <a:lnTo>
                    <a:pt x="138" y="325"/>
                  </a:lnTo>
                  <a:lnTo>
                    <a:pt x="137" y="322"/>
                  </a:lnTo>
                  <a:lnTo>
                    <a:pt x="135" y="318"/>
                  </a:lnTo>
                  <a:lnTo>
                    <a:pt x="133" y="314"/>
                  </a:lnTo>
                  <a:lnTo>
                    <a:pt x="129" y="312"/>
                  </a:lnTo>
                  <a:lnTo>
                    <a:pt x="124" y="311"/>
                  </a:lnTo>
                  <a:close/>
                  <a:moveTo>
                    <a:pt x="114" y="285"/>
                  </a:moveTo>
                  <a:lnTo>
                    <a:pt x="112" y="285"/>
                  </a:lnTo>
                  <a:lnTo>
                    <a:pt x="111" y="285"/>
                  </a:lnTo>
                  <a:lnTo>
                    <a:pt x="109" y="286"/>
                  </a:lnTo>
                  <a:lnTo>
                    <a:pt x="107" y="288"/>
                  </a:lnTo>
                  <a:lnTo>
                    <a:pt x="105" y="288"/>
                  </a:lnTo>
                  <a:lnTo>
                    <a:pt x="105" y="290"/>
                  </a:lnTo>
                  <a:lnTo>
                    <a:pt x="105" y="294"/>
                  </a:lnTo>
                  <a:lnTo>
                    <a:pt x="103" y="296"/>
                  </a:lnTo>
                  <a:lnTo>
                    <a:pt x="105" y="298"/>
                  </a:lnTo>
                  <a:lnTo>
                    <a:pt x="105" y="299"/>
                  </a:lnTo>
                  <a:lnTo>
                    <a:pt x="105" y="301"/>
                  </a:lnTo>
                  <a:lnTo>
                    <a:pt x="107" y="303"/>
                  </a:lnTo>
                  <a:lnTo>
                    <a:pt x="109" y="305"/>
                  </a:lnTo>
                  <a:lnTo>
                    <a:pt x="111" y="305"/>
                  </a:lnTo>
                  <a:lnTo>
                    <a:pt x="112" y="307"/>
                  </a:lnTo>
                  <a:lnTo>
                    <a:pt x="114" y="307"/>
                  </a:lnTo>
                  <a:lnTo>
                    <a:pt x="118" y="307"/>
                  </a:lnTo>
                  <a:lnTo>
                    <a:pt x="120" y="305"/>
                  </a:lnTo>
                  <a:lnTo>
                    <a:pt x="122" y="305"/>
                  </a:lnTo>
                  <a:lnTo>
                    <a:pt x="124" y="303"/>
                  </a:lnTo>
                  <a:lnTo>
                    <a:pt x="124" y="301"/>
                  </a:lnTo>
                  <a:lnTo>
                    <a:pt x="125" y="299"/>
                  </a:lnTo>
                  <a:lnTo>
                    <a:pt x="125" y="298"/>
                  </a:lnTo>
                  <a:lnTo>
                    <a:pt x="125" y="296"/>
                  </a:lnTo>
                  <a:lnTo>
                    <a:pt x="125" y="294"/>
                  </a:lnTo>
                  <a:lnTo>
                    <a:pt x="125" y="290"/>
                  </a:lnTo>
                  <a:lnTo>
                    <a:pt x="124" y="288"/>
                  </a:lnTo>
                  <a:lnTo>
                    <a:pt x="122" y="286"/>
                  </a:lnTo>
                  <a:lnTo>
                    <a:pt x="120" y="285"/>
                  </a:lnTo>
                  <a:lnTo>
                    <a:pt x="118" y="285"/>
                  </a:lnTo>
                  <a:lnTo>
                    <a:pt x="114" y="285"/>
                  </a:lnTo>
                  <a:close/>
                  <a:moveTo>
                    <a:pt x="127" y="357"/>
                  </a:moveTo>
                  <a:lnTo>
                    <a:pt x="124" y="357"/>
                  </a:lnTo>
                  <a:lnTo>
                    <a:pt x="122" y="359"/>
                  </a:lnTo>
                  <a:lnTo>
                    <a:pt x="120" y="360"/>
                  </a:lnTo>
                  <a:lnTo>
                    <a:pt x="118" y="364"/>
                  </a:lnTo>
                  <a:lnTo>
                    <a:pt x="118" y="368"/>
                  </a:lnTo>
                  <a:lnTo>
                    <a:pt x="118" y="373"/>
                  </a:lnTo>
                  <a:lnTo>
                    <a:pt x="120" y="377"/>
                  </a:lnTo>
                  <a:lnTo>
                    <a:pt x="122" y="377"/>
                  </a:lnTo>
                  <a:lnTo>
                    <a:pt x="124" y="379"/>
                  </a:lnTo>
                  <a:lnTo>
                    <a:pt x="125" y="381"/>
                  </a:lnTo>
                  <a:lnTo>
                    <a:pt x="122" y="383"/>
                  </a:lnTo>
                  <a:lnTo>
                    <a:pt x="120" y="388"/>
                  </a:lnTo>
                  <a:lnTo>
                    <a:pt x="120" y="394"/>
                  </a:lnTo>
                  <a:lnTo>
                    <a:pt x="120" y="397"/>
                  </a:lnTo>
                  <a:lnTo>
                    <a:pt x="120" y="401"/>
                  </a:lnTo>
                  <a:lnTo>
                    <a:pt x="120" y="412"/>
                  </a:lnTo>
                  <a:lnTo>
                    <a:pt x="120" y="423"/>
                  </a:lnTo>
                  <a:lnTo>
                    <a:pt x="118" y="434"/>
                  </a:lnTo>
                  <a:lnTo>
                    <a:pt x="129" y="432"/>
                  </a:lnTo>
                  <a:lnTo>
                    <a:pt x="133" y="431"/>
                  </a:lnTo>
                  <a:lnTo>
                    <a:pt x="135" y="431"/>
                  </a:lnTo>
                  <a:lnTo>
                    <a:pt x="138" y="429"/>
                  </a:lnTo>
                  <a:lnTo>
                    <a:pt x="140" y="427"/>
                  </a:lnTo>
                  <a:lnTo>
                    <a:pt x="140" y="423"/>
                  </a:lnTo>
                  <a:lnTo>
                    <a:pt x="142" y="421"/>
                  </a:lnTo>
                  <a:lnTo>
                    <a:pt x="144" y="416"/>
                  </a:lnTo>
                  <a:lnTo>
                    <a:pt x="144" y="410"/>
                  </a:lnTo>
                  <a:lnTo>
                    <a:pt x="144" y="405"/>
                  </a:lnTo>
                  <a:lnTo>
                    <a:pt x="144" y="399"/>
                  </a:lnTo>
                  <a:lnTo>
                    <a:pt x="144" y="392"/>
                  </a:lnTo>
                  <a:lnTo>
                    <a:pt x="142" y="383"/>
                  </a:lnTo>
                  <a:lnTo>
                    <a:pt x="135" y="381"/>
                  </a:lnTo>
                  <a:lnTo>
                    <a:pt x="131" y="379"/>
                  </a:lnTo>
                  <a:lnTo>
                    <a:pt x="133" y="377"/>
                  </a:lnTo>
                  <a:lnTo>
                    <a:pt x="135" y="377"/>
                  </a:lnTo>
                  <a:lnTo>
                    <a:pt x="137" y="373"/>
                  </a:lnTo>
                  <a:lnTo>
                    <a:pt x="137" y="371"/>
                  </a:lnTo>
                  <a:lnTo>
                    <a:pt x="137" y="368"/>
                  </a:lnTo>
                  <a:lnTo>
                    <a:pt x="137" y="364"/>
                  </a:lnTo>
                  <a:lnTo>
                    <a:pt x="135" y="360"/>
                  </a:lnTo>
                  <a:lnTo>
                    <a:pt x="133" y="359"/>
                  </a:lnTo>
                  <a:lnTo>
                    <a:pt x="131" y="357"/>
                  </a:lnTo>
                  <a:lnTo>
                    <a:pt x="127" y="357"/>
                  </a:lnTo>
                  <a:close/>
                  <a:moveTo>
                    <a:pt x="92" y="458"/>
                  </a:moveTo>
                  <a:lnTo>
                    <a:pt x="90" y="458"/>
                  </a:lnTo>
                  <a:lnTo>
                    <a:pt x="88" y="460"/>
                  </a:lnTo>
                  <a:lnTo>
                    <a:pt x="87" y="460"/>
                  </a:lnTo>
                  <a:lnTo>
                    <a:pt x="85" y="464"/>
                  </a:lnTo>
                  <a:lnTo>
                    <a:pt x="83" y="468"/>
                  </a:lnTo>
                  <a:lnTo>
                    <a:pt x="85" y="471"/>
                  </a:lnTo>
                  <a:lnTo>
                    <a:pt x="85" y="473"/>
                  </a:lnTo>
                  <a:lnTo>
                    <a:pt x="87" y="475"/>
                  </a:lnTo>
                  <a:lnTo>
                    <a:pt x="88" y="477"/>
                  </a:lnTo>
                  <a:lnTo>
                    <a:pt x="90" y="479"/>
                  </a:lnTo>
                  <a:lnTo>
                    <a:pt x="92" y="479"/>
                  </a:lnTo>
                  <a:lnTo>
                    <a:pt x="96" y="479"/>
                  </a:lnTo>
                  <a:lnTo>
                    <a:pt x="98" y="477"/>
                  </a:lnTo>
                  <a:lnTo>
                    <a:pt x="100" y="475"/>
                  </a:lnTo>
                  <a:lnTo>
                    <a:pt x="101" y="479"/>
                  </a:lnTo>
                  <a:lnTo>
                    <a:pt x="103" y="482"/>
                  </a:lnTo>
                  <a:lnTo>
                    <a:pt x="105" y="484"/>
                  </a:lnTo>
                  <a:lnTo>
                    <a:pt x="109" y="484"/>
                  </a:lnTo>
                  <a:lnTo>
                    <a:pt x="111" y="484"/>
                  </a:lnTo>
                  <a:lnTo>
                    <a:pt x="114" y="482"/>
                  </a:lnTo>
                  <a:lnTo>
                    <a:pt x="116" y="481"/>
                  </a:lnTo>
                  <a:lnTo>
                    <a:pt x="116" y="479"/>
                  </a:lnTo>
                  <a:lnTo>
                    <a:pt x="118" y="477"/>
                  </a:lnTo>
                  <a:lnTo>
                    <a:pt x="118" y="473"/>
                  </a:lnTo>
                  <a:lnTo>
                    <a:pt x="118" y="469"/>
                  </a:lnTo>
                  <a:lnTo>
                    <a:pt x="116" y="466"/>
                  </a:lnTo>
                  <a:lnTo>
                    <a:pt x="114" y="464"/>
                  </a:lnTo>
                  <a:lnTo>
                    <a:pt x="111" y="464"/>
                  </a:lnTo>
                  <a:lnTo>
                    <a:pt x="109" y="462"/>
                  </a:lnTo>
                  <a:lnTo>
                    <a:pt x="105" y="464"/>
                  </a:lnTo>
                  <a:lnTo>
                    <a:pt x="103" y="464"/>
                  </a:lnTo>
                  <a:lnTo>
                    <a:pt x="101" y="466"/>
                  </a:lnTo>
                  <a:lnTo>
                    <a:pt x="100" y="462"/>
                  </a:lnTo>
                  <a:lnTo>
                    <a:pt x="98" y="460"/>
                  </a:lnTo>
                  <a:lnTo>
                    <a:pt x="96" y="458"/>
                  </a:lnTo>
                  <a:lnTo>
                    <a:pt x="92" y="458"/>
                  </a:lnTo>
                  <a:close/>
                  <a:moveTo>
                    <a:pt x="76" y="778"/>
                  </a:moveTo>
                  <a:lnTo>
                    <a:pt x="66" y="798"/>
                  </a:lnTo>
                  <a:lnTo>
                    <a:pt x="57" y="819"/>
                  </a:lnTo>
                  <a:lnTo>
                    <a:pt x="70" y="821"/>
                  </a:lnTo>
                  <a:lnTo>
                    <a:pt x="72" y="821"/>
                  </a:lnTo>
                  <a:lnTo>
                    <a:pt x="76" y="819"/>
                  </a:lnTo>
                  <a:lnTo>
                    <a:pt x="77" y="819"/>
                  </a:lnTo>
                  <a:lnTo>
                    <a:pt x="81" y="815"/>
                  </a:lnTo>
                  <a:lnTo>
                    <a:pt x="83" y="809"/>
                  </a:lnTo>
                  <a:lnTo>
                    <a:pt x="85" y="806"/>
                  </a:lnTo>
                  <a:lnTo>
                    <a:pt x="85" y="800"/>
                  </a:lnTo>
                  <a:lnTo>
                    <a:pt x="83" y="798"/>
                  </a:lnTo>
                  <a:lnTo>
                    <a:pt x="83" y="795"/>
                  </a:lnTo>
                  <a:lnTo>
                    <a:pt x="76" y="778"/>
                  </a:lnTo>
                  <a:close/>
                  <a:moveTo>
                    <a:pt x="44" y="772"/>
                  </a:moveTo>
                  <a:lnTo>
                    <a:pt x="37" y="772"/>
                  </a:lnTo>
                  <a:lnTo>
                    <a:pt x="29" y="772"/>
                  </a:lnTo>
                  <a:lnTo>
                    <a:pt x="22" y="772"/>
                  </a:lnTo>
                  <a:lnTo>
                    <a:pt x="15" y="774"/>
                  </a:lnTo>
                  <a:lnTo>
                    <a:pt x="9" y="776"/>
                  </a:lnTo>
                  <a:lnTo>
                    <a:pt x="5" y="778"/>
                  </a:lnTo>
                  <a:lnTo>
                    <a:pt x="2" y="782"/>
                  </a:lnTo>
                  <a:lnTo>
                    <a:pt x="0" y="787"/>
                  </a:lnTo>
                  <a:lnTo>
                    <a:pt x="2" y="793"/>
                  </a:lnTo>
                  <a:lnTo>
                    <a:pt x="4" y="798"/>
                  </a:lnTo>
                  <a:lnTo>
                    <a:pt x="5" y="804"/>
                  </a:lnTo>
                  <a:lnTo>
                    <a:pt x="7" y="808"/>
                  </a:lnTo>
                  <a:lnTo>
                    <a:pt x="7" y="811"/>
                  </a:lnTo>
                  <a:lnTo>
                    <a:pt x="7" y="817"/>
                  </a:lnTo>
                  <a:lnTo>
                    <a:pt x="4" y="833"/>
                  </a:lnTo>
                  <a:lnTo>
                    <a:pt x="2" y="848"/>
                  </a:lnTo>
                  <a:lnTo>
                    <a:pt x="2" y="854"/>
                  </a:lnTo>
                  <a:lnTo>
                    <a:pt x="2" y="857"/>
                  </a:lnTo>
                  <a:lnTo>
                    <a:pt x="4" y="861"/>
                  </a:lnTo>
                  <a:lnTo>
                    <a:pt x="7" y="865"/>
                  </a:lnTo>
                  <a:lnTo>
                    <a:pt x="13" y="865"/>
                  </a:lnTo>
                  <a:lnTo>
                    <a:pt x="20" y="865"/>
                  </a:lnTo>
                  <a:lnTo>
                    <a:pt x="24" y="859"/>
                  </a:lnTo>
                  <a:lnTo>
                    <a:pt x="28" y="846"/>
                  </a:lnTo>
                  <a:lnTo>
                    <a:pt x="29" y="833"/>
                  </a:lnTo>
                  <a:lnTo>
                    <a:pt x="31" y="822"/>
                  </a:lnTo>
                  <a:lnTo>
                    <a:pt x="33" y="811"/>
                  </a:lnTo>
                  <a:lnTo>
                    <a:pt x="33" y="808"/>
                  </a:lnTo>
                  <a:lnTo>
                    <a:pt x="33" y="806"/>
                  </a:lnTo>
                  <a:lnTo>
                    <a:pt x="37" y="798"/>
                  </a:lnTo>
                  <a:lnTo>
                    <a:pt x="40" y="793"/>
                  </a:lnTo>
                  <a:lnTo>
                    <a:pt x="42" y="787"/>
                  </a:lnTo>
                  <a:lnTo>
                    <a:pt x="42" y="784"/>
                  </a:lnTo>
                  <a:lnTo>
                    <a:pt x="44" y="772"/>
                  </a:lnTo>
                  <a:close/>
                  <a:moveTo>
                    <a:pt x="57" y="641"/>
                  </a:moveTo>
                  <a:lnTo>
                    <a:pt x="53" y="643"/>
                  </a:lnTo>
                  <a:lnTo>
                    <a:pt x="48" y="645"/>
                  </a:lnTo>
                  <a:lnTo>
                    <a:pt x="42" y="649"/>
                  </a:lnTo>
                  <a:lnTo>
                    <a:pt x="37" y="652"/>
                  </a:lnTo>
                  <a:lnTo>
                    <a:pt x="29" y="658"/>
                  </a:lnTo>
                  <a:lnTo>
                    <a:pt x="35" y="665"/>
                  </a:lnTo>
                  <a:lnTo>
                    <a:pt x="40" y="673"/>
                  </a:lnTo>
                  <a:lnTo>
                    <a:pt x="40" y="675"/>
                  </a:lnTo>
                  <a:lnTo>
                    <a:pt x="39" y="678"/>
                  </a:lnTo>
                  <a:lnTo>
                    <a:pt x="35" y="682"/>
                  </a:lnTo>
                  <a:lnTo>
                    <a:pt x="33" y="686"/>
                  </a:lnTo>
                  <a:lnTo>
                    <a:pt x="33" y="687"/>
                  </a:lnTo>
                  <a:lnTo>
                    <a:pt x="31" y="691"/>
                  </a:lnTo>
                  <a:lnTo>
                    <a:pt x="31" y="693"/>
                  </a:lnTo>
                  <a:lnTo>
                    <a:pt x="31" y="699"/>
                  </a:lnTo>
                  <a:lnTo>
                    <a:pt x="33" y="708"/>
                  </a:lnTo>
                  <a:lnTo>
                    <a:pt x="37" y="715"/>
                  </a:lnTo>
                  <a:lnTo>
                    <a:pt x="35" y="734"/>
                  </a:lnTo>
                  <a:lnTo>
                    <a:pt x="39" y="752"/>
                  </a:lnTo>
                  <a:lnTo>
                    <a:pt x="40" y="756"/>
                  </a:lnTo>
                  <a:lnTo>
                    <a:pt x="42" y="760"/>
                  </a:lnTo>
                  <a:lnTo>
                    <a:pt x="48" y="769"/>
                  </a:lnTo>
                  <a:lnTo>
                    <a:pt x="57" y="761"/>
                  </a:lnTo>
                  <a:lnTo>
                    <a:pt x="59" y="758"/>
                  </a:lnTo>
                  <a:lnTo>
                    <a:pt x="61" y="754"/>
                  </a:lnTo>
                  <a:lnTo>
                    <a:pt x="63" y="750"/>
                  </a:lnTo>
                  <a:lnTo>
                    <a:pt x="64" y="748"/>
                  </a:lnTo>
                  <a:lnTo>
                    <a:pt x="66" y="743"/>
                  </a:lnTo>
                  <a:lnTo>
                    <a:pt x="66" y="737"/>
                  </a:lnTo>
                  <a:lnTo>
                    <a:pt x="66" y="732"/>
                  </a:lnTo>
                  <a:lnTo>
                    <a:pt x="66" y="724"/>
                  </a:lnTo>
                  <a:lnTo>
                    <a:pt x="64" y="711"/>
                  </a:lnTo>
                  <a:lnTo>
                    <a:pt x="63" y="699"/>
                  </a:lnTo>
                  <a:lnTo>
                    <a:pt x="68" y="691"/>
                  </a:lnTo>
                  <a:lnTo>
                    <a:pt x="72" y="684"/>
                  </a:lnTo>
                  <a:lnTo>
                    <a:pt x="74" y="678"/>
                  </a:lnTo>
                  <a:lnTo>
                    <a:pt x="76" y="673"/>
                  </a:lnTo>
                  <a:lnTo>
                    <a:pt x="77" y="663"/>
                  </a:lnTo>
                  <a:lnTo>
                    <a:pt x="79" y="654"/>
                  </a:lnTo>
                  <a:lnTo>
                    <a:pt x="85" y="647"/>
                  </a:lnTo>
                  <a:lnTo>
                    <a:pt x="90" y="638"/>
                  </a:lnTo>
                  <a:lnTo>
                    <a:pt x="92" y="634"/>
                  </a:lnTo>
                  <a:lnTo>
                    <a:pt x="92" y="630"/>
                  </a:lnTo>
                  <a:lnTo>
                    <a:pt x="92" y="625"/>
                  </a:lnTo>
                  <a:lnTo>
                    <a:pt x="92" y="621"/>
                  </a:lnTo>
                  <a:lnTo>
                    <a:pt x="90" y="617"/>
                  </a:lnTo>
                  <a:lnTo>
                    <a:pt x="88" y="614"/>
                  </a:lnTo>
                  <a:lnTo>
                    <a:pt x="85" y="610"/>
                  </a:lnTo>
                  <a:lnTo>
                    <a:pt x="81" y="610"/>
                  </a:lnTo>
                  <a:lnTo>
                    <a:pt x="77" y="610"/>
                  </a:lnTo>
                  <a:lnTo>
                    <a:pt x="74" y="610"/>
                  </a:lnTo>
                  <a:lnTo>
                    <a:pt x="70" y="612"/>
                  </a:lnTo>
                  <a:lnTo>
                    <a:pt x="68" y="614"/>
                  </a:lnTo>
                  <a:lnTo>
                    <a:pt x="66" y="615"/>
                  </a:lnTo>
                  <a:lnTo>
                    <a:pt x="63" y="621"/>
                  </a:lnTo>
                  <a:lnTo>
                    <a:pt x="59" y="641"/>
                  </a:lnTo>
                  <a:lnTo>
                    <a:pt x="57" y="641"/>
                  </a:lnTo>
                  <a:close/>
                  <a:moveTo>
                    <a:pt x="111" y="503"/>
                  </a:moveTo>
                  <a:lnTo>
                    <a:pt x="103" y="508"/>
                  </a:lnTo>
                  <a:lnTo>
                    <a:pt x="101" y="510"/>
                  </a:lnTo>
                  <a:lnTo>
                    <a:pt x="100" y="512"/>
                  </a:lnTo>
                  <a:lnTo>
                    <a:pt x="98" y="519"/>
                  </a:lnTo>
                  <a:lnTo>
                    <a:pt x="96" y="529"/>
                  </a:lnTo>
                  <a:lnTo>
                    <a:pt x="92" y="545"/>
                  </a:lnTo>
                  <a:lnTo>
                    <a:pt x="90" y="562"/>
                  </a:lnTo>
                  <a:lnTo>
                    <a:pt x="88" y="571"/>
                  </a:lnTo>
                  <a:lnTo>
                    <a:pt x="87" y="578"/>
                  </a:lnTo>
                  <a:lnTo>
                    <a:pt x="88" y="582"/>
                  </a:lnTo>
                  <a:lnTo>
                    <a:pt x="88" y="584"/>
                  </a:lnTo>
                  <a:lnTo>
                    <a:pt x="90" y="588"/>
                  </a:lnTo>
                  <a:lnTo>
                    <a:pt x="92" y="590"/>
                  </a:lnTo>
                  <a:lnTo>
                    <a:pt x="100" y="593"/>
                  </a:lnTo>
                  <a:lnTo>
                    <a:pt x="105" y="588"/>
                  </a:lnTo>
                  <a:lnTo>
                    <a:pt x="107" y="584"/>
                  </a:lnTo>
                  <a:lnTo>
                    <a:pt x="109" y="580"/>
                  </a:lnTo>
                  <a:lnTo>
                    <a:pt x="114" y="571"/>
                  </a:lnTo>
                  <a:lnTo>
                    <a:pt x="116" y="560"/>
                  </a:lnTo>
                  <a:lnTo>
                    <a:pt x="118" y="549"/>
                  </a:lnTo>
                  <a:lnTo>
                    <a:pt x="120" y="538"/>
                  </a:lnTo>
                  <a:lnTo>
                    <a:pt x="120" y="530"/>
                  </a:lnTo>
                  <a:lnTo>
                    <a:pt x="120" y="523"/>
                  </a:lnTo>
                  <a:lnTo>
                    <a:pt x="120" y="517"/>
                  </a:lnTo>
                  <a:lnTo>
                    <a:pt x="118" y="514"/>
                  </a:lnTo>
                  <a:lnTo>
                    <a:pt x="118" y="512"/>
                  </a:lnTo>
                  <a:lnTo>
                    <a:pt x="116" y="508"/>
                  </a:lnTo>
                  <a:lnTo>
                    <a:pt x="111" y="503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9931838" y="4621563"/>
              <a:ext cx="939097" cy="1341836"/>
            </a:xfrm>
            <a:custGeom>
              <a:avLst/>
              <a:gdLst>
                <a:gd name="T0" fmla="*/ 677951 w 541"/>
                <a:gd name="T1" fmla="*/ 1009650 h 713"/>
                <a:gd name="T2" fmla="*/ 696986 w 541"/>
                <a:gd name="T3" fmla="*/ 1082675 h 713"/>
                <a:gd name="T4" fmla="*/ 680879 w 541"/>
                <a:gd name="T5" fmla="*/ 1120775 h 713"/>
                <a:gd name="T6" fmla="*/ 622309 w 541"/>
                <a:gd name="T7" fmla="*/ 1033463 h 713"/>
                <a:gd name="T8" fmla="*/ 584238 w 541"/>
                <a:gd name="T9" fmla="*/ 947738 h 713"/>
                <a:gd name="T10" fmla="*/ 534454 w 541"/>
                <a:gd name="T11" fmla="*/ 850900 h 713"/>
                <a:gd name="T12" fmla="*/ 470026 w 541"/>
                <a:gd name="T13" fmla="*/ 792163 h 713"/>
                <a:gd name="T14" fmla="*/ 418777 w 541"/>
                <a:gd name="T15" fmla="*/ 722313 h 713"/>
                <a:gd name="T16" fmla="*/ 367528 w 541"/>
                <a:gd name="T17" fmla="*/ 622300 h 713"/>
                <a:gd name="T18" fmla="*/ 303101 w 541"/>
                <a:gd name="T19" fmla="*/ 525463 h 713"/>
                <a:gd name="T20" fmla="*/ 221103 w 541"/>
                <a:gd name="T21" fmla="*/ 419100 h 713"/>
                <a:gd name="T22" fmla="*/ 166925 w 541"/>
                <a:gd name="T23" fmla="*/ 384175 h 713"/>
                <a:gd name="T24" fmla="*/ 121533 w 541"/>
                <a:gd name="T25" fmla="*/ 311150 h 713"/>
                <a:gd name="T26" fmla="*/ 99569 w 541"/>
                <a:gd name="T27" fmla="*/ 252413 h 713"/>
                <a:gd name="T28" fmla="*/ 45392 w 541"/>
                <a:gd name="T29" fmla="*/ 176213 h 713"/>
                <a:gd name="T30" fmla="*/ 61499 w 541"/>
                <a:gd name="T31" fmla="*/ 149225 h 713"/>
                <a:gd name="T32" fmla="*/ 77606 w 541"/>
                <a:gd name="T33" fmla="*/ 117475 h 713"/>
                <a:gd name="T34" fmla="*/ 67356 w 541"/>
                <a:gd name="T35" fmla="*/ 82550 h 713"/>
                <a:gd name="T36" fmla="*/ 42463 w 541"/>
                <a:gd name="T37" fmla="*/ 58738 h 713"/>
                <a:gd name="T38" fmla="*/ 1464 w 541"/>
                <a:gd name="T39" fmla="*/ 33338 h 713"/>
                <a:gd name="T40" fmla="*/ 10250 w 541"/>
                <a:gd name="T41" fmla="*/ 23813 h 713"/>
                <a:gd name="T42" fmla="*/ 29285 w 541"/>
                <a:gd name="T43" fmla="*/ 6350 h 713"/>
                <a:gd name="T44" fmla="*/ 58570 w 541"/>
                <a:gd name="T45" fmla="*/ 9525 h 713"/>
                <a:gd name="T46" fmla="*/ 99569 w 541"/>
                <a:gd name="T47" fmla="*/ 76200 h 713"/>
                <a:gd name="T48" fmla="*/ 156675 w 541"/>
                <a:gd name="T49" fmla="*/ 123825 h 713"/>
                <a:gd name="T50" fmla="*/ 161068 w 541"/>
                <a:gd name="T51" fmla="*/ 147638 h 713"/>
                <a:gd name="T52" fmla="*/ 226960 w 541"/>
                <a:gd name="T53" fmla="*/ 176213 h 713"/>
                <a:gd name="T54" fmla="*/ 229888 w 541"/>
                <a:gd name="T55" fmla="*/ 220663 h 713"/>
                <a:gd name="T56" fmla="*/ 224031 w 541"/>
                <a:gd name="T57" fmla="*/ 241300 h 713"/>
                <a:gd name="T58" fmla="*/ 248924 w 541"/>
                <a:gd name="T59" fmla="*/ 273050 h 713"/>
                <a:gd name="T60" fmla="*/ 326529 w 541"/>
                <a:gd name="T61" fmla="*/ 325438 h 713"/>
                <a:gd name="T62" fmla="*/ 354350 w 541"/>
                <a:gd name="T63" fmla="*/ 358775 h 713"/>
                <a:gd name="T64" fmla="*/ 486133 w 541"/>
                <a:gd name="T65" fmla="*/ 469900 h 713"/>
                <a:gd name="T66" fmla="*/ 572524 w 541"/>
                <a:gd name="T67" fmla="*/ 549275 h 713"/>
                <a:gd name="T68" fmla="*/ 639880 w 541"/>
                <a:gd name="T69" fmla="*/ 574675 h 713"/>
                <a:gd name="T70" fmla="*/ 658916 w 541"/>
                <a:gd name="T71" fmla="*/ 598488 h 713"/>
                <a:gd name="T72" fmla="*/ 556418 w 541"/>
                <a:gd name="T73" fmla="*/ 592138 h 713"/>
                <a:gd name="T74" fmla="*/ 505169 w 541"/>
                <a:gd name="T75" fmla="*/ 630238 h 713"/>
                <a:gd name="T76" fmla="*/ 518347 w 541"/>
                <a:gd name="T77" fmla="*/ 681038 h 713"/>
                <a:gd name="T78" fmla="*/ 534454 w 541"/>
                <a:gd name="T79" fmla="*/ 747713 h 713"/>
                <a:gd name="T80" fmla="*/ 565203 w 541"/>
                <a:gd name="T81" fmla="*/ 806450 h 713"/>
                <a:gd name="T82" fmla="*/ 613524 w 541"/>
                <a:gd name="T83" fmla="*/ 882650 h 713"/>
                <a:gd name="T84" fmla="*/ 705772 w 541"/>
                <a:gd name="T85" fmla="*/ 936625 h 713"/>
                <a:gd name="T86" fmla="*/ 745307 w 541"/>
                <a:gd name="T87" fmla="*/ 919163 h 713"/>
                <a:gd name="T88" fmla="*/ 783377 w 541"/>
                <a:gd name="T89" fmla="*/ 968375 h 713"/>
                <a:gd name="T90" fmla="*/ 783377 w 541"/>
                <a:gd name="T91" fmla="*/ 1017588 h 713"/>
                <a:gd name="T92" fmla="*/ 754092 w 541"/>
                <a:gd name="T93" fmla="*/ 982663 h 713"/>
                <a:gd name="T94" fmla="*/ 705772 w 541"/>
                <a:gd name="T95" fmla="*/ 996950 h 71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41"/>
                <a:gd name="T145" fmla="*/ 0 h 713"/>
                <a:gd name="T146" fmla="*/ 541 w 541"/>
                <a:gd name="T147" fmla="*/ 713 h 71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41" h="713">
                  <a:moveTo>
                    <a:pt x="469" y="630"/>
                  </a:moveTo>
                  <a:lnTo>
                    <a:pt x="467" y="632"/>
                  </a:lnTo>
                  <a:lnTo>
                    <a:pt x="465" y="634"/>
                  </a:lnTo>
                  <a:lnTo>
                    <a:pt x="463" y="636"/>
                  </a:lnTo>
                  <a:lnTo>
                    <a:pt x="463" y="640"/>
                  </a:lnTo>
                  <a:lnTo>
                    <a:pt x="465" y="647"/>
                  </a:lnTo>
                  <a:lnTo>
                    <a:pt x="467" y="656"/>
                  </a:lnTo>
                  <a:lnTo>
                    <a:pt x="476" y="682"/>
                  </a:lnTo>
                  <a:lnTo>
                    <a:pt x="485" y="713"/>
                  </a:lnTo>
                  <a:lnTo>
                    <a:pt x="478" y="713"/>
                  </a:lnTo>
                  <a:lnTo>
                    <a:pt x="473" y="710"/>
                  </a:lnTo>
                  <a:lnTo>
                    <a:pt x="465" y="706"/>
                  </a:lnTo>
                  <a:lnTo>
                    <a:pt x="458" y="699"/>
                  </a:lnTo>
                  <a:lnTo>
                    <a:pt x="445" y="686"/>
                  </a:lnTo>
                  <a:lnTo>
                    <a:pt x="428" y="673"/>
                  </a:lnTo>
                  <a:lnTo>
                    <a:pt x="425" y="651"/>
                  </a:lnTo>
                  <a:lnTo>
                    <a:pt x="419" y="634"/>
                  </a:lnTo>
                  <a:lnTo>
                    <a:pt x="415" y="621"/>
                  </a:lnTo>
                  <a:lnTo>
                    <a:pt x="412" y="614"/>
                  </a:lnTo>
                  <a:lnTo>
                    <a:pt x="399" y="597"/>
                  </a:lnTo>
                  <a:lnTo>
                    <a:pt x="375" y="571"/>
                  </a:lnTo>
                  <a:lnTo>
                    <a:pt x="371" y="560"/>
                  </a:lnTo>
                  <a:lnTo>
                    <a:pt x="369" y="547"/>
                  </a:lnTo>
                  <a:lnTo>
                    <a:pt x="365" y="536"/>
                  </a:lnTo>
                  <a:lnTo>
                    <a:pt x="358" y="527"/>
                  </a:lnTo>
                  <a:lnTo>
                    <a:pt x="345" y="514"/>
                  </a:lnTo>
                  <a:lnTo>
                    <a:pt x="330" y="505"/>
                  </a:lnTo>
                  <a:lnTo>
                    <a:pt x="321" y="499"/>
                  </a:lnTo>
                  <a:lnTo>
                    <a:pt x="314" y="494"/>
                  </a:lnTo>
                  <a:lnTo>
                    <a:pt x="306" y="486"/>
                  </a:lnTo>
                  <a:lnTo>
                    <a:pt x="299" y="479"/>
                  </a:lnTo>
                  <a:lnTo>
                    <a:pt x="286" y="455"/>
                  </a:lnTo>
                  <a:lnTo>
                    <a:pt x="277" y="433"/>
                  </a:lnTo>
                  <a:lnTo>
                    <a:pt x="271" y="422"/>
                  </a:lnTo>
                  <a:lnTo>
                    <a:pt x="262" y="407"/>
                  </a:lnTo>
                  <a:lnTo>
                    <a:pt x="251" y="392"/>
                  </a:lnTo>
                  <a:lnTo>
                    <a:pt x="238" y="373"/>
                  </a:lnTo>
                  <a:lnTo>
                    <a:pt x="223" y="359"/>
                  </a:lnTo>
                  <a:lnTo>
                    <a:pt x="214" y="344"/>
                  </a:lnTo>
                  <a:lnTo>
                    <a:pt x="207" y="331"/>
                  </a:lnTo>
                  <a:lnTo>
                    <a:pt x="201" y="320"/>
                  </a:lnTo>
                  <a:lnTo>
                    <a:pt x="192" y="298"/>
                  </a:lnTo>
                  <a:lnTo>
                    <a:pt x="177" y="274"/>
                  </a:lnTo>
                  <a:lnTo>
                    <a:pt x="151" y="264"/>
                  </a:lnTo>
                  <a:lnTo>
                    <a:pt x="125" y="257"/>
                  </a:lnTo>
                  <a:lnTo>
                    <a:pt x="127" y="250"/>
                  </a:lnTo>
                  <a:lnTo>
                    <a:pt x="123" y="244"/>
                  </a:lnTo>
                  <a:lnTo>
                    <a:pt x="114" y="242"/>
                  </a:lnTo>
                  <a:lnTo>
                    <a:pt x="107" y="242"/>
                  </a:lnTo>
                  <a:lnTo>
                    <a:pt x="99" y="224"/>
                  </a:lnTo>
                  <a:lnTo>
                    <a:pt x="90" y="203"/>
                  </a:lnTo>
                  <a:lnTo>
                    <a:pt x="83" y="196"/>
                  </a:lnTo>
                  <a:lnTo>
                    <a:pt x="77" y="189"/>
                  </a:lnTo>
                  <a:lnTo>
                    <a:pt x="74" y="179"/>
                  </a:lnTo>
                  <a:lnTo>
                    <a:pt x="72" y="172"/>
                  </a:lnTo>
                  <a:lnTo>
                    <a:pt x="68" y="159"/>
                  </a:lnTo>
                  <a:lnTo>
                    <a:pt x="68" y="146"/>
                  </a:lnTo>
                  <a:lnTo>
                    <a:pt x="50" y="131"/>
                  </a:lnTo>
                  <a:lnTo>
                    <a:pt x="35" y="118"/>
                  </a:lnTo>
                  <a:lnTo>
                    <a:pt x="31" y="111"/>
                  </a:lnTo>
                  <a:lnTo>
                    <a:pt x="29" y="104"/>
                  </a:lnTo>
                  <a:lnTo>
                    <a:pt x="31" y="98"/>
                  </a:lnTo>
                  <a:lnTo>
                    <a:pt x="37" y="91"/>
                  </a:lnTo>
                  <a:lnTo>
                    <a:pt x="42" y="94"/>
                  </a:lnTo>
                  <a:lnTo>
                    <a:pt x="50" y="100"/>
                  </a:lnTo>
                  <a:lnTo>
                    <a:pt x="55" y="91"/>
                  </a:lnTo>
                  <a:lnTo>
                    <a:pt x="57" y="80"/>
                  </a:lnTo>
                  <a:lnTo>
                    <a:pt x="53" y="74"/>
                  </a:lnTo>
                  <a:lnTo>
                    <a:pt x="50" y="70"/>
                  </a:lnTo>
                  <a:lnTo>
                    <a:pt x="50" y="63"/>
                  </a:lnTo>
                  <a:lnTo>
                    <a:pt x="48" y="57"/>
                  </a:lnTo>
                  <a:lnTo>
                    <a:pt x="46" y="52"/>
                  </a:lnTo>
                  <a:lnTo>
                    <a:pt x="42" y="45"/>
                  </a:lnTo>
                  <a:lnTo>
                    <a:pt x="38" y="41"/>
                  </a:lnTo>
                  <a:lnTo>
                    <a:pt x="35" y="39"/>
                  </a:lnTo>
                  <a:lnTo>
                    <a:pt x="29" y="37"/>
                  </a:lnTo>
                  <a:lnTo>
                    <a:pt x="22" y="35"/>
                  </a:lnTo>
                  <a:lnTo>
                    <a:pt x="13" y="30"/>
                  </a:lnTo>
                  <a:lnTo>
                    <a:pt x="3" y="24"/>
                  </a:lnTo>
                  <a:lnTo>
                    <a:pt x="1" y="21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7" y="15"/>
                  </a:lnTo>
                  <a:lnTo>
                    <a:pt x="13" y="17"/>
                  </a:lnTo>
                  <a:lnTo>
                    <a:pt x="18" y="11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18" y="0"/>
                  </a:lnTo>
                  <a:lnTo>
                    <a:pt x="25" y="0"/>
                  </a:lnTo>
                  <a:lnTo>
                    <a:pt x="33" y="2"/>
                  </a:lnTo>
                  <a:lnTo>
                    <a:pt x="40" y="6"/>
                  </a:lnTo>
                  <a:lnTo>
                    <a:pt x="48" y="13"/>
                  </a:lnTo>
                  <a:lnTo>
                    <a:pt x="50" y="24"/>
                  </a:lnTo>
                  <a:lnTo>
                    <a:pt x="51" y="35"/>
                  </a:lnTo>
                  <a:lnTo>
                    <a:pt x="68" y="48"/>
                  </a:lnTo>
                  <a:lnTo>
                    <a:pt x="88" y="59"/>
                  </a:lnTo>
                  <a:lnTo>
                    <a:pt x="107" y="69"/>
                  </a:lnTo>
                  <a:lnTo>
                    <a:pt x="116" y="76"/>
                  </a:lnTo>
                  <a:lnTo>
                    <a:pt x="107" y="78"/>
                  </a:lnTo>
                  <a:lnTo>
                    <a:pt x="99" y="80"/>
                  </a:lnTo>
                  <a:lnTo>
                    <a:pt x="99" y="85"/>
                  </a:lnTo>
                  <a:lnTo>
                    <a:pt x="105" y="91"/>
                  </a:lnTo>
                  <a:lnTo>
                    <a:pt x="110" y="93"/>
                  </a:lnTo>
                  <a:lnTo>
                    <a:pt x="116" y="96"/>
                  </a:lnTo>
                  <a:lnTo>
                    <a:pt x="133" y="100"/>
                  </a:lnTo>
                  <a:lnTo>
                    <a:pt x="147" y="102"/>
                  </a:lnTo>
                  <a:lnTo>
                    <a:pt x="155" y="111"/>
                  </a:lnTo>
                  <a:lnTo>
                    <a:pt x="159" y="120"/>
                  </a:lnTo>
                  <a:lnTo>
                    <a:pt x="162" y="130"/>
                  </a:lnTo>
                  <a:lnTo>
                    <a:pt x="164" y="139"/>
                  </a:lnTo>
                  <a:lnTo>
                    <a:pt x="157" y="139"/>
                  </a:lnTo>
                  <a:lnTo>
                    <a:pt x="147" y="137"/>
                  </a:lnTo>
                  <a:lnTo>
                    <a:pt x="147" y="142"/>
                  </a:lnTo>
                  <a:lnTo>
                    <a:pt x="149" y="148"/>
                  </a:lnTo>
                  <a:lnTo>
                    <a:pt x="153" y="152"/>
                  </a:lnTo>
                  <a:lnTo>
                    <a:pt x="157" y="154"/>
                  </a:lnTo>
                  <a:lnTo>
                    <a:pt x="164" y="157"/>
                  </a:lnTo>
                  <a:lnTo>
                    <a:pt x="170" y="161"/>
                  </a:lnTo>
                  <a:lnTo>
                    <a:pt x="170" y="172"/>
                  </a:lnTo>
                  <a:lnTo>
                    <a:pt x="171" y="183"/>
                  </a:lnTo>
                  <a:lnTo>
                    <a:pt x="195" y="191"/>
                  </a:lnTo>
                  <a:lnTo>
                    <a:pt x="216" y="200"/>
                  </a:lnTo>
                  <a:lnTo>
                    <a:pt x="223" y="205"/>
                  </a:lnTo>
                  <a:lnTo>
                    <a:pt x="229" y="213"/>
                  </a:lnTo>
                  <a:lnTo>
                    <a:pt x="232" y="220"/>
                  </a:lnTo>
                  <a:lnTo>
                    <a:pt x="234" y="227"/>
                  </a:lnTo>
                  <a:lnTo>
                    <a:pt x="242" y="226"/>
                  </a:lnTo>
                  <a:lnTo>
                    <a:pt x="249" y="220"/>
                  </a:lnTo>
                  <a:lnTo>
                    <a:pt x="275" y="248"/>
                  </a:lnTo>
                  <a:lnTo>
                    <a:pt x="304" y="272"/>
                  </a:lnTo>
                  <a:lnTo>
                    <a:pt x="332" y="296"/>
                  </a:lnTo>
                  <a:lnTo>
                    <a:pt x="354" y="314"/>
                  </a:lnTo>
                  <a:lnTo>
                    <a:pt x="364" y="325"/>
                  </a:lnTo>
                  <a:lnTo>
                    <a:pt x="371" y="335"/>
                  </a:lnTo>
                  <a:lnTo>
                    <a:pt x="391" y="346"/>
                  </a:lnTo>
                  <a:lnTo>
                    <a:pt x="412" y="357"/>
                  </a:lnTo>
                  <a:lnTo>
                    <a:pt x="423" y="357"/>
                  </a:lnTo>
                  <a:lnTo>
                    <a:pt x="432" y="359"/>
                  </a:lnTo>
                  <a:lnTo>
                    <a:pt x="437" y="362"/>
                  </a:lnTo>
                  <a:lnTo>
                    <a:pt x="445" y="364"/>
                  </a:lnTo>
                  <a:lnTo>
                    <a:pt x="449" y="368"/>
                  </a:lnTo>
                  <a:lnTo>
                    <a:pt x="450" y="372"/>
                  </a:lnTo>
                  <a:lnTo>
                    <a:pt x="450" y="377"/>
                  </a:lnTo>
                  <a:lnTo>
                    <a:pt x="449" y="381"/>
                  </a:lnTo>
                  <a:lnTo>
                    <a:pt x="421" y="375"/>
                  </a:lnTo>
                  <a:lnTo>
                    <a:pt x="393" y="373"/>
                  </a:lnTo>
                  <a:lnTo>
                    <a:pt x="380" y="373"/>
                  </a:lnTo>
                  <a:lnTo>
                    <a:pt x="369" y="377"/>
                  </a:lnTo>
                  <a:lnTo>
                    <a:pt x="358" y="381"/>
                  </a:lnTo>
                  <a:lnTo>
                    <a:pt x="347" y="388"/>
                  </a:lnTo>
                  <a:lnTo>
                    <a:pt x="345" y="397"/>
                  </a:lnTo>
                  <a:lnTo>
                    <a:pt x="345" y="407"/>
                  </a:lnTo>
                  <a:lnTo>
                    <a:pt x="347" y="414"/>
                  </a:lnTo>
                  <a:lnTo>
                    <a:pt x="351" y="420"/>
                  </a:lnTo>
                  <a:lnTo>
                    <a:pt x="354" y="429"/>
                  </a:lnTo>
                  <a:lnTo>
                    <a:pt x="360" y="438"/>
                  </a:lnTo>
                  <a:lnTo>
                    <a:pt x="360" y="449"/>
                  </a:lnTo>
                  <a:lnTo>
                    <a:pt x="362" y="460"/>
                  </a:lnTo>
                  <a:lnTo>
                    <a:pt x="365" y="471"/>
                  </a:lnTo>
                  <a:lnTo>
                    <a:pt x="369" y="482"/>
                  </a:lnTo>
                  <a:lnTo>
                    <a:pt x="375" y="490"/>
                  </a:lnTo>
                  <a:lnTo>
                    <a:pt x="380" y="499"/>
                  </a:lnTo>
                  <a:lnTo>
                    <a:pt x="386" y="508"/>
                  </a:lnTo>
                  <a:lnTo>
                    <a:pt x="389" y="518"/>
                  </a:lnTo>
                  <a:lnTo>
                    <a:pt x="397" y="536"/>
                  </a:lnTo>
                  <a:lnTo>
                    <a:pt x="404" y="549"/>
                  </a:lnTo>
                  <a:lnTo>
                    <a:pt x="419" y="556"/>
                  </a:lnTo>
                  <a:lnTo>
                    <a:pt x="434" y="560"/>
                  </a:lnTo>
                  <a:lnTo>
                    <a:pt x="449" y="566"/>
                  </a:lnTo>
                  <a:lnTo>
                    <a:pt x="463" y="571"/>
                  </a:lnTo>
                  <a:lnTo>
                    <a:pt x="482" y="590"/>
                  </a:lnTo>
                  <a:lnTo>
                    <a:pt x="495" y="599"/>
                  </a:lnTo>
                  <a:lnTo>
                    <a:pt x="498" y="586"/>
                  </a:lnTo>
                  <a:lnTo>
                    <a:pt x="500" y="575"/>
                  </a:lnTo>
                  <a:lnTo>
                    <a:pt x="509" y="579"/>
                  </a:lnTo>
                  <a:lnTo>
                    <a:pt x="517" y="586"/>
                  </a:lnTo>
                  <a:lnTo>
                    <a:pt x="524" y="593"/>
                  </a:lnTo>
                  <a:lnTo>
                    <a:pt x="532" y="601"/>
                  </a:lnTo>
                  <a:lnTo>
                    <a:pt x="535" y="610"/>
                  </a:lnTo>
                  <a:lnTo>
                    <a:pt x="539" y="621"/>
                  </a:lnTo>
                  <a:lnTo>
                    <a:pt x="541" y="632"/>
                  </a:lnTo>
                  <a:lnTo>
                    <a:pt x="541" y="645"/>
                  </a:lnTo>
                  <a:lnTo>
                    <a:pt x="535" y="641"/>
                  </a:lnTo>
                  <a:lnTo>
                    <a:pt x="530" y="632"/>
                  </a:lnTo>
                  <a:lnTo>
                    <a:pt x="526" y="627"/>
                  </a:lnTo>
                  <a:lnTo>
                    <a:pt x="521" y="623"/>
                  </a:lnTo>
                  <a:lnTo>
                    <a:pt x="515" y="619"/>
                  </a:lnTo>
                  <a:lnTo>
                    <a:pt x="508" y="617"/>
                  </a:lnTo>
                  <a:lnTo>
                    <a:pt x="495" y="625"/>
                  </a:lnTo>
                  <a:lnTo>
                    <a:pt x="487" y="628"/>
                  </a:lnTo>
                  <a:lnTo>
                    <a:pt x="482" y="628"/>
                  </a:lnTo>
                  <a:lnTo>
                    <a:pt x="469" y="630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9382422" y="712739"/>
              <a:ext cx="1407704" cy="1799151"/>
            </a:xfrm>
            <a:custGeom>
              <a:avLst/>
              <a:gdLst>
                <a:gd name="T0" fmla="*/ 203521 w 811"/>
                <a:gd name="T1" fmla="*/ 196850 h 956"/>
                <a:gd name="T2" fmla="*/ 222555 w 811"/>
                <a:gd name="T3" fmla="*/ 331788 h 956"/>
                <a:gd name="T4" fmla="*/ 168381 w 811"/>
                <a:gd name="T5" fmla="*/ 296863 h 956"/>
                <a:gd name="T6" fmla="*/ 1125954 w 811"/>
                <a:gd name="T7" fmla="*/ 1017588 h 956"/>
                <a:gd name="T8" fmla="*/ 1103992 w 811"/>
                <a:gd name="T9" fmla="*/ 901700 h 956"/>
                <a:gd name="T10" fmla="*/ 1082029 w 811"/>
                <a:gd name="T11" fmla="*/ 850900 h 956"/>
                <a:gd name="T12" fmla="*/ 1133275 w 811"/>
                <a:gd name="T13" fmla="*/ 830263 h 956"/>
                <a:gd name="T14" fmla="*/ 1164023 w 811"/>
                <a:gd name="T15" fmla="*/ 763587 h 956"/>
                <a:gd name="T16" fmla="*/ 1095207 w 811"/>
                <a:gd name="T17" fmla="*/ 715963 h 956"/>
                <a:gd name="T18" fmla="*/ 969287 w 811"/>
                <a:gd name="T19" fmla="*/ 725488 h 956"/>
                <a:gd name="T20" fmla="*/ 931219 w 811"/>
                <a:gd name="T21" fmla="*/ 728663 h 956"/>
                <a:gd name="T22" fmla="*/ 884365 w 811"/>
                <a:gd name="T23" fmla="*/ 742950 h 956"/>
                <a:gd name="T24" fmla="*/ 849225 w 811"/>
                <a:gd name="T25" fmla="*/ 750888 h 956"/>
                <a:gd name="T26" fmla="*/ 879972 w 811"/>
                <a:gd name="T27" fmla="*/ 728663 h 956"/>
                <a:gd name="T28" fmla="*/ 862402 w 811"/>
                <a:gd name="T29" fmla="*/ 536575 h 956"/>
                <a:gd name="T30" fmla="*/ 811156 w 811"/>
                <a:gd name="T31" fmla="*/ 536575 h 956"/>
                <a:gd name="T32" fmla="*/ 756981 w 811"/>
                <a:gd name="T33" fmla="*/ 490538 h 956"/>
                <a:gd name="T34" fmla="*/ 784801 w 811"/>
                <a:gd name="T35" fmla="*/ 446088 h 956"/>
                <a:gd name="T36" fmla="*/ 881436 w 811"/>
                <a:gd name="T37" fmla="*/ 473075 h 956"/>
                <a:gd name="T38" fmla="*/ 915113 w 811"/>
                <a:gd name="T39" fmla="*/ 358775 h 956"/>
                <a:gd name="T40" fmla="*/ 986857 w 811"/>
                <a:gd name="T41" fmla="*/ 369888 h 956"/>
                <a:gd name="T42" fmla="*/ 1079101 w 811"/>
                <a:gd name="T43" fmla="*/ 293688 h 956"/>
                <a:gd name="T44" fmla="*/ 1101063 w 811"/>
                <a:gd name="T45" fmla="*/ 207963 h 956"/>
                <a:gd name="T46" fmla="*/ 1039568 w 811"/>
                <a:gd name="T47" fmla="*/ 214313 h 956"/>
                <a:gd name="T48" fmla="*/ 1008820 w 811"/>
                <a:gd name="T49" fmla="*/ 168275 h 956"/>
                <a:gd name="T50" fmla="*/ 941468 w 811"/>
                <a:gd name="T51" fmla="*/ 161925 h 956"/>
                <a:gd name="T52" fmla="*/ 976608 w 811"/>
                <a:gd name="T53" fmla="*/ 114300 h 956"/>
                <a:gd name="T54" fmla="*/ 944396 w 811"/>
                <a:gd name="T55" fmla="*/ 20638 h 956"/>
                <a:gd name="T56" fmla="*/ 846296 w 811"/>
                <a:gd name="T57" fmla="*/ 71438 h 956"/>
                <a:gd name="T58" fmla="*/ 800907 w 811"/>
                <a:gd name="T59" fmla="*/ 123825 h 956"/>
                <a:gd name="T60" fmla="*/ 755517 w 811"/>
                <a:gd name="T61" fmla="*/ 207963 h 956"/>
                <a:gd name="T62" fmla="*/ 846296 w 811"/>
                <a:gd name="T63" fmla="*/ 214313 h 956"/>
                <a:gd name="T64" fmla="*/ 787729 w 811"/>
                <a:gd name="T65" fmla="*/ 241300 h 956"/>
                <a:gd name="T66" fmla="*/ 705735 w 811"/>
                <a:gd name="T67" fmla="*/ 241300 h 956"/>
                <a:gd name="T68" fmla="*/ 670594 w 811"/>
                <a:gd name="T69" fmla="*/ 269875 h 956"/>
                <a:gd name="T70" fmla="*/ 568102 w 811"/>
                <a:gd name="T71" fmla="*/ 311150 h 956"/>
                <a:gd name="T72" fmla="*/ 389472 w 811"/>
                <a:gd name="T73" fmla="*/ 422275 h 956"/>
                <a:gd name="T74" fmla="*/ 338226 w 811"/>
                <a:gd name="T75" fmla="*/ 463550 h 956"/>
                <a:gd name="T76" fmla="*/ 270873 w 811"/>
                <a:gd name="T77" fmla="*/ 552450 h 956"/>
                <a:gd name="T78" fmla="*/ 243054 w 811"/>
                <a:gd name="T79" fmla="*/ 633413 h 956"/>
                <a:gd name="T80" fmla="*/ 146418 w 811"/>
                <a:gd name="T81" fmla="*/ 709613 h 956"/>
                <a:gd name="T82" fmla="*/ 181558 w 811"/>
                <a:gd name="T83" fmla="*/ 771525 h 956"/>
                <a:gd name="T84" fmla="*/ 284051 w 811"/>
                <a:gd name="T85" fmla="*/ 795337 h 956"/>
                <a:gd name="T86" fmla="*/ 257696 w 811"/>
                <a:gd name="T87" fmla="*/ 850900 h 956"/>
                <a:gd name="T88" fmla="*/ 181558 w 811"/>
                <a:gd name="T89" fmla="*/ 868363 h 956"/>
                <a:gd name="T90" fmla="*/ 105421 w 811"/>
                <a:gd name="T91" fmla="*/ 930275 h 956"/>
                <a:gd name="T92" fmla="*/ 24891 w 811"/>
                <a:gd name="T93" fmla="*/ 1020763 h 956"/>
                <a:gd name="T94" fmla="*/ 102493 w 811"/>
                <a:gd name="T95" fmla="*/ 1144588 h 956"/>
                <a:gd name="T96" fmla="*/ 43925 w 811"/>
                <a:gd name="T97" fmla="*/ 1303338 h 956"/>
                <a:gd name="T98" fmla="*/ 79066 w 811"/>
                <a:gd name="T99" fmla="*/ 1411288 h 956"/>
                <a:gd name="T100" fmla="*/ 197664 w 811"/>
                <a:gd name="T101" fmla="*/ 1473200 h 956"/>
                <a:gd name="T102" fmla="*/ 311870 w 811"/>
                <a:gd name="T103" fmla="*/ 1501775 h 956"/>
                <a:gd name="T104" fmla="*/ 420220 w 811"/>
                <a:gd name="T105" fmla="*/ 1455738 h 956"/>
                <a:gd name="T106" fmla="*/ 500750 w 811"/>
                <a:gd name="T107" fmla="*/ 1393825 h 956"/>
                <a:gd name="T108" fmla="*/ 554924 w 811"/>
                <a:gd name="T109" fmla="*/ 1346200 h 956"/>
                <a:gd name="T110" fmla="*/ 622277 w 811"/>
                <a:gd name="T111" fmla="*/ 1265238 h 956"/>
                <a:gd name="T112" fmla="*/ 739411 w 811"/>
                <a:gd name="T113" fmla="*/ 1196975 h 956"/>
                <a:gd name="T114" fmla="*/ 800907 w 811"/>
                <a:gd name="T115" fmla="*/ 1247775 h 956"/>
                <a:gd name="T116" fmla="*/ 909256 w 811"/>
                <a:gd name="T117" fmla="*/ 1235075 h 956"/>
                <a:gd name="T118" fmla="*/ 989786 w 811"/>
                <a:gd name="T119" fmla="*/ 1171575 h 956"/>
                <a:gd name="T120" fmla="*/ 1043960 w 811"/>
                <a:gd name="T121" fmla="*/ 1023938 h 956"/>
                <a:gd name="T122" fmla="*/ 155203 w 811"/>
                <a:gd name="T123" fmla="*/ 792162 h 956"/>
                <a:gd name="T124" fmla="*/ 101028 w 811"/>
                <a:gd name="T125" fmla="*/ 819150 h 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11"/>
                <a:gd name="T190" fmla="*/ 0 h 956"/>
                <a:gd name="T191" fmla="*/ 811 w 811"/>
                <a:gd name="T192" fmla="*/ 956 h 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11" h="956">
                  <a:moveTo>
                    <a:pt x="111" y="155"/>
                  </a:moveTo>
                  <a:lnTo>
                    <a:pt x="109" y="152"/>
                  </a:lnTo>
                  <a:lnTo>
                    <a:pt x="109" y="146"/>
                  </a:lnTo>
                  <a:lnTo>
                    <a:pt x="109" y="141"/>
                  </a:lnTo>
                  <a:lnTo>
                    <a:pt x="111" y="137"/>
                  </a:lnTo>
                  <a:lnTo>
                    <a:pt x="115" y="133"/>
                  </a:lnTo>
                  <a:lnTo>
                    <a:pt x="120" y="131"/>
                  </a:lnTo>
                  <a:lnTo>
                    <a:pt x="126" y="130"/>
                  </a:lnTo>
                  <a:lnTo>
                    <a:pt x="133" y="131"/>
                  </a:lnTo>
                  <a:lnTo>
                    <a:pt x="139" y="124"/>
                  </a:lnTo>
                  <a:lnTo>
                    <a:pt x="146" y="119"/>
                  </a:lnTo>
                  <a:lnTo>
                    <a:pt x="152" y="117"/>
                  </a:lnTo>
                  <a:lnTo>
                    <a:pt x="159" y="117"/>
                  </a:lnTo>
                  <a:lnTo>
                    <a:pt x="161" y="131"/>
                  </a:lnTo>
                  <a:lnTo>
                    <a:pt x="163" y="144"/>
                  </a:lnTo>
                  <a:lnTo>
                    <a:pt x="163" y="157"/>
                  </a:lnTo>
                  <a:lnTo>
                    <a:pt x="161" y="170"/>
                  </a:lnTo>
                  <a:lnTo>
                    <a:pt x="157" y="185"/>
                  </a:lnTo>
                  <a:lnTo>
                    <a:pt x="154" y="202"/>
                  </a:lnTo>
                  <a:lnTo>
                    <a:pt x="152" y="209"/>
                  </a:lnTo>
                  <a:lnTo>
                    <a:pt x="150" y="218"/>
                  </a:lnTo>
                  <a:lnTo>
                    <a:pt x="146" y="226"/>
                  </a:lnTo>
                  <a:lnTo>
                    <a:pt x="142" y="229"/>
                  </a:lnTo>
                  <a:lnTo>
                    <a:pt x="137" y="228"/>
                  </a:lnTo>
                  <a:lnTo>
                    <a:pt x="135" y="226"/>
                  </a:lnTo>
                  <a:lnTo>
                    <a:pt x="131" y="220"/>
                  </a:lnTo>
                  <a:lnTo>
                    <a:pt x="130" y="216"/>
                  </a:lnTo>
                  <a:lnTo>
                    <a:pt x="126" y="205"/>
                  </a:lnTo>
                  <a:lnTo>
                    <a:pt x="122" y="194"/>
                  </a:lnTo>
                  <a:lnTo>
                    <a:pt x="115" y="187"/>
                  </a:lnTo>
                  <a:lnTo>
                    <a:pt x="109" y="181"/>
                  </a:lnTo>
                  <a:lnTo>
                    <a:pt x="106" y="176"/>
                  </a:lnTo>
                  <a:lnTo>
                    <a:pt x="106" y="170"/>
                  </a:lnTo>
                  <a:lnTo>
                    <a:pt x="106" y="163"/>
                  </a:lnTo>
                  <a:lnTo>
                    <a:pt x="111" y="155"/>
                  </a:lnTo>
                  <a:close/>
                  <a:moveTo>
                    <a:pt x="765" y="664"/>
                  </a:moveTo>
                  <a:lnTo>
                    <a:pt x="769" y="658"/>
                  </a:lnTo>
                  <a:lnTo>
                    <a:pt x="771" y="651"/>
                  </a:lnTo>
                  <a:lnTo>
                    <a:pt x="771" y="647"/>
                  </a:lnTo>
                  <a:lnTo>
                    <a:pt x="769" y="641"/>
                  </a:lnTo>
                  <a:lnTo>
                    <a:pt x="767" y="636"/>
                  </a:lnTo>
                  <a:lnTo>
                    <a:pt x="761" y="629"/>
                  </a:lnTo>
                  <a:lnTo>
                    <a:pt x="767" y="621"/>
                  </a:lnTo>
                  <a:lnTo>
                    <a:pt x="767" y="617"/>
                  </a:lnTo>
                  <a:lnTo>
                    <a:pt x="765" y="612"/>
                  </a:lnTo>
                  <a:lnTo>
                    <a:pt x="761" y="603"/>
                  </a:lnTo>
                  <a:lnTo>
                    <a:pt x="763" y="593"/>
                  </a:lnTo>
                  <a:lnTo>
                    <a:pt x="765" y="584"/>
                  </a:lnTo>
                  <a:lnTo>
                    <a:pt x="759" y="575"/>
                  </a:lnTo>
                  <a:lnTo>
                    <a:pt x="754" y="568"/>
                  </a:lnTo>
                  <a:lnTo>
                    <a:pt x="756" y="564"/>
                  </a:lnTo>
                  <a:lnTo>
                    <a:pt x="758" y="558"/>
                  </a:lnTo>
                  <a:lnTo>
                    <a:pt x="759" y="553"/>
                  </a:lnTo>
                  <a:lnTo>
                    <a:pt x="758" y="547"/>
                  </a:lnTo>
                  <a:lnTo>
                    <a:pt x="748" y="545"/>
                  </a:lnTo>
                  <a:lnTo>
                    <a:pt x="735" y="545"/>
                  </a:lnTo>
                  <a:lnTo>
                    <a:pt x="734" y="545"/>
                  </a:lnTo>
                  <a:lnTo>
                    <a:pt x="734" y="542"/>
                  </a:lnTo>
                  <a:lnTo>
                    <a:pt x="735" y="540"/>
                  </a:lnTo>
                  <a:lnTo>
                    <a:pt x="739" y="536"/>
                  </a:lnTo>
                  <a:lnTo>
                    <a:pt x="741" y="534"/>
                  </a:lnTo>
                  <a:lnTo>
                    <a:pt x="745" y="532"/>
                  </a:lnTo>
                  <a:lnTo>
                    <a:pt x="748" y="534"/>
                  </a:lnTo>
                  <a:lnTo>
                    <a:pt x="752" y="538"/>
                  </a:lnTo>
                  <a:lnTo>
                    <a:pt x="754" y="538"/>
                  </a:lnTo>
                  <a:lnTo>
                    <a:pt x="758" y="538"/>
                  </a:lnTo>
                  <a:lnTo>
                    <a:pt x="759" y="538"/>
                  </a:lnTo>
                  <a:lnTo>
                    <a:pt x="763" y="536"/>
                  </a:lnTo>
                  <a:lnTo>
                    <a:pt x="769" y="531"/>
                  </a:lnTo>
                  <a:lnTo>
                    <a:pt x="774" y="523"/>
                  </a:lnTo>
                  <a:lnTo>
                    <a:pt x="787" y="508"/>
                  </a:lnTo>
                  <a:lnTo>
                    <a:pt x="796" y="497"/>
                  </a:lnTo>
                  <a:lnTo>
                    <a:pt x="802" y="494"/>
                  </a:lnTo>
                  <a:lnTo>
                    <a:pt x="806" y="492"/>
                  </a:lnTo>
                  <a:lnTo>
                    <a:pt x="809" y="490"/>
                  </a:lnTo>
                  <a:lnTo>
                    <a:pt x="811" y="490"/>
                  </a:lnTo>
                  <a:lnTo>
                    <a:pt x="811" y="488"/>
                  </a:lnTo>
                  <a:lnTo>
                    <a:pt x="811" y="484"/>
                  </a:lnTo>
                  <a:lnTo>
                    <a:pt x="804" y="483"/>
                  </a:lnTo>
                  <a:lnTo>
                    <a:pt x="795" y="481"/>
                  </a:lnTo>
                  <a:lnTo>
                    <a:pt x="796" y="475"/>
                  </a:lnTo>
                  <a:lnTo>
                    <a:pt x="796" y="468"/>
                  </a:lnTo>
                  <a:lnTo>
                    <a:pt x="793" y="462"/>
                  </a:lnTo>
                  <a:lnTo>
                    <a:pt x="787" y="457"/>
                  </a:lnTo>
                  <a:lnTo>
                    <a:pt x="769" y="462"/>
                  </a:lnTo>
                  <a:lnTo>
                    <a:pt x="752" y="468"/>
                  </a:lnTo>
                  <a:lnTo>
                    <a:pt x="752" y="464"/>
                  </a:lnTo>
                  <a:lnTo>
                    <a:pt x="752" y="459"/>
                  </a:lnTo>
                  <a:lnTo>
                    <a:pt x="752" y="455"/>
                  </a:lnTo>
                  <a:lnTo>
                    <a:pt x="748" y="451"/>
                  </a:lnTo>
                  <a:lnTo>
                    <a:pt x="737" y="457"/>
                  </a:lnTo>
                  <a:lnTo>
                    <a:pt x="728" y="466"/>
                  </a:lnTo>
                  <a:lnTo>
                    <a:pt x="722" y="462"/>
                  </a:lnTo>
                  <a:lnTo>
                    <a:pt x="715" y="459"/>
                  </a:lnTo>
                  <a:lnTo>
                    <a:pt x="708" y="470"/>
                  </a:lnTo>
                  <a:lnTo>
                    <a:pt x="700" y="475"/>
                  </a:lnTo>
                  <a:lnTo>
                    <a:pt x="695" y="466"/>
                  </a:lnTo>
                  <a:lnTo>
                    <a:pt x="687" y="453"/>
                  </a:lnTo>
                  <a:lnTo>
                    <a:pt x="674" y="455"/>
                  </a:lnTo>
                  <a:lnTo>
                    <a:pt x="662" y="457"/>
                  </a:lnTo>
                  <a:lnTo>
                    <a:pt x="662" y="453"/>
                  </a:lnTo>
                  <a:lnTo>
                    <a:pt x="660" y="449"/>
                  </a:lnTo>
                  <a:lnTo>
                    <a:pt x="660" y="447"/>
                  </a:lnTo>
                  <a:lnTo>
                    <a:pt x="656" y="447"/>
                  </a:lnTo>
                  <a:lnTo>
                    <a:pt x="645" y="449"/>
                  </a:lnTo>
                  <a:lnTo>
                    <a:pt x="636" y="449"/>
                  </a:lnTo>
                  <a:lnTo>
                    <a:pt x="634" y="453"/>
                  </a:lnTo>
                  <a:lnTo>
                    <a:pt x="632" y="455"/>
                  </a:lnTo>
                  <a:lnTo>
                    <a:pt x="634" y="457"/>
                  </a:lnTo>
                  <a:lnTo>
                    <a:pt x="636" y="459"/>
                  </a:lnTo>
                  <a:lnTo>
                    <a:pt x="639" y="462"/>
                  </a:lnTo>
                  <a:lnTo>
                    <a:pt x="643" y="466"/>
                  </a:lnTo>
                  <a:lnTo>
                    <a:pt x="639" y="470"/>
                  </a:lnTo>
                  <a:lnTo>
                    <a:pt x="634" y="470"/>
                  </a:lnTo>
                  <a:lnTo>
                    <a:pt x="630" y="468"/>
                  </a:lnTo>
                  <a:lnTo>
                    <a:pt x="626" y="470"/>
                  </a:lnTo>
                  <a:lnTo>
                    <a:pt x="617" y="473"/>
                  </a:lnTo>
                  <a:lnTo>
                    <a:pt x="614" y="473"/>
                  </a:lnTo>
                  <a:lnTo>
                    <a:pt x="610" y="471"/>
                  </a:lnTo>
                  <a:lnTo>
                    <a:pt x="604" y="468"/>
                  </a:lnTo>
                  <a:lnTo>
                    <a:pt x="601" y="466"/>
                  </a:lnTo>
                  <a:lnTo>
                    <a:pt x="599" y="468"/>
                  </a:lnTo>
                  <a:lnTo>
                    <a:pt x="593" y="479"/>
                  </a:lnTo>
                  <a:lnTo>
                    <a:pt x="586" y="497"/>
                  </a:lnTo>
                  <a:lnTo>
                    <a:pt x="577" y="499"/>
                  </a:lnTo>
                  <a:lnTo>
                    <a:pt x="565" y="501"/>
                  </a:lnTo>
                  <a:lnTo>
                    <a:pt x="577" y="486"/>
                  </a:lnTo>
                  <a:lnTo>
                    <a:pt x="586" y="473"/>
                  </a:lnTo>
                  <a:lnTo>
                    <a:pt x="584" y="471"/>
                  </a:lnTo>
                  <a:lnTo>
                    <a:pt x="580" y="473"/>
                  </a:lnTo>
                  <a:lnTo>
                    <a:pt x="577" y="475"/>
                  </a:lnTo>
                  <a:lnTo>
                    <a:pt x="571" y="477"/>
                  </a:lnTo>
                  <a:lnTo>
                    <a:pt x="565" y="481"/>
                  </a:lnTo>
                  <a:lnTo>
                    <a:pt x="562" y="481"/>
                  </a:lnTo>
                  <a:lnTo>
                    <a:pt x="556" y="481"/>
                  </a:lnTo>
                  <a:lnTo>
                    <a:pt x="554" y="477"/>
                  </a:lnTo>
                  <a:lnTo>
                    <a:pt x="562" y="471"/>
                  </a:lnTo>
                  <a:lnTo>
                    <a:pt x="571" y="466"/>
                  </a:lnTo>
                  <a:lnTo>
                    <a:pt x="586" y="462"/>
                  </a:lnTo>
                  <a:lnTo>
                    <a:pt x="601" y="459"/>
                  </a:lnTo>
                  <a:lnTo>
                    <a:pt x="606" y="455"/>
                  </a:lnTo>
                  <a:lnTo>
                    <a:pt x="610" y="447"/>
                  </a:lnTo>
                  <a:lnTo>
                    <a:pt x="614" y="442"/>
                  </a:lnTo>
                  <a:lnTo>
                    <a:pt x="617" y="433"/>
                  </a:lnTo>
                  <a:lnTo>
                    <a:pt x="621" y="418"/>
                  </a:lnTo>
                  <a:lnTo>
                    <a:pt x="623" y="405"/>
                  </a:lnTo>
                  <a:lnTo>
                    <a:pt x="612" y="383"/>
                  </a:lnTo>
                  <a:lnTo>
                    <a:pt x="604" y="361"/>
                  </a:lnTo>
                  <a:lnTo>
                    <a:pt x="595" y="348"/>
                  </a:lnTo>
                  <a:lnTo>
                    <a:pt x="589" y="338"/>
                  </a:lnTo>
                  <a:lnTo>
                    <a:pt x="588" y="333"/>
                  </a:lnTo>
                  <a:lnTo>
                    <a:pt x="584" y="329"/>
                  </a:lnTo>
                  <a:lnTo>
                    <a:pt x="580" y="325"/>
                  </a:lnTo>
                  <a:lnTo>
                    <a:pt x="575" y="324"/>
                  </a:lnTo>
                  <a:lnTo>
                    <a:pt x="573" y="322"/>
                  </a:lnTo>
                  <a:lnTo>
                    <a:pt x="569" y="324"/>
                  </a:lnTo>
                  <a:lnTo>
                    <a:pt x="567" y="325"/>
                  </a:lnTo>
                  <a:lnTo>
                    <a:pt x="565" y="327"/>
                  </a:lnTo>
                  <a:lnTo>
                    <a:pt x="560" y="333"/>
                  </a:lnTo>
                  <a:lnTo>
                    <a:pt x="554" y="338"/>
                  </a:lnTo>
                  <a:lnTo>
                    <a:pt x="551" y="337"/>
                  </a:lnTo>
                  <a:lnTo>
                    <a:pt x="547" y="335"/>
                  </a:lnTo>
                  <a:lnTo>
                    <a:pt x="543" y="333"/>
                  </a:lnTo>
                  <a:lnTo>
                    <a:pt x="541" y="329"/>
                  </a:lnTo>
                  <a:lnTo>
                    <a:pt x="540" y="324"/>
                  </a:lnTo>
                  <a:lnTo>
                    <a:pt x="538" y="316"/>
                  </a:lnTo>
                  <a:lnTo>
                    <a:pt x="525" y="316"/>
                  </a:lnTo>
                  <a:lnTo>
                    <a:pt x="519" y="316"/>
                  </a:lnTo>
                  <a:lnTo>
                    <a:pt x="516" y="313"/>
                  </a:lnTo>
                  <a:lnTo>
                    <a:pt x="517" y="309"/>
                  </a:lnTo>
                  <a:lnTo>
                    <a:pt x="519" y="305"/>
                  </a:lnTo>
                  <a:lnTo>
                    <a:pt x="521" y="303"/>
                  </a:lnTo>
                  <a:lnTo>
                    <a:pt x="523" y="303"/>
                  </a:lnTo>
                  <a:lnTo>
                    <a:pt x="525" y="303"/>
                  </a:lnTo>
                  <a:lnTo>
                    <a:pt x="529" y="305"/>
                  </a:lnTo>
                  <a:lnTo>
                    <a:pt x="534" y="305"/>
                  </a:lnTo>
                  <a:lnTo>
                    <a:pt x="530" y="292"/>
                  </a:lnTo>
                  <a:lnTo>
                    <a:pt x="525" y="281"/>
                  </a:lnTo>
                  <a:lnTo>
                    <a:pt x="530" y="279"/>
                  </a:lnTo>
                  <a:lnTo>
                    <a:pt x="536" y="281"/>
                  </a:lnTo>
                  <a:lnTo>
                    <a:pt x="540" y="285"/>
                  </a:lnTo>
                  <a:lnTo>
                    <a:pt x="545" y="290"/>
                  </a:lnTo>
                  <a:lnTo>
                    <a:pt x="553" y="301"/>
                  </a:lnTo>
                  <a:lnTo>
                    <a:pt x="558" y="305"/>
                  </a:lnTo>
                  <a:lnTo>
                    <a:pt x="569" y="301"/>
                  </a:lnTo>
                  <a:lnTo>
                    <a:pt x="575" y="300"/>
                  </a:lnTo>
                  <a:lnTo>
                    <a:pt x="582" y="301"/>
                  </a:lnTo>
                  <a:lnTo>
                    <a:pt x="589" y="305"/>
                  </a:lnTo>
                  <a:lnTo>
                    <a:pt x="597" y="303"/>
                  </a:lnTo>
                  <a:lnTo>
                    <a:pt x="602" y="298"/>
                  </a:lnTo>
                  <a:lnTo>
                    <a:pt x="604" y="292"/>
                  </a:lnTo>
                  <a:lnTo>
                    <a:pt x="606" y="287"/>
                  </a:lnTo>
                  <a:lnTo>
                    <a:pt x="606" y="274"/>
                  </a:lnTo>
                  <a:lnTo>
                    <a:pt x="606" y="261"/>
                  </a:lnTo>
                  <a:lnTo>
                    <a:pt x="612" y="253"/>
                  </a:lnTo>
                  <a:lnTo>
                    <a:pt x="617" y="250"/>
                  </a:lnTo>
                  <a:lnTo>
                    <a:pt x="619" y="246"/>
                  </a:lnTo>
                  <a:lnTo>
                    <a:pt x="621" y="242"/>
                  </a:lnTo>
                  <a:lnTo>
                    <a:pt x="623" y="235"/>
                  </a:lnTo>
                  <a:lnTo>
                    <a:pt x="625" y="226"/>
                  </a:lnTo>
                  <a:lnTo>
                    <a:pt x="628" y="222"/>
                  </a:lnTo>
                  <a:lnTo>
                    <a:pt x="630" y="222"/>
                  </a:lnTo>
                  <a:lnTo>
                    <a:pt x="634" y="224"/>
                  </a:lnTo>
                  <a:lnTo>
                    <a:pt x="638" y="226"/>
                  </a:lnTo>
                  <a:lnTo>
                    <a:pt x="643" y="226"/>
                  </a:lnTo>
                  <a:lnTo>
                    <a:pt x="649" y="224"/>
                  </a:lnTo>
                  <a:lnTo>
                    <a:pt x="658" y="235"/>
                  </a:lnTo>
                  <a:lnTo>
                    <a:pt x="667" y="242"/>
                  </a:lnTo>
                  <a:lnTo>
                    <a:pt x="671" y="239"/>
                  </a:lnTo>
                  <a:lnTo>
                    <a:pt x="674" y="233"/>
                  </a:lnTo>
                  <a:lnTo>
                    <a:pt x="676" y="231"/>
                  </a:lnTo>
                  <a:lnTo>
                    <a:pt x="680" y="229"/>
                  </a:lnTo>
                  <a:lnTo>
                    <a:pt x="684" y="229"/>
                  </a:lnTo>
                  <a:lnTo>
                    <a:pt x="687" y="229"/>
                  </a:lnTo>
                  <a:lnTo>
                    <a:pt x="689" y="220"/>
                  </a:lnTo>
                  <a:lnTo>
                    <a:pt x="693" y="213"/>
                  </a:lnTo>
                  <a:lnTo>
                    <a:pt x="698" y="207"/>
                  </a:lnTo>
                  <a:lnTo>
                    <a:pt x="706" y="202"/>
                  </a:lnTo>
                  <a:lnTo>
                    <a:pt x="721" y="192"/>
                  </a:lnTo>
                  <a:lnTo>
                    <a:pt x="737" y="185"/>
                  </a:lnTo>
                  <a:lnTo>
                    <a:pt x="734" y="174"/>
                  </a:lnTo>
                  <a:lnTo>
                    <a:pt x="728" y="163"/>
                  </a:lnTo>
                  <a:lnTo>
                    <a:pt x="737" y="165"/>
                  </a:lnTo>
                  <a:lnTo>
                    <a:pt x="748" y="165"/>
                  </a:lnTo>
                  <a:lnTo>
                    <a:pt x="747" y="154"/>
                  </a:lnTo>
                  <a:lnTo>
                    <a:pt x="743" y="144"/>
                  </a:lnTo>
                  <a:lnTo>
                    <a:pt x="752" y="143"/>
                  </a:lnTo>
                  <a:lnTo>
                    <a:pt x="756" y="139"/>
                  </a:lnTo>
                  <a:lnTo>
                    <a:pt x="756" y="135"/>
                  </a:lnTo>
                  <a:lnTo>
                    <a:pt x="752" y="131"/>
                  </a:lnTo>
                  <a:lnTo>
                    <a:pt x="748" y="130"/>
                  </a:lnTo>
                  <a:lnTo>
                    <a:pt x="743" y="128"/>
                  </a:lnTo>
                  <a:lnTo>
                    <a:pt x="737" y="128"/>
                  </a:lnTo>
                  <a:lnTo>
                    <a:pt x="732" y="131"/>
                  </a:lnTo>
                  <a:lnTo>
                    <a:pt x="728" y="135"/>
                  </a:lnTo>
                  <a:lnTo>
                    <a:pt x="721" y="141"/>
                  </a:lnTo>
                  <a:lnTo>
                    <a:pt x="715" y="141"/>
                  </a:lnTo>
                  <a:lnTo>
                    <a:pt x="711" y="139"/>
                  </a:lnTo>
                  <a:lnTo>
                    <a:pt x="710" y="137"/>
                  </a:lnTo>
                  <a:lnTo>
                    <a:pt x="710" y="135"/>
                  </a:lnTo>
                  <a:lnTo>
                    <a:pt x="717" y="131"/>
                  </a:lnTo>
                  <a:lnTo>
                    <a:pt x="724" y="126"/>
                  </a:lnTo>
                  <a:lnTo>
                    <a:pt x="724" y="124"/>
                  </a:lnTo>
                  <a:lnTo>
                    <a:pt x="722" y="122"/>
                  </a:lnTo>
                  <a:lnTo>
                    <a:pt x="721" y="120"/>
                  </a:lnTo>
                  <a:lnTo>
                    <a:pt x="717" y="120"/>
                  </a:lnTo>
                  <a:lnTo>
                    <a:pt x="710" y="120"/>
                  </a:lnTo>
                  <a:lnTo>
                    <a:pt x="702" y="119"/>
                  </a:lnTo>
                  <a:lnTo>
                    <a:pt x="697" y="113"/>
                  </a:lnTo>
                  <a:lnTo>
                    <a:pt x="689" y="106"/>
                  </a:lnTo>
                  <a:lnTo>
                    <a:pt x="686" y="109"/>
                  </a:lnTo>
                  <a:lnTo>
                    <a:pt x="678" y="115"/>
                  </a:lnTo>
                  <a:lnTo>
                    <a:pt x="676" y="109"/>
                  </a:lnTo>
                  <a:lnTo>
                    <a:pt x="674" y="106"/>
                  </a:lnTo>
                  <a:lnTo>
                    <a:pt x="667" y="106"/>
                  </a:lnTo>
                  <a:lnTo>
                    <a:pt x="662" y="107"/>
                  </a:lnTo>
                  <a:lnTo>
                    <a:pt x="654" y="109"/>
                  </a:lnTo>
                  <a:lnTo>
                    <a:pt x="643" y="107"/>
                  </a:lnTo>
                  <a:lnTo>
                    <a:pt x="643" y="106"/>
                  </a:lnTo>
                  <a:lnTo>
                    <a:pt x="643" y="102"/>
                  </a:lnTo>
                  <a:lnTo>
                    <a:pt x="645" y="100"/>
                  </a:lnTo>
                  <a:lnTo>
                    <a:pt x="649" y="98"/>
                  </a:lnTo>
                  <a:lnTo>
                    <a:pt x="654" y="94"/>
                  </a:lnTo>
                  <a:lnTo>
                    <a:pt x="663" y="91"/>
                  </a:lnTo>
                  <a:lnTo>
                    <a:pt x="665" y="89"/>
                  </a:lnTo>
                  <a:lnTo>
                    <a:pt x="665" y="85"/>
                  </a:lnTo>
                  <a:lnTo>
                    <a:pt x="663" y="82"/>
                  </a:lnTo>
                  <a:lnTo>
                    <a:pt x="662" y="78"/>
                  </a:lnTo>
                  <a:lnTo>
                    <a:pt x="663" y="74"/>
                  </a:lnTo>
                  <a:lnTo>
                    <a:pt x="667" y="72"/>
                  </a:lnTo>
                  <a:lnTo>
                    <a:pt x="669" y="69"/>
                  </a:lnTo>
                  <a:lnTo>
                    <a:pt x="667" y="65"/>
                  </a:lnTo>
                  <a:lnTo>
                    <a:pt x="656" y="65"/>
                  </a:lnTo>
                  <a:lnTo>
                    <a:pt x="643" y="65"/>
                  </a:lnTo>
                  <a:lnTo>
                    <a:pt x="652" y="54"/>
                  </a:lnTo>
                  <a:lnTo>
                    <a:pt x="662" y="45"/>
                  </a:lnTo>
                  <a:lnTo>
                    <a:pt x="652" y="39"/>
                  </a:lnTo>
                  <a:lnTo>
                    <a:pt x="641" y="34"/>
                  </a:lnTo>
                  <a:lnTo>
                    <a:pt x="643" y="22"/>
                  </a:lnTo>
                  <a:lnTo>
                    <a:pt x="645" y="13"/>
                  </a:lnTo>
                  <a:lnTo>
                    <a:pt x="647" y="9"/>
                  </a:lnTo>
                  <a:lnTo>
                    <a:pt x="645" y="6"/>
                  </a:lnTo>
                  <a:lnTo>
                    <a:pt x="643" y="2"/>
                  </a:lnTo>
                  <a:lnTo>
                    <a:pt x="639" y="0"/>
                  </a:lnTo>
                  <a:lnTo>
                    <a:pt x="632" y="8"/>
                  </a:lnTo>
                  <a:lnTo>
                    <a:pt x="617" y="26"/>
                  </a:lnTo>
                  <a:lnTo>
                    <a:pt x="610" y="30"/>
                  </a:lnTo>
                  <a:lnTo>
                    <a:pt x="601" y="32"/>
                  </a:lnTo>
                  <a:lnTo>
                    <a:pt x="589" y="39"/>
                  </a:lnTo>
                  <a:lnTo>
                    <a:pt x="578" y="45"/>
                  </a:lnTo>
                  <a:lnTo>
                    <a:pt x="567" y="50"/>
                  </a:lnTo>
                  <a:lnTo>
                    <a:pt x="553" y="52"/>
                  </a:lnTo>
                  <a:lnTo>
                    <a:pt x="547" y="54"/>
                  </a:lnTo>
                  <a:lnTo>
                    <a:pt x="543" y="58"/>
                  </a:lnTo>
                  <a:lnTo>
                    <a:pt x="541" y="63"/>
                  </a:lnTo>
                  <a:lnTo>
                    <a:pt x="540" y="70"/>
                  </a:lnTo>
                  <a:lnTo>
                    <a:pt x="534" y="76"/>
                  </a:lnTo>
                  <a:lnTo>
                    <a:pt x="532" y="83"/>
                  </a:lnTo>
                  <a:lnTo>
                    <a:pt x="540" y="80"/>
                  </a:lnTo>
                  <a:lnTo>
                    <a:pt x="547" y="78"/>
                  </a:lnTo>
                  <a:lnTo>
                    <a:pt x="545" y="83"/>
                  </a:lnTo>
                  <a:lnTo>
                    <a:pt x="541" y="89"/>
                  </a:lnTo>
                  <a:lnTo>
                    <a:pt x="541" y="98"/>
                  </a:lnTo>
                  <a:lnTo>
                    <a:pt x="540" y="106"/>
                  </a:lnTo>
                  <a:lnTo>
                    <a:pt x="532" y="104"/>
                  </a:lnTo>
                  <a:lnTo>
                    <a:pt x="525" y="102"/>
                  </a:lnTo>
                  <a:lnTo>
                    <a:pt x="521" y="109"/>
                  </a:lnTo>
                  <a:lnTo>
                    <a:pt x="519" y="120"/>
                  </a:lnTo>
                  <a:lnTo>
                    <a:pt x="517" y="128"/>
                  </a:lnTo>
                  <a:lnTo>
                    <a:pt x="516" y="131"/>
                  </a:lnTo>
                  <a:lnTo>
                    <a:pt x="516" y="135"/>
                  </a:lnTo>
                  <a:lnTo>
                    <a:pt x="516" y="139"/>
                  </a:lnTo>
                  <a:lnTo>
                    <a:pt x="525" y="135"/>
                  </a:lnTo>
                  <a:lnTo>
                    <a:pt x="536" y="130"/>
                  </a:lnTo>
                  <a:lnTo>
                    <a:pt x="545" y="135"/>
                  </a:lnTo>
                  <a:lnTo>
                    <a:pt x="554" y="139"/>
                  </a:lnTo>
                  <a:lnTo>
                    <a:pt x="560" y="133"/>
                  </a:lnTo>
                  <a:lnTo>
                    <a:pt x="567" y="130"/>
                  </a:lnTo>
                  <a:lnTo>
                    <a:pt x="575" y="131"/>
                  </a:lnTo>
                  <a:lnTo>
                    <a:pt x="578" y="135"/>
                  </a:lnTo>
                  <a:lnTo>
                    <a:pt x="577" y="137"/>
                  </a:lnTo>
                  <a:lnTo>
                    <a:pt x="567" y="141"/>
                  </a:lnTo>
                  <a:lnTo>
                    <a:pt x="567" y="146"/>
                  </a:lnTo>
                  <a:lnTo>
                    <a:pt x="565" y="157"/>
                  </a:lnTo>
                  <a:lnTo>
                    <a:pt x="558" y="157"/>
                  </a:lnTo>
                  <a:lnTo>
                    <a:pt x="553" y="157"/>
                  </a:lnTo>
                  <a:lnTo>
                    <a:pt x="549" y="157"/>
                  </a:lnTo>
                  <a:lnTo>
                    <a:pt x="543" y="159"/>
                  </a:lnTo>
                  <a:lnTo>
                    <a:pt x="541" y="157"/>
                  </a:lnTo>
                  <a:lnTo>
                    <a:pt x="538" y="152"/>
                  </a:lnTo>
                  <a:lnTo>
                    <a:pt x="534" y="150"/>
                  </a:lnTo>
                  <a:lnTo>
                    <a:pt x="527" y="150"/>
                  </a:lnTo>
                  <a:lnTo>
                    <a:pt x="514" y="152"/>
                  </a:lnTo>
                  <a:lnTo>
                    <a:pt x="506" y="152"/>
                  </a:lnTo>
                  <a:lnTo>
                    <a:pt x="497" y="148"/>
                  </a:lnTo>
                  <a:lnTo>
                    <a:pt x="488" y="139"/>
                  </a:lnTo>
                  <a:lnTo>
                    <a:pt x="484" y="139"/>
                  </a:lnTo>
                  <a:lnTo>
                    <a:pt x="482" y="143"/>
                  </a:lnTo>
                  <a:lnTo>
                    <a:pt x="482" y="148"/>
                  </a:lnTo>
                  <a:lnTo>
                    <a:pt x="482" y="152"/>
                  </a:lnTo>
                  <a:lnTo>
                    <a:pt x="473" y="150"/>
                  </a:lnTo>
                  <a:lnTo>
                    <a:pt x="449" y="146"/>
                  </a:lnTo>
                  <a:lnTo>
                    <a:pt x="447" y="152"/>
                  </a:lnTo>
                  <a:lnTo>
                    <a:pt x="447" y="157"/>
                  </a:lnTo>
                  <a:lnTo>
                    <a:pt x="449" y="161"/>
                  </a:lnTo>
                  <a:lnTo>
                    <a:pt x="451" y="161"/>
                  </a:lnTo>
                  <a:lnTo>
                    <a:pt x="455" y="163"/>
                  </a:lnTo>
                  <a:lnTo>
                    <a:pt x="458" y="161"/>
                  </a:lnTo>
                  <a:lnTo>
                    <a:pt x="458" y="167"/>
                  </a:lnTo>
                  <a:lnTo>
                    <a:pt x="458" y="170"/>
                  </a:lnTo>
                  <a:lnTo>
                    <a:pt x="456" y="172"/>
                  </a:lnTo>
                  <a:lnTo>
                    <a:pt x="453" y="174"/>
                  </a:lnTo>
                  <a:lnTo>
                    <a:pt x="444" y="168"/>
                  </a:lnTo>
                  <a:lnTo>
                    <a:pt x="432" y="165"/>
                  </a:lnTo>
                  <a:lnTo>
                    <a:pt x="425" y="181"/>
                  </a:lnTo>
                  <a:lnTo>
                    <a:pt x="416" y="194"/>
                  </a:lnTo>
                  <a:lnTo>
                    <a:pt x="414" y="185"/>
                  </a:lnTo>
                  <a:lnTo>
                    <a:pt x="414" y="178"/>
                  </a:lnTo>
                  <a:lnTo>
                    <a:pt x="403" y="185"/>
                  </a:lnTo>
                  <a:lnTo>
                    <a:pt x="388" y="196"/>
                  </a:lnTo>
                  <a:lnTo>
                    <a:pt x="375" y="209"/>
                  </a:lnTo>
                  <a:lnTo>
                    <a:pt x="362" y="222"/>
                  </a:lnTo>
                  <a:lnTo>
                    <a:pt x="355" y="224"/>
                  </a:lnTo>
                  <a:lnTo>
                    <a:pt x="344" y="224"/>
                  </a:lnTo>
                  <a:lnTo>
                    <a:pt x="336" y="226"/>
                  </a:lnTo>
                  <a:lnTo>
                    <a:pt x="329" y="229"/>
                  </a:lnTo>
                  <a:lnTo>
                    <a:pt x="318" y="237"/>
                  </a:lnTo>
                  <a:lnTo>
                    <a:pt x="307" y="246"/>
                  </a:lnTo>
                  <a:lnTo>
                    <a:pt x="281" y="261"/>
                  </a:lnTo>
                  <a:lnTo>
                    <a:pt x="266" y="266"/>
                  </a:lnTo>
                  <a:lnTo>
                    <a:pt x="268" y="263"/>
                  </a:lnTo>
                  <a:lnTo>
                    <a:pt x="270" y="259"/>
                  </a:lnTo>
                  <a:lnTo>
                    <a:pt x="270" y="257"/>
                  </a:lnTo>
                  <a:lnTo>
                    <a:pt x="268" y="257"/>
                  </a:lnTo>
                  <a:lnTo>
                    <a:pt x="257" y="264"/>
                  </a:lnTo>
                  <a:lnTo>
                    <a:pt x="250" y="272"/>
                  </a:lnTo>
                  <a:lnTo>
                    <a:pt x="244" y="281"/>
                  </a:lnTo>
                  <a:lnTo>
                    <a:pt x="240" y="290"/>
                  </a:lnTo>
                  <a:lnTo>
                    <a:pt x="235" y="290"/>
                  </a:lnTo>
                  <a:lnTo>
                    <a:pt x="231" y="292"/>
                  </a:lnTo>
                  <a:lnTo>
                    <a:pt x="226" y="294"/>
                  </a:lnTo>
                  <a:lnTo>
                    <a:pt x="222" y="298"/>
                  </a:lnTo>
                  <a:lnTo>
                    <a:pt x="216" y="303"/>
                  </a:lnTo>
                  <a:lnTo>
                    <a:pt x="211" y="311"/>
                  </a:lnTo>
                  <a:lnTo>
                    <a:pt x="202" y="316"/>
                  </a:lnTo>
                  <a:lnTo>
                    <a:pt x="194" y="320"/>
                  </a:lnTo>
                  <a:lnTo>
                    <a:pt x="189" y="324"/>
                  </a:lnTo>
                  <a:lnTo>
                    <a:pt x="187" y="327"/>
                  </a:lnTo>
                  <a:lnTo>
                    <a:pt x="185" y="337"/>
                  </a:lnTo>
                  <a:lnTo>
                    <a:pt x="185" y="348"/>
                  </a:lnTo>
                  <a:lnTo>
                    <a:pt x="178" y="351"/>
                  </a:lnTo>
                  <a:lnTo>
                    <a:pt x="172" y="355"/>
                  </a:lnTo>
                  <a:lnTo>
                    <a:pt x="168" y="359"/>
                  </a:lnTo>
                  <a:lnTo>
                    <a:pt x="168" y="362"/>
                  </a:lnTo>
                  <a:lnTo>
                    <a:pt x="168" y="372"/>
                  </a:lnTo>
                  <a:lnTo>
                    <a:pt x="166" y="379"/>
                  </a:lnTo>
                  <a:lnTo>
                    <a:pt x="161" y="381"/>
                  </a:lnTo>
                  <a:lnTo>
                    <a:pt x="157" y="385"/>
                  </a:lnTo>
                  <a:lnTo>
                    <a:pt x="163" y="392"/>
                  </a:lnTo>
                  <a:lnTo>
                    <a:pt x="166" y="399"/>
                  </a:lnTo>
                  <a:lnTo>
                    <a:pt x="159" y="403"/>
                  </a:lnTo>
                  <a:lnTo>
                    <a:pt x="150" y="405"/>
                  </a:lnTo>
                  <a:lnTo>
                    <a:pt x="141" y="410"/>
                  </a:lnTo>
                  <a:lnTo>
                    <a:pt x="135" y="416"/>
                  </a:lnTo>
                  <a:lnTo>
                    <a:pt x="131" y="425"/>
                  </a:lnTo>
                  <a:lnTo>
                    <a:pt x="122" y="438"/>
                  </a:lnTo>
                  <a:lnTo>
                    <a:pt x="115" y="442"/>
                  </a:lnTo>
                  <a:lnTo>
                    <a:pt x="106" y="444"/>
                  </a:lnTo>
                  <a:lnTo>
                    <a:pt x="104" y="446"/>
                  </a:lnTo>
                  <a:lnTo>
                    <a:pt x="100" y="447"/>
                  </a:lnTo>
                  <a:lnTo>
                    <a:pt x="98" y="449"/>
                  </a:lnTo>
                  <a:lnTo>
                    <a:pt x="98" y="453"/>
                  </a:lnTo>
                  <a:lnTo>
                    <a:pt x="98" y="457"/>
                  </a:lnTo>
                  <a:lnTo>
                    <a:pt x="100" y="459"/>
                  </a:lnTo>
                  <a:lnTo>
                    <a:pt x="102" y="460"/>
                  </a:lnTo>
                  <a:lnTo>
                    <a:pt x="106" y="462"/>
                  </a:lnTo>
                  <a:lnTo>
                    <a:pt x="113" y="464"/>
                  </a:lnTo>
                  <a:lnTo>
                    <a:pt x="120" y="466"/>
                  </a:lnTo>
                  <a:lnTo>
                    <a:pt x="122" y="477"/>
                  </a:lnTo>
                  <a:lnTo>
                    <a:pt x="124" y="486"/>
                  </a:lnTo>
                  <a:lnTo>
                    <a:pt x="141" y="484"/>
                  </a:lnTo>
                  <a:lnTo>
                    <a:pt x="155" y="479"/>
                  </a:lnTo>
                  <a:lnTo>
                    <a:pt x="159" y="481"/>
                  </a:lnTo>
                  <a:lnTo>
                    <a:pt x="161" y="483"/>
                  </a:lnTo>
                  <a:lnTo>
                    <a:pt x="166" y="483"/>
                  </a:lnTo>
                  <a:lnTo>
                    <a:pt x="174" y="483"/>
                  </a:lnTo>
                  <a:lnTo>
                    <a:pt x="179" y="486"/>
                  </a:lnTo>
                  <a:lnTo>
                    <a:pt x="187" y="494"/>
                  </a:lnTo>
                  <a:lnTo>
                    <a:pt x="190" y="497"/>
                  </a:lnTo>
                  <a:lnTo>
                    <a:pt x="194" y="501"/>
                  </a:lnTo>
                  <a:lnTo>
                    <a:pt x="198" y="503"/>
                  </a:lnTo>
                  <a:lnTo>
                    <a:pt x="203" y="503"/>
                  </a:lnTo>
                  <a:lnTo>
                    <a:pt x="203" y="507"/>
                  </a:lnTo>
                  <a:lnTo>
                    <a:pt x="203" y="508"/>
                  </a:lnTo>
                  <a:lnTo>
                    <a:pt x="203" y="510"/>
                  </a:lnTo>
                  <a:lnTo>
                    <a:pt x="202" y="512"/>
                  </a:lnTo>
                  <a:lnTo>
                    <a:pt x="196" y="514"/>
                  </a:lnTo>
                  <a:lnTo>
                    <a:pt x="190" y="518"/>
                  </a:lnTo>
                  <a:lnTo>
                    <a:pt x="185" y="527"/>
                  </a:lnTo>
                  <a:lnTo>
                    <a:pt x="176" y="536"/>
                  </a:lnTo>
                  <a:lnTo>
                    <a:pt x="172" y="534"/>
                  </a:lnTo>
                  <a:lnTo>
                    <a:pt x="168" y="529"/>
                  </a:lnTo>
                  <a:lnTo>
                    <a:pt x="166" y="527"/>
                  </a:lnTo>
                  <a:lnTo>
                    <a:pt x="165" y="525"/>
                  </a:lnTo>
                  <a:lnTo>
                    <a:pt x="163" y="525"/>
                  </a:lnTo>
                  <a:lnTo>
                    <a:pt x="159" y="525"/>
                  </a:lnTo>
                  <a:lnTo>
                    <a:pt x="148" y="532"/>
                  </a:lnTo>
                  <a:lnTo>
                    <a:pt x="137" y="536"/>
                  </a:lnTo>
                  <a:lnTo>
                    <a:pt x="131" y="544"/>
                  </a:lnTo>
                  <a:lnTo>
                    <a:pt x="124" y="547"/>
                  </a:lnTo>
                  <a:lnTo>
                    <a:pt x="118" y="544"/>
                  </a:lnTo>
                  <a:lnTo>
                    <a:pt x="115" y="536"/>
                  </a:lnTo>
                  <a:lnTo>
                    <a:pt x="107" y="538"/>
                  </a:lnTo>
                  <a:lnTo>
                    <a:pt x="98" y="540"/>
                  </a:lnTo>
                  <a:lnTo>
                    <a:pt x="93" y="538"/>
                  </a:lnTo>
                  <a:lnTo>
                    <a:pt x="87" y="536"/>
                  </a:lnTo>
                  <a:lnTo>
                    <a:pt x="85" y="549"/>
                  </a:lnTo>
                  <a:lnTo>
                    <a:pt x="83" y="562"/>
                  </a:lnTo>
                  <a:lnTo>
                    <a:pt x="80" y="575"/>
                  </a:lnTo>
                  <a:lnTo>
                    <a:pt x="72" y="586"/>
                  </a:lnTo>
                  <a:lnTo>
                    <a:pt x="63" y="599"/>
                  </a:lnTo>
                  <a:lnTo>
                    <a:pt x="54" y="608"/>
                  </a:lnTo>
                  <a:lnTo>
                    <a:pt x="48" y="614"/>
                  </a:lnTo>
                  <a:lnTo>
                    <a:pt x="41" y="616"/>
                  </a:lnTo>
                  <a:lnTo>
                    <a:pt x="33" y="616"/>
                  </a:lnTo>
                  <a:lnTo>
                    <a:pt x="28" y="614"/>
                  </a:lnTo>
                  <a:lnTo>
                    <a:pt x="24" y="619"/>
                  </a:lnTo>
                  <a:lnTo>
                    <a:pt x="21" y="627"/>
                  </a:lnTo>
                  <a:lnTo>
                    <a:pt x="19" y="634"/>
                  </a:lnTo>
                  <a:lnTo>
                    <a:pt x="17" y="643"/>
                  </a:lnTo>
                  <a:lnTo>
                    <a:pt x="9" y="654"/>
                  </a:lnTo>
                  <a:lnTo>
                    <a:pt x="4" y="662"/>
                  </a:lnTo>
                  <a:lnTo>
                    <a:pt x="0" y="669"/>
                  </a:lnTo>
                  <a:lnTo>
                    <a:pt x="0" y="675"/>
                  </a:lnTo>
                  <a:lnTo>
                    <a:pt x="15" y="684"/>
                  </a:lnTo>
                  <a:lnTo>
                    <a:pt x="32" y="693"/>
                  </a:lnTo>
                  <a:lnTo>
                    <a:pt x="46" y="702"/>
                  </a:lnTo>
                  <a:lnTo>
                    <a:pt x="61" y="714"/>
                  </a:lnTo>
                  <a:lnTo>
                    <a:pt x="67" y="717"/>
                  </a:lnTo>
                  <a:lnTo>
                    <a:pt x="70" y="721"/>
                  </a:lnTo>
                  <a:lnTo>
                    <a:pt x="72" y="725"/>
                  </a:lnTo>
                  <a:lnTo>
                    <a:pt x="74" y="728"/>
                  </a:lnTo>
                  <a:lnTo>
                    <a:pt x="72" y="734"/>
                  </a:lnTo>
                  <a:lnTo>
                    <a:pt x="67" y="743"/>
                  </a:lnTo>
                  <a:lnTo>
                    <a:pt x="63" y="762"/>
                  </a:lnTo>
                  <a:lnTo>
                    <a:pt x="59" y="776"/>
                  </a:lnTo>
                  <a:lnTo>
                    <a:pt x="54" y="786"/>
                  </a:lnTo>
                  <a:lnTo>
                    <a:pt x="50" y="793"/>
                  </a:lnTo>
                  <a:lnTo>
                    <a:pt x="39" y="806"/>
                  </a:lnTo>
                  <a:lnTo>
                    <a:pt x="30" y="821"/>
                  </a:lnTo>
                  <a:lnTo>
                    <a:pt x="24" y="832"/>
                  </a:lnTo>
                  <a:lnTo>
                    <a:pt x="21" y="841"/>
                  </a:lnTo>
                  <a:lnTo>
                    <a:pt x="19" y="848"/>
                  </a:lnTo>
                  <a:lnTo>
                    <a:pt x="19" y="854"/>
                  </a:lnTo>
                  <a:lnTo>
                    <a:pt x="26" y="854"/>
                  </a:lnTo>
                  <a:lnTo>
                    <a:pt x="33" y="856"/>
                  </a:lnTo>
                  <a:lnTo>
                    <a:pt x="32" y="865"/>
                  </a:lnTo>
                  <a:lnTo>
                    <a:pt x="32" y="876"/>
                  </a:lnTo>
                  <a:lnTo>
                    <a:pt x="45" y="885"/>
                  </a:lnTo>
                  <a:lnTo>
                    <a:pt x="54" y="889"/>
                  </a:lnTo>
                  <a:lnTo>
                    <a:pt x="63" y="891"/>
                  </a:lnTo>
                  <a:lnTo>
                    <a:pt x="72" y="891"/>
                  </a:lnTo>
                  <a:lnTo>
                    <a:pt x="87" y="889"/>
                  </a:lnTo>
                  <a:lnTo>
                    <a:pt x="104" y="891"/>
                  </a:lnTo>
                  <a:lnTo>
                    <a:pt x="111" y="898"/>
                  </a:lnTo>
                  <a:lnTo>
                    <a:pt x="118" y="911"/>
                  </a:lnTo>
                  <a:lnTo>
                    <a:pt x="120" y="917"/>
                  </a:lnTo>
                  <a:lnTo>
                    <a:pt x="126" y="922"/>
                  </a:lnTo>
                  <a:lnTo>
                    <a:pt x="130" y="926"/>
                  </a:lnTo>
                  <a:lnTo>
                    <a:pt x="135" y="928"/>
                  </a:lnTo>
                  <a:lnTo>
                    <a:pt x="144" y="926"/>
                  </a:lnTo>
                  <a:lnTo>
                    <a:pt x="152" y="924"/>
                  </a:lnTo>
                  <a:lnTo>
                    <a:pt x="159" y="926"/>
                  </a:lnTo>
                  <a:lnTo>
                    <a:pt x="166" y="930"/>
                  </a:lnTo>
                  <a:lnTo>
                    <a:pt x="168" y="939"/>
                  </a:lnTo>
                  <a:lnTo>
                    <a:pt x="170" y="946"/>
                  </a:lnTo>
                  <a:lnTo>
                    <a:pt x="172" y="952"/>
                  </a:lnTo>
                  <a:lnTo>
                    <a:pt x="176" y="956"/>
                  </a:lnTo>
                  <a:lnTo>
                    <a:pt x="194" y="952"/>
                  </a:lnTo>
                  <a:lnTo>
                    <a:pt x="213" y="946"/>
                  </a:lnTo>
                  <a:lnTo>
                    <a:pt x="222" y="944"/>
                  </a:lnTo>
                  <a:lnTo>
                    <a:pt x="233" y="943"/>
                  </a:lnTo>
                  <a:lnTo>
                    <a:pt x="244" y="943"/>
                  </a:lnTo>
                  <a:lnTo>
                    <a:pt x="257" y="943"/>
                  </a:lnTo>
                  <a:lnTo>
                    <a:pt x="261" y="937"/>
                  </a:lnTo>
                  <a:lnTo>
                    <a:pt x="263" y="932"/>
                  </a:lnTo>
                  <a:lnTo>
                    <a:pt x="266" y="928"/>
                  </a:lnTo>
                  <a:lnTo>
                    <a:pt x="270" y="924"/>
                  </a:lnTo>
                  <a:lnTo>
                    <a:pt x="279" y="919"/>
                  </a:lnTo>
                  <a:lnTo>
                    <a:pt x="287" y="917"/>
                  </a:lnTo>
                  <a:lnTo>
                    <a:pt x="296" y="917"/>
                  </a:lnTo>
                  <a:lnTo>
                    <a:pt x="305" y="917"/>
                  </a:lnTo>
                  <a:lnTo>
                    <a:pt x="312" y="915"/>
                  </a:lnTo>
                  <a:lnTo>
                    <a:pt x="318" y="913"/>
                  </a:lnTo>
                  <a:lnTo>
                    <a:pt x="329" y="906"/>
                  </a:lnTo>
                  <a:lnTo>
                    <a:pt x="338" y="898"/>
                  </a:lnTo>
                  <a:lnTo>
                    <a:pt x="340" y="891"/>
                  </a:lnTo>
                  <a:lnTo>
                    <a:pt x="340" y="884"/>
                  </a:lnTo>
                  <a:lnTo>
                    <a:pt x="340" y="882"/>
                  </a:lnTo>
                  <a:lnTo>
                    <a:pt x="342" y="878"/>
                  </a:lnTo>
                  <a:lnTo>
                    <a:pt x="344" y="876"/>
                  </a:lnTo>
                  <a:lnTo>
                    <a:pt x="347" y="874"/>
                  </a:lnTo>
                  <a:lnTo>
                    <a:pt x="349" y="865"/>
                  </a:lnTo>
                  <a:lnTo>
                    <a:pt x="353" y="856"/>
                  </a:lnTo>
                  <a:lnTo>
                    <a:pt x="355" y="852"/>
                  </a:lnTo>
                  <a:lnTo>
                    <a:pt x="357" y="848"/>
                  </a:lnTo>
                  <a:lnTo>
                    <a:pt x="360" y="847"/>
                  </a:lnTo>
                  <a:lnTo>
                    <a:pt x="364" y="845"/>
                  </a:lnTo>
                  <a:lnTo>
                    <a:pt x="372" y="847"/>
                  </a:lnTo>
                  <a:lnTo>
                    <a:pt x="379" y="848"/>
                  </a:lnTo>
                  <a:lnTo>
                    <a:pt x="381" y="837"/>
                  </a:lnTo>
                  <a:lnTo>
                    <a:pt x="384" y="826"/>
                  </a:lnTo>
                  <a:lnTo>
                    <a:pt x="390" y="824"/>
                  </a:lnTo>
                  <a:lnTo>
                    <a:pt x="397" y="824"/>
                  </a:lnTo>
                  <a:lnTo>
                    <a:pt x="401" y="823"/>
                  </a:lnTo>
                  <a:lnTo>
                    <a:pt x="405" y="821"/>
                  </a:lnTo>
                  <a:lnTo>
                    <a:pt x="408" y="815"/>
                  </a:lnTo>
                  <a:lnTo>
                    <a:pt x="412" y="808"/>
                  </a:lnTo>
                  <a:lnTo>
                    <a:pt x="421" y="802"/>
                  </a:lnTo>
                  <a:lnTo>
                    <a:pt x="425" y="797"/>
                  </a:lnTo>
                  <a:lnTo>
                    <a:pt x="427" y="789"/>
                  </a:lnTo>
                  <a:lnTo>
                    <a:pt x="431" y="780"/>
                  </a:lnTo>
                  <a:lnTo>
                    <a:pt x="432" y="776"/>
                  </a:lnTo>
                  <a:lnTo>
                    <a:pt x="436" y="774"/>
                  </a:lnTo>
                  <a:lnTo>
                    <a:pt x="442" y="773"/>
                  </a:lnTo>
                  <a:lnTo>
                    <a:pt x="449" y="771"/>
                  </a:lnTo>
                  <a:lnTo>
                    <a:pt x="460" y="758"/>
                  </a:lnTo>
                  <a:lnTo>
                    <a:pt x="469" y="749"/>
                  </a:lnTo>
                  <a:lnTo>
                    <a:pt x="488" y="750"/>
                  </a:lnTo>
                  <a:lnTo>
                    <a:pt x="505" y="754"/>
                  </a:lnTo>
                  <a:lnTo>
                    <a:pt x="516" y="749"/>
                  </a:lnTo>
                  <a:lnTo>
                    <a:pt x="525" y="743"/>
                  </a:lnTo>
                  <a:lnTo>
                    <a:pt x="530" y="741"/>
                  </a:lnTo>
                  <a:lnTo>
                    <a:pt x="536" y="741"/>
                  </a:lnTo>
                  <a:lnTo>
                    <a:pt x="541" y="739"/>
                  </a:lnTo>
                  <a:lnTo>
                    <a:pt x="547" y="741"/>
                  </a:lnTo>
                  <a:lnTo>
                    <a:pt x="549" y="752"/>
                  </a:lnTo>
                  <a:lnTo>
                    <a:pt x="545" y="767"/>
                  </a:lnTo>
                  <a:lnTo>
                    <a:pt x="545" y="776"/>
                  </a:lnTo>
                  <a:lnTo>
                    <a:pt x="547" y="786"/>
                  </a:lnTo>
                  <a:lnTo>
                    <a:pt x="551" y="797"/>
                  </a:lnTo>
                  <a:lnTo>
                    <a:pt x="556" y="810"/>
                  </a:lnTo>
                  <a:lnTo>
                    <a:pt x="560" y="811"/>
                  </a:lnTo>
                  <a:lnTo>
                    <a:pt x="562" y="811"/>
                  </a:lnTo>
                  <a:lnTo>
                    <a:pt x="565" y="810"/>
                  </a:lnTo>
                  <a:lnTo>
                    <a:pt x="569" y="808"/>
                  </a:lnTo>
                  <a:lnTo>
                    <a:pt x="575" y="800"/>
                  </a:lnTo>
                  <a:lnTo>
                    <a:pt x="580" y="795"/>
                  </a:lnTo>
                  <a:lnTo>
                    <a:pt x="601" y="786"/>
                  </a:lnTo>
                  <a:lnTo>
                    <a:pt x="621" y="778"/>
                  </a:lnTo>
                  <a:lnTo>
                    <a:pt x="643" y="782"/>
                  </a:lnTo>
                  <a:lnTo>
                    <a:pt x="665" y="787"/>
                  </a:lnTo>
                  <a:lnTo>
                    <a:pt x="669" y="782"/>
                  </a:lnTo>
                  <a:lnTo>
                    <a:pt x="671" y="778"/>
                  </a:lnTo>
                  <a:lnTo>
                    <a:pt x="673" y="774"/>
                  </a:lnTo>
                  <a:lnTo>
                    <a:pt x="673" y="769"/>
                  </a:lnTo>
                  <a:lnTo>
                    <a:pt x="674" y="762"/>
                  </a:lnTo>
                  <a:lnTo>
                    <a:pt x="674" y="754"/>
                  </a:lnTo>
                  <a:lnTo>
                    <a:pt x="674" y="745"/>
                  </a:lnTo>
                  <a:lnTo>
                    <a:pt x="676" y="738"/>
                  </a:lnTo>
                  <a:lnTo>
                    <a:pt x="680" y="732"/>
                  </a:lnTo>
                  <a:lnTo>
                    <a:pt x="684" y="726"/>
                  </a:lnTo>
                  <a:lnTo>
                    <a:pt x="687" y="712"/>
                  </a:lnTo>
                  <a:lnTo>
                    <a:pt x="697" y="697"/>
                  </a:lnTo>
                  <a:lnTo>
                    <a:pt x="695" y="686"/>
                  </a:lnTo>
                  <a:lnTo>
                    <a:pt x="693" y="677"/>
                  </a:lnTo>
                  <a:lnTo>
                    <a:pt x="693" y="669"/>
                  </a:lnTo>
                  <a:lnTo>
                    <a:pt x="695" y="662"/>
                  </a:lnTo>
                  <a:lnTo>
                    <a:pt x="704" y="654"/>
                  </a:lnTo>
                  <a:lnTo>
                    <a:pt x="713" y="645"/>
                  </a:lnTo>
                  <a:lnTo>
                    <a:pt x="717" y="647"/>
                  </a:lnTo>
                  <a:lnTo>
                    <a:pt x="719" y="649"/>
                  </a:lnTo>
                  <a:lnTo>
                    <a:pt x="721" y="654"/>
                  </a:lnTo>
                  <a:lnTo>
                    <a:pt x="722" y="658"/>
                  </a:lnTo>
                  <a:lnTo>
                    <a:pt x="732" y="658"/>
                  </a:lnTo>
                  <a:lnTo>
                    <a:pt x="747" y="656"/>
                  </a:lnTo>
                  <a:lnTo>
                    <a:pt x="756" y="660"/>
                  </a:lnTo>
                  <a:lnTo>
                    <a:pt x="765" y="664"/>
                  </a:lnTo>
                  <a:close/>
                  <a:moveTo>
                    <a:pt x="100" y="494"/>
                  </a:moveTo>
                  <a:lnTo>
                    <a:pt x="106" y="499"/>
                  </a:lnTo>
                  <a:lnTo>
                    <a:pt x="111" y="505"/>
                  </a:lnTo>
                  <a:lnTo>
                    <a:pt x="113" y="510"/>
                  </a:lnTo>
                  <a:lnTo>
                    <a:pt x="113" y="519"/>
                  </a:lnTo>
                  <a:lnTo>
                    <a:pt x="102" y="523"/>
                  </a:lnTo>
                  <a:lnTo>
                    <a:pt x="91" y="525"/>
                  </a:lnTo>
                  <a:lnTo>
                    <a:pt x="80" y="525"/>
                  </a:lnTo>
                  <a:lnTo>
                    <a:pt x="69" y="523"/>
                  </a:lnTo>
                  <a:lnTo>
                    <a:pt x="67" y="519"/>
                  </a:lnTo>
                  <a:lnTo>
                    <a:pt x="67" y="518"/>
                  </a:lnTo>
                  <a:lnTo>
                    <a:pt x="69" y="516"/>
                  </a:lnTo>
                  <a:lnTo>
                    <a:pt x="70" y="514"/>
                  </a:lnTo>
                  <a:lnTo>
                    <a:pt x="76" y="512"/>
                  </a:lnTo>
                  <a:lnTo>
                    <a:pt x="83" y="510"/>
                  </a:lnTo>
                  <a:lnTo>
                    <a:pt x="85" y="505"/>
                  </a:lnTo>
                  <a:lnTo>
                    <a:pt x="93" y="499"/>
                  </a:lnTo>
                  <a:lnTo>
                    <a:pt x="98" y="494"/>
                  </a:lnTo>
                  <a:lnTo>
                    <a:pt x="100" y="494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9301498" y="2357570"/>
              <a:ext cx="1042604" cy="1454752"/>
            </a:xfrm>
            <a:custGeom>
              <a:avLst/>
              <a:gdLst>
                <a:gd name="T0" fmla="*/ 447066 w 600"/>
                <a:gd name="T1" fmla="*/ 1227137 h 773"/>
                <a:gd name="T2" fmla="*/ 473451 w 600"/>
                <a:gd name="T3" fmla="*/ 1185862 h 773"/>
                <a:gd name="T4" fmla="*/ 520356 w 600"/>
                <a:gd name="T5" fmla="*/ 1168400 h 773"/>
                <a:gd name="T6" fmla="*/ 505698 w 600"/>
                <a:gd name="T7" fmla="*/ 1127125 h 773"/>
                <a:gd name="T8" fmla="*/ 523288 w 600"/>
                <a:gd name="T9" fmla="*/ 1076325 h 773"/>
                <a:gd name="T10" fmla="*/ 587782 w 600"/>
                <a:gd name="T11" fmla="*/ 1054100 h 773"/>
                <a:gd name="T12" fmla="*/ 612701 w 600"/>
                <a:gd name="T13" fmla="*/ 1023937 h 773"/>
                <a:gd name="T14" fmla="*/ 664004 w 600"/>
                <a:gd name="T15" fmla="*/ 1006475 h 773"/>
                <a:gd name="T16" fmla="*/ 644948 w 600"/>
                <a:gd name="T17" fmla="*/ 1055687 h 773"/>
                <a:gd name="T18" fmla="*/ 680127 w 600"/>
                <a:gd name="T19" fmla="*/ 1076325 h 773"/>
                <a:gd name="T20" fmla="*/ 728498 w 600"/>
                <a:gd name="T21" fmla="*/ 992187 h 773"/>
                <a:gd name="T22" fmla="*/ 788596 w 600"/>
                <a:gd name="T23" fmla="*/ 909637 h 773"/>
                <a:gd name="T24" fmla="*/ 763678 w 600"/>
                <a:gd name="T25" fmla="*/ 874712 h 773"/>
                <a:gd name="T26" fmla="*/ 731430 w 600"/>
                <a:gd name="T27" fmla="*/ 909637 h 773"/>
                <a:gd name="T28" fmla="*/ 687456 w 600"/>
                <a:gd name="T29" fmla="*/ 788987 h 773"/>
                <a:gd name="T30" fmla="*/ 671332 w 600"/>
                <a:gd name="T31" fmla="*/ 654050 h 773"/>
                <a:gd name="T32" fmla="*/ 655209 w 600"/>
                <a:gd name="T33" fmla="*/ 566737 h 773"/>
                <a:gd name="T34" fmla="*/ 680127 w 600"/>
                <a:gd name="T35" fmla="*/ 511175 h 773"/>
                <a:gd name="T36" fmla="*/ 731430 w 600"/>
                <a:gd name="T37" fmla="*/ 449262 h 773"/>
                <a:gd name="T38" fmla="*/ 750485 w 600"/>
                <a:gd name="T39" fmla="*/ 396875 h 773"/>
                <a:gd name="T40" fmla="*/ 779801 w 600"/>
                <a:gd name="T41" fmla="*/ 425450 h 773"/>
                <a:gd name="T42" fmla="*/ 817912 w 600"/>
                <a:gd name="T43" fmla="*/ 484187 h 773"/>
                <a:gd name="T44" fmla="*/ 863351 w 600"/>
                <a:gd name="T45" fmla="*/ 508000 h 773"/>
                <a:gd name="T46" fmla="*/ 872146 w 600"/>
                <a:gd name="T47" fmla="*/ 446087 h 773"/>
                <a:gd name="T48" fmla="*/ 853091 w 600"/>
                <a:gd name="T49" fmla="*/ 311150 h 773"/>
                <a:gd name="T50" fmla="*/ 809117 w 600"/>
                <a:gd name="T51" fmla="*/ 265112 h 773"/>
                <a:gd name="T52" fmla="*/ 735827 w 600"/>
                <a:gd name="T53" fmla="*/ 206375 h 773"/>
                <a:gd name="T54" fmla="*/ 699183 w 600"/>
                <a:gd name="T55" fmla="*/ 150812 h 773"/>
                <a:gd name="T56" fmla="*/ 665469 w 600"/>
                <a:gd name="T57" fmla="*/ 114300 h 773"/>
                <a:gd name="T58" fmla="*/ 614167 w 600"/>
                <a:gd name="T59" fmla="*/ 73025 h 773"/>
                <a:gd name="T60" fmla="*/ 595111 w 600"/>
                <a:gd name="T61" fmla="*/ 41275 h 773"/>
                <a:gd name="T62" fmla="*/ 568727 w 600"/>
                <a:gd name="T63" fmla="*/ 3175 h 773"/>
                <a:gd name="T64" fmla="*/ 549672 w 600"/>
                <a:gd name="T65" fmla="*/ 50800 h 773"/>
                <a:gd name="T66" fmla="*/ 476382 w 600"/>
                <a:gd name="T67" fmla="*/ 71437 h 773"/>
                <a:gd name="T68" fmla="*/ 425080 w 600"/>
                <a:gd name="T69" fmla="*/ 109537 h 773"/>
                <a:gd name="T70" fmla="*/ 319543 w 600"/>
                <a:gd name="T71" fmla="*/ 123825 h 773"/>
                <a:gd name="T72" fmla="*/ 278500 w 600"/>
                <a:gd name="T73" fmla="*/ 79375 h 773"/>
                <a:gd name="T74" fmla="*/ 259445 w 600"/>
                <a:gd name="T75" fmla="*/ 141287 h 773"/>
                <a:gd name="T76" fmla="*/ 222800 w 600"/>
                <a:gd name="T77" fmla="*/ 190500 h 773"/>
                <a:gd name="T78" fmla="*/ 162703 w 600"/>
                <a:gd name="T79" fmla="*/ 300037 h 773"/>
                <a:gd name="T80" fmla="*/ 146579 w 600"/>
                <a:gd name="T81" fmla="*/ 323850 h 773"/>
                <a:gd name="T82" fmla="*/ 150977 w 600"/>
                <a:gd name="T83" fmla="*/ 355600 h 773"/>
                <a:gd name="T84" fmla="*/ 181758 w 600"/>
                <a:gd name="T85" fmla="*/ 387350 h 773"/>
                <a:gd name="T86" fmla="*/ 186156 w 600"/>
                <a:gd name="T87" fmla="*/ 458787 h 773"/>
                <a:gd name="T88" fmla="*/ 211074 w 600"/>
                <a:gd name="T89" fmla="*/ 531812 h 773"/>
                <a:gd name="T90" fmla="*/ 170032 w 600"/>
                <a:gd name="T91" fmla="*/ 598487 h 773"/>
                <a:gd name="T92" fmla="*/ 111400 w 600"/>
                <a:gd name="T93" fmla="*/ 636587 h 773"/>
                <a:gd name="T94" fmla="*/ 67426 w 600"/>
                <a:gd name="T95" fmla="*/ 657225 h 773"/>
                <a:gd name="T96" fmla="*/ 80619 w 600"/>
                <a:gd name="T97" fmla="*/ 692150 h 773"/>
                <a:gd name="T98" fmla="*/ 73290 w 600"/>
                <a:gd name="T99" fmla="*/ 730250 h 773"/>
                <a:gd name="T100" fmla="*/ 35179 w 600"/>
                <a:gd name="T101" fmla="*/ 747712 h 773"/>
                <a:gd name="T102" fmla="*/ 8795 w 600"/>
                <a:gd name="T103" fmla="*/ 777875 h 773"/>
                <a:gd name="T104" fmla="*/ 32247 w 600"/>
                <a:gd name="T105" fmla="*/ 839787 h 773"/>
                <a:gd name="T106" fmla="*/ 89413 w 600"/>
                <a:gd name="T107" fmla="*/ 971550 h 773"/>
                <a:gd name="T108" fmla="*/ 115798 w 600"/>
                <a:gd name="T109" fmla="*/ 1038225 h 773"/>
                <a:gd name="T110" fmla="*/ 200813 w 600"/>
                <a:gd name="T111" fmla="*/ 1003300 h 773"/>
                <a:gd name="T112" fmla="*/ 275569 w 600"/>
                <a:gd name="T113" fmla="*/ 1074737 h 773"/>
                <a:gd name="T114" fmla="*/ 268240 w 600"/>
                <a:gd name="T115" fmla="*/ 1179512 h 773"/>
                <a:gd name="T116" fmla="*/ 310748 w 600"/>
                <a:gd name="T117" fmla="*/ 1176337 h 773"/>
                <a:gd name="T118" fmla="*/ 398695 w 600"/>
                <a:gd name="T119" fmla="*/ 1189037 h 77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773"/>
                <a:gd name="T182" fmla="*/ 600 w 600"/>
                <a:gd name="T183" fmla="*/ 773 h 77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773">
                  <a:moveTo>
                    <a:pt x="285" y="773"/>
                  </a:moveTo>
                  <a:lnTo>
                    <a:pt x="290" y="771"/>
                  </a:lnTo>
                  <a:lnTo>
                    <a:pt x="297" y="769"/>
                  </a:lnTo>
                  <a:lnTo>
                    <a:pt x="299" y="771"/>
                  </a:lnTo>
                  <a:lnTo>
                    <a:pt x="303" y="773"/>
                  </a:lnTo>
                  <a:lnTo>
                    <a:pt x="305" y="773"/>
                  </a:lnTo>
                  <a:lnTo>
                    <a:pt x="305" y="771"/>
                  </a:lnTo>
                  <a:lnTo>
                    <a:pt x="307" y="769"/>
                  </a:lnTo>
                  <a:lnTo>
                    <a:pt x="307" y="763"/>
                  </a:lnTo>
                  <a:lnTo>
                    <a:pt x="310" y="758"/>
                  </a:lnTo>
                  <a:lnTo>
                    <a:pt x="320" y="754"/>
                  </a:lnTo>
                  <a:lnTo>
                    <a:pt x="323" y="747"/>
                  </a:lnTo>
                  <a:lnTo>
                    <a:pt x="327" y="741"/>
                  </a:lnTo>
                  <a:lnTo>
                    <a:pt x="333" y="741"/>
                  </a:lnTo>
                  <a:lnTo>
                    <a:pt x="340" y="745"/>
                  </a:lnTo>
                  <a:lnTo>
                    <a:pt x="344" y="745"/>
                  </a:lnTo>
                  <a:lnTo>
                    <a:pt x="349" y="741"/>
                  </a:lnTo>
                  <a:lnTo>
                    <a:pt x="355" y="736"/>
                  </a:lnTo>
                  <a:lnTo>
                    <a:pt x="358" y="730"/>
                  </a:lnTo>
                  <a:lnTo>
                    <a:pt x="344" y="726"/>
                  </a:lnTo>
                  <a:lnTo>
                    <a:pt x="338" y="723"/>
                  </a:lnTo>
                  <a:lnTo>
                    <a:pt x="345" y="717"/>
                  </a:lnTo>
                  <a:lnTo>
                    <a:pt x="347" y="712"/>
                  </a:lnTo>
                  <a:lnTo>
                    <a:pt x="345" y="710"/>
                  </a:lnTo>
                  <a:lnTo>
                    <a:pt x="338" y="708"/>
                  </a:lnTo>
                  <a:lnTo>
                    <a:pt x="340" y="699"/>
                  </a:lnTo>
                  <a:lnTo>
                    <a:pt x="347" y="688"/>
                  </a:lnTo>
                  <a:lnTo>
                    <a:pt x="349" y="682"/>
                  </a:lnTo>
                  <a:lnTo>
                    <a:pt x="351" y="678"/>
                  </a:lnTo>
                  <a:lnTo>
                    <a:pt x="357" y="678"/>
                  </a:lnTo>
                  <a:lnTo>
                    <a:pt x="364" y="678"/>
                  </a:lnTo>
                  <a:lnTo>
                    <a:pt x="373" y="671"/>
                  </a:lnTo>
                  <a:lnTo>
                    <a:pt x="382" y="664"/>
                  </a:lnTo>
                  <a:lnTo>
                    <a:pt x="390" y="667"/>
                  </a:lnTo>
                  <a:lnTo>
                    <a:pt x="401" y="667"/>
                  </a:lnTo>
                  <a:lnTo>
                    <a:pt x="401" y="664"/>
                  </a:lnTo>
                  <a:lnTo>
                    <a:pt x="399" y="662"/>
                  </a:lnTo>
                  <a:lnTo>
                    <a:pt x="399" y="656"/>
                  </a:lnTo>
                  <a:lnTo>
                    <a:pt x="405" y="649"/>
                  </a:lnTo>
                  <a:lnTo>
                    <a:pt x="410" y="647"/>
                  </a:lnTo>
                  <a:lnTo>
                    <a:pt x="414" y="645"/>
                  </a:lnTo>
                  <a:lnTo>
                    <a:pt x="418" y="645"/>
                  </a:lnTo>
                  <a:lnTo>
                    <a:pt x="421" y="649"/>
                  </a:lnTo>
                  <a:lnTo>
                    <a:pt x="429" y="653"/>
                  </a:lnTo>
                  <a:lnTo>
                    <a:pt x="432" y="654"/>
                  </a:lnTo>
                  <a:lnTo>
                    <a:pt x="442" y="645"/>
                  </a:lnTo>
                  <a:lnTo>
                    <a:pt x="449" y="636"/>
                  </a:lnTo>
                  <a:lnTo>
                    <a:pt x="453" y="634"/>
                  </a:lnTo>
                  <a:lnTo>
                    <a:pt x="458" y="636"/>
                  </a:lnTo>
                  <a:lnTo>
                    <a:pt x="462" y="638"/>
                  </a:lnTo>
                  <a:lnTo>
                    <a:pt x="464" y="641"/>
                  </a:lnTo>
                  <a:lnTo>
                    <a:pt x="456" y="651"/>
                  </a:lnTo>
                  <a:lnTo>
                    <a:pt x="449" y="660"/>
                  </a:lnTo>
                  <a:lnTo>
                    <a:pt x="440" y="665"/>
                  </a:lnTo>
                  <a:lnTo>
                    <a:pt x="430" y="671"/>
                  </a:lnTo>
                  <a:lnTo>
                    <a:pt x="436" y="677"/>
                  </a:lnTo>
                  <a:lnTo>
                    <a:pt x="442" y="680"/>
                  </a:lnTo>
                  <a:lnTo>
                    <a:pt x="447" y="682"/>
                  </a:lnTo>
                  <a:lnTo>
                    <a:pt x="453" y="682"/>
                  </a:lnTo>
                  <a:lnTo>
                    <a:pt x="464" y="678"/>
                  </a:lnTo>
                  <a:lnTo>
                    <a:pt x="473" y="675"/>
                  </a:lnTo>
                  <a:lnTo>
                    <a:pt x="475" y="656"/>
                  </a:lnTo>
                  <a:lnTo>
                    <a:pt x="478" y="638"/>
                  </a:lnTo>
                  <a:lnTo>
                    <a:pt x="486" y="643"/>
                  </a:lnTo>
                  <a:lnTo>
                    <a:pt x="493" y="647"/>
                  </a:lnTo>
                  <a:lnTo>
                    <a:pt x="497" y="625"/>
                  </a:lnTo>
                  <a:lnTo>
                    <a:pt x="502" y="603"/>
                  </a:lnTo>
                  <a:lnTo>
                    <a:pt x="515" y="597"/>
                  </a:lnTo>
                  <a:lnTo>
                    <a:pt x="528" y="593"/>
                  </a:lnTo>
                  <a:lnTo>
                    <a:pt x="527" y="584"/>
                  </a:lnTo>
                  <a:lnTo>
                    <a:pt x="527" y="577"/>
                  </a:lnTo>
                  <a:lnTo>
                    <a:pt x="538" y="573"/>
                  </a:lnTo>
                  <a:lnTo>
                    <a:pt x="549" y="564"/>
                  </a:lnTo>
                  <a:lnTo>
                    <a:pt x="547" y="560"/>
                  </a:lnTo>
                  <a:lnTo>
                    <a:pt x="543" y="556"/>
                  </a:lnTo>
                  <a:lnTo>
                    <a:pt x="536" y="555"/>
                  </a:lnTo>
                  <a:lnTo>
                    <a:pt x="528" y="553"/>
                  </a:lnTo>
                  <a:lnTo>
                    <a:pt x="521" y="551"/>
                  </a:lnTo>
                  <a:lnTo>
                    <a:pt x="517" y="553"/>
                  </a:lnTo>
                  <a:lnTo>
                    <a:pt x="514" y="556"/>
                  </a:lnTo>
                  <a:lnTo>
                    <a:pt x="512" y="560"/>
                  </a:lnTo>
                  <a:lnTo>
                    <a:pt x="508" y="566"/>
                  </a:lnTo>
                  <a:lnTo>
                    <a:pt x="504" y="569"/>
                  </a:lnTo>
                  <a:lnTo>
                    <a:pt x="499" y="573"/>
                  </a:lnTo>
                  <a:lnTo>
                    <a:pt x="493" y="573"/>
                  </a:lnTo>
                  <a:lnTo>
                    <a:pt x="486" y="555"/>
                  </a:lnTo>
                  <a:lnTo>
                    <a:pt x="477" y="527"/>
                  </a:lnTo>
                  <a:lnTo>
                    <a:pt x="471" y="518"/>
                  </a:lnTo>
                  <a:lnTo>
                    <a:pt x="469" y="507"/>
                  </a:lnTo>
                  <a:lnTo>
                    <a:pt x="469" y="497"/>
                  </a:lnTo>
                  <a:lnTo>
                    <a:pt x="469" y="488"/>
                  </a:lnTo>
                  <a:lnTo>
                    <a:pt x="469" y="470"/>
                  </a:lnTo>
                  <a:lnTo>
                    <a:pt x="471" y="449"/>
                  </a:lnTo>
                  <a:lnTo>
                    <a:pt x="464" y="436"/>
                  </a:lnTo>
                  <a:lnTo>
                    <a:pt x="458" y="425"/>
                  </a:lnTo>
                  <a:lnTo>
                    <a:pt x="458" y="412"/>
                  </a:lnTo>
                  <a:lnTo>
                    <a:pt x="458" y="399"/>
                  </a:lnTo>
                  <a:lnTo>
                    <a:pt x="447" y="386"/>
                  </a:lnTo>
                  <a:lnTo>
                    <a:pt x="440" y="374"/>
                  </a:lnTo>
                  <a:lnTo>
                    <a:pt x="442" y="368"/>
                  </a:lnTo>
                  <a:lnTo>
                    <a:pt x="443" y="362"/>
                  </a:lnTo>
                  <a:lnTo>
                    <a:pt x="447" y="357"/>
                  </a:lnTo>
                  <a:lnTo>
                    <a:pt x="451" y="353"/>
                  </a:lnTo>
                  <a:lnTo>
                    <a:pt x="451" y="344"/>
                  </a:lnTo>
                  <a:lnTo>
                    <a:pt x="453" y="338"/>
                  </a:lnTo>
                  <a:lnTo>
                    <a:pt x="454" y="333"/>
                  </a:lnTo>
                  <a:lnTo>
                    <a:pt x="456" y="327"/>
                  </a:lnTo>
                  <a:lnTo>
                    <a:pt x="464" y="322"/>
                  </a:lnTo>
                  <a:lnTo>
                    <a:pt x="475" y="314"/>
                  </a:lnTo>
                  <a:lnTo>
                    <a:pt x="475" y="305"/>
                  </a:lnTo>
                  <a:lnTo>
                    <a:pt x="477" y="298"/>
                  </a:lnTo>
                  <a:lnTo>
                    <a:pt x="478" y="289"/>
                  </a:lnTo>
                  <a:lnTo>
                    <a:pt x="482" y="281"/>
                  </a:lnTo>
                  <a:lnTo>
                    <a:pt x="499" y="283"/>
                  </a:lnTo>
                  <a:lnTo>
                    <a:pt x="510" y="283"/>
                  </a:lnTo>
                  <a:lnTo>
                    <a:pt x="510" y="276"/>
                  </a:lnTo>
                  <a:lnTo>
                    <a:pt x="510" y="265"/>
                  </a:lnTo>
                  <a:lnTo>
                    <a:pt x="510" y="259"/>
                  </a:lnTo>
                  <a:lnTo>
                    <a:pt x="510" y="253"/>
                  </a:lnTo>
                  <a:lnTo>
                    <a:pt x="512" y="250"/>
                  </a:lnTo>
                  <a:lnTo>
                    <a:pt x="514" y="250"/>
                  </a:lnTo>
                  <a:lnTo>
                    <a:pt x="517" y="252"/>
                  </a:lnTo>
                  <a:lnTo>
                    <a:pt x="521" y="259"/>
                  </a:lnTo>
                  <a:lnTo>
                    <a:pt x="525" y="263"/>
                  </a:lnTo>
                  <a:lnTo>
                    <a:pt x="528" y="266"/>
                  </a:lnTo>
                  <a:lnTo>
                    <a:pt x="532" y="268"/>
                  </a:lnTo>
                  <a:lnTo>
                    <a:pt x="539" y="270"/>
                  </a:lnTo>
                  <a:lnTo>
                    <a:pt x="541" y="283"/>
                  </a:lnTo>
                  <a:lnTo>
                    <a:pt x="543" y="294"/>
                  </a:lnTo>
                  <a:lnTo>
                    <a:pt x="551" y="298"/>
                  </a:lnTo>
                  <a:lnTo>
                    <a:pt x="554" y="300"/>
                  </a:lnTo>
                  <a:lnTo>
                    <a:pt x="558" y="305"/>
                  </a:lnTo>
                  <a:lnTo>
                    <a:pt x="560" y="313"/>
                  </a:lnTo>
                  <a:lnTo>
                    <a:pt x="567" y="303"/>
                  </a:lnTo>
                  <a:lnTo>
                    <a:pt x="576" y="296"/>
                  </a:lnTo>
                  <a:lnTo>
                    <a:pt x="582" y="307"/>
                  </a:lnTo>
                  <a:lnTo>
                    <a:pt x="586" y="318"/>
                  </a:lnTo>
                  <a:lnTo>
                    <a:pt x="589" y="320"/>
                  </a:lnTo>
                  <a:lnTo>
                    <a:pt x="595" y="318"/>
                  </a:lnTo>
                  <a:lnTo>
                    <a:pt x="595" y="305"/>
                  </a:lnTo>
                  <a:lnTo>
                    <a:pt x="595" y="300"/>
                  </a:lnTo>
                  <a:lnTo>
                    <a:pt x="597" y="296"/>
                  </a:lnTo>
                  <a:lnTo>
                    <a:pt x="600" y="290"/>
                  </a:lnTo>
                  <a:lnTo>
                    <a:pt x="595" y="281"/>
                  </a:lnTo>
                  <a:lnTo>
                    <a:pt x="586" y="263"/>
                  </a:lnTo>
                  <a:lnTo>
                    <a:pt x="582" y="246"/>
                  </a:lnTo>
                  <a:lnTo>
                    <a:pt x="580" y="231"/>
                  </a:lnTo>
                  <a:lnTo>
                    <a:pt x="580" y="215"/>
                  </a:lnTo>
                  <a:lnTo>
                    <a:pt x="582" y="198"/>
                  </a:lnTo>
                  <a:lnTo>
                    <a:pt x="582" y="196"/>
                  </a:lnTo>
                  <a:lnTo>
                    <a:pt x="582" y="194"/>
                  </a:lnTo>
                  <a:lnTo>
                    <a:pt x="569" y="185"/>
                  </a:lnTo>
                  <a:lnTo>
                    <a:pt x="563" y="180"/>
                  </a:lnTo>
                  <a:lnTo>
                    <a:pt x="562" y="176"/>
                  </a:lnTo>
                  <a:lnTo>
                    <a:pt x="562" y="172"/>
                  </a:lnTo>
                  <a:lnTo>
                    <a:pt x="552" y="167"/>
                  </a:lnTo>
                  <a:lnTo>
                    <a:pt x="539" y="159"/>
                  </a:lnTo>
                  <a:lnTo>
                    <a:pt x="538" y="152"/>
                  </a:lnTo>
                  <a:lnTo>
                    <a:pt x="534" y="144"/>
                  </a:lnTo>
                  <a:lnTo>
                    <a:pt x="530" y="135"/>
                  </a:lnTo>
                  <a:lnTo>
                    <a:pt x="525" y="130"/>
                  </a:lnTo>
                  <a:lnTo>
                    <a:pt x="502" y="130"/>
                  </a:lnTo>
                  <a:lnTo>
                    <a:pt x="484" y="128"/>
                  </a:lnTo>
                  <a:lnTo>
                    <a:pt x="488" y="117"/>
                  </a:lnTo>
                  <a:lnTo>
                    <a:pt x="491" y="107"/>
                  </a:lnTo>
                  <a:lnTo>
                    <a:pt x="488" y="102"/>
                  </a:lnTo>
                  <a:lnTo>
                    <a:pt x="482" y="98"/>
                  </a:lnTo>
                  <a:lnTo>
                    <a:pt x="477" y="95"/>
                  </a:lnTo>
                  <a:lnTo>
                    <a:pt x="473" y="93"/>
                  </a:lnTo>
                  <a:lnTo>
                    <a:pt x="467" y="87"/>
                  </a:lnTo>
                  <a:lnTo>
                    <a:pt x="467" y="83"/>
                  </a:lnTo>
                  <a:lnTo>
                    <a:pt x="467" y="80"/>
                  </a:lnTo>
                  <a:lnTo>
                    <a:pt x="466" y="76"/>
                  </a:lnTo>
                  <a:lnTo>
                    <a:pt x="454" y="72"/>
                  </a:lnTo>
                  <a:lnTo>
                    <a:pt x="443" y="69"/>
                  </a:lnTo>
                  <a:lnTo>
                    <a:pt x="432" y="65"/>
                  </a:lnTo>
                  <a:lnTo>
                    <a:pt x="421" y="56"/>
                  </a:lnTo>
                  <a:lnTo>
                    <a:pt x="419" y="54"/>
                  </a:lnTo>
                  <a:lnTo>
                    <a:pt x="419" y="50"/>
                  </a:lnTo>
                  <a:lnTo>
                    <a:pt x="419" y="46"/>
                  </a:lnTo>
                  <a:lnTo>
                    <a:pt x="421" y="43"/>
                  </a:lnTo>
                  <a:lnTo>
                    <a:pt x="421" y="39"/>
                  </a:lnTo>
                  <a:lnTo>
                    <a:pt x="421" y="35"/>
                  </a:lnTo>
                  <a:lnTo>
                    <a:pt x="419" y="32"/>
                  </a:lnTo>
                  <a:lnTo>
                    <a:pt x="414" y="28"/>
                  </a:lnTo>
                  <a:lnTo>
                    <a:pt x="406" y="26"/>
                  </a:lnTo>
                  <a:lnTo>
                    <a:pt x="401" y="24"/>
                  </a:lnTo>
                  <a:lnTo>
                    <a:pt x="397" y="21"/>
                  </a:lnTo>
                  <a:lnTo>
                    <a:pt x="393" y="19"/>
                  </a:lnTo>
                  <a:lnTo>
                    <a:pt x="392" y="10"/>
                  </a:lnTo>
                  <a:lnTo>
                    <a:pt x="392" y="0"/>
                  </a:lnTo>
                  <a:lnTo>
                    <a:pt x="388" y="2"/>
                  </a:lnTo>
                  <a:lnTo>
                    <a:pt x="386" y="6"/>
                  </a:lnTo>
                  <a:lnTo>
                    <a:pt x="386" y="8"/>
                  </a:lnTo>
                  <a:lnTo>
                    <a:pt x="386" y="11"/>
                  </a:lnTo>
                  <a:lnTo>
                    <a:pt x="386" y="19"/>
                  </a:lnTo>
                  <a:lnTo>
                    <a:pt x="384" y="24"/>
                  </a:lnTo>
                  <a:lnTo>
                    <a:pt x="375" y="32"/>
                  </a:lnTo>
                  <a:lnTo>
                    <a:pt x="364" y="39"/>
                  </a:lnTo>
                  <a:lnTo>
                    <a:pt x="358" y="41"/>
                  </a:lnTo>
                  <a:lnTo>
                    <a:pt x="351" y="43"/>
                  </a:lnTo>
                  <a:lnTo>
                    <a:pt x="342" y="43"/>
                  </a:lnTo>
                  <a:lnTo>
                    <a:pt x="333" y="43"/>
                  </a:lnTo>
                  <a:lnTo>
                    <a:pt x="325" y="45"/>
                  </a:lnTo>
                  <a:lnTo>
                    <a:pt x="316" y="50"/>
                  </a:lnTo>
                  <a:lnTo>
                    <a:pt x="312" y="54"/>
                  </a:lnTo>
                  <a:lnTo>
                    <a:pt x="309" y="58"/>
                  </a:lnTo>
                  <a:lnTo>
                    <a:pt x="307" y="63"/>
                  </a:lnTo>
                  <a:lnTo>
                    <a:pt x="303" y="69"/>
                  </a:lnTo>
                  <a:lnTo>
                    <a:pt x="290" y="69"/>
                  </a:lnTo>
                  <a:lnTo>
                    <a:pt x="279" y="69"/>
                  </a:lnTo>
                  <a:lnTo>
                    <a:pt x="268" y="70"/>
                  </a:lnTo>
                  <a:lnTo>
                    <a:pt x="259" y="72"/>
                  </a:lnTo>
                  <a:lnTo>
                    <a:pt x="240" y="78"/>
                  </a:lnTo>
                  <a:lnTo>
                    <a:pt x="222" y="82"/>
                  </a:lnTo>
                  <a:lnTo>
                    <a:pt x="218" y="78"/>
                  </a:lnTo>
                  <a:lnTo>
                    <a:pt x="216" y="72"/>
                  </a:lnTo>
                  <a:lnTo>
                    <a:pt x="214" y="65"/>
                  </a:lnTo>
                  <a:lnTo>
                    <a:pt x="212" y="56"/>
                  </a:lnTo>
                  <a:lnTo>
                    <a:pt x="207" y="52"/>
                  </a:lnTo>
                  <a:lnTo>
                    <a:pt x="200" y="50"/>
                  </a:lnTo>
                  <a:lnTo>
                    <a:pt x="190" y="50"/>
                  </a:lnTo>
                  <a:lnTo>
                    <a:pt x="183" y="54"/>
                  </a:lnTo>
                  <a:lnTo>
                    <a:pt x="185" y="63"/>
                  </a:lnTo>
                  <a:lnTo>
                    <a:pt x="187" y="72"/>
                  </a:lnTo>
                  <a:lnTo>
                    <a:pt x="181" y="78"/>
                  </a:lnTo>
                  <a:lnTo>
                    <a:pt x="177" y="83"/>
                  </a:lnTo>
                  <a:lnTo>
                    <a:pt x="177" y="89"/>
                  </a:lnTo>
                  <a:lnTo>
                    <a:pt x="177" y="93"/>
                  </a:lnTo>
                  <a:lnTo>
                    <a:pt x="177" y="104"/>
                  </a:lnTo>
                  <a:lnTo>
                    <a:pt x="177" y="111"/>
                  </a:lnTo>
                  <a:lnTo>
                    <a:pt x="164" y="111"/>
                  </a:lnTo>
                  <a:lnTo>
                    <a:pt x="153" y="111"/>
                  </a:lnTo>
                  <a:lnTo>
                    <a:pt x="152" y="120"/>
                  </a:lnTo>
                  <a:lnTo>
                    <a:pt x="152" y="133"/>
                  </a:lnTo>
                  <a:lnTo>
                    <a:pt x="133" y="141"/>
                  </a:lnTo>
                  <a:lnTo>
                    <a:pt x="115" y="148"/>
                  </a:lnTo>
                  <a:lnTo>
                    <a:pt x="109" y="167"/>
                  </a:lnTo>
                  <a:lnTo>
                    <a:pt x="103" y="178"/>
                  </a:lnTo>
                  <a:lnTo>
                    <a:pt x="111" y="189"/>
                  </a:lnTo>
                  <a:lnTo>
                    <a:pt x="120" y="196"/>
                  </a:lnTo>
                  <a:lnTo>
                    <a:pt x="116" y="200"/>
                  </a:lnTo>
                  <a:lnTo>
                    <a:pt x="113" y="202"/>
                  </a:lnTo>
                  <a:lnTo>
                    <a:pt x="109" y="204"/>
                  </a:lnTo>
                  <a:lnTo>
                    <a:pt x="105" y="204"/>
                  </a:lnTo>
                  <a:lnTo>
                    <a:pt x="100" y="204"/>
                  </a:lnTo>
                  <a:lnTo>
                    <a:pt x="98" y="205"/>
                  </a:lnTo>
                  <a:lnTo>
                    <a:pt x="96" y="209"/>
                  </a:lnTo>
                  <a:lnTo>
                    <a:pt x="96" y="213"/>
                  </a:lnTo>
                  <a:lnTo>
                    <a:pt x="96" y="220"/>
                  </a:lnTo>
                  <a:lnTo>
                    <a:pt x="100" y="224"/>
                  </a:lnTo>
                  <a:lnTo>
                    <a:pt x="103" y="224"/>
                  </a:lnTo>
                  <a:lnTo>
                    <a:pt x="109" y="224"/>
                  </a:lnTo>
                  <a:lnTo>
                    <a:pt x="113" y="224"/>
                  </a:lnTo>
                  <a:lnTo>
                    <a:pt x="118" y="226"/>
                  </a:lnTo>
                  <a:lnTo>
                    <a:pt x="124" y="228"/>
                  </a:lnTo>
                  <a:lnTo>
                    <a:pt x="127" y="233"/>
                  </a:lnTo>
                  <a:lnTo>
                    <a:pt x="124" y="244"/>
                  </a:lnTo>
                  <a:lnTo>
                    <a:pt x="116" y="252"/>
                  </a:lnTo>
                  <a:lnTo>
                    <a:pt x="113" y="257"/>
                  </a:lnTo>
                  <a:lnTo>
                    <a:pt x="111" y="263"/>
                  </a:lnTo>
                  <a:lnTo>
                    <a:pt x="113" y="270"/>
                  </a:lnTo>
                  <a:lnTo>
                    <a:pt x="118" y="277"/>
                  </a:lnTo>
                  <a:lnTo>
                    <a:pt x="127" y="289"/>
                  </a:lnTo>
                  <a:lnTo>
                    <a:pt x="137" y="298"/>
                  </a:lnTo>
                  <a:lnTo>
                    <a:pt x="142" y="303"/>
                  </a:lnTo>
                  <a:lnTo>
                    <a:pt x="146" y="309"/>
                  </a:lnTo>
                  <a:lnTo>
                    <a:pt x="150" y="314"/>
                  </a:lnTo>
                  <a:lnTo>
                    <a:pt x="152" y="322"/>
                  </a:lnTo>
                  <a:lnTo>
                    <a:pt x="144" y="335"/>
                  </a:lnTo>
                  <a:lnTo>
                    <a:pt x="135" y="357"/>
                  </a:lnTo>
                  <a:lnTo>
                    <a:pt x="129" y="362"/>
                  </a:lnTo>
                  <a:lnTo>
                    <a:pt x="124" y="366"/>
                  </a:lnTo>
                  <a:lnTo>
                    <a:pt x="120" y="368"/>
                  </a:lnTo>
                  <a:lnTo>
                    <a:pt x="118" y="372"/>
                  </a:lnTo>
                  <a:lnTo>
                    <a:pt x="116" y="377"/>
                  </a:lnTo>
                  <a:lnTo>
                    <a:pt x="115" y="385"/>
                  </a:lnTo>
                  <a:lnTo>
                    <a:pt x="98" y="383"/>
                  </a:lnTo>
                  <a:lnTo>
                    <a:pt x="81" y="383"/>
                  </a:lnTo>
                  <a:lnTo>
                    <a:pt x="79" y="388"/>
                  </a:lnTo>
                  <a:lnTo>
                    <a:pt x="76" y="394"/>
                  </a:lnTo>
                  <a:lnTo>
                    <a:pt x="76" y="401"/>
                  </a:lnTo>
                  <a:lnTo>
                    <a:pt x="74" y="407"/>
                  </a:lnTo>
                  <a:lnTo>
                    <a:pt x="67" y="409"/>
                  </a:lnTo>
                  <a:lnTo>
                    <a:pt x="57" y="409"/>
                  </a:lnTo>
                  <a:lnTo>
                    <a:pt x="54" y="409"/>
                  </a:lnTo>
                  <a:lnTo>
                    <a:pt x="50" y="410"/>
                  </a:lnTo>
                  <a:lnTo>
                    <a:pt x="46" y="414"/>
                  </a:lnTo>
                  <a:lnTo>
                    <a:pt x="44" y="418"/>
                  </a:lnTo>
                  <a:lnTo>
                    <a:pt x="43" y="423"/>
                  </a:lnTo>
                  <a:lnTo>
                    <a:pt x="44" y="429"/>
                  </a:lnTo>
                  <a:lnTo>
                    <a:pt x="48" y="431"/>
                  </a:lnTo>
                  <a:lnTo>
                    <a:pt x="52" y="435"/>
                  </a:lnTo>
                  <a:lnTo>
                    <a:pt x="55" y="436"/>
                  </a:lnTo>
                  <a:lnTo>
                    <a:pt x="59" y="440"/>
                  </a:lnTo>
                  <a:lnTo>
                    <a:pt x="61" y="447"/>
                  </a:lnTo>
                  <a:lnTo>
                    <a:pt x="61" y="457"/>
                  </a:lnTo>
                  <a:lnTo>
                    <a:pt x="57" y="460"/>
                  </a:lnTo>
                  <a:lnTo>
                    <a:pt x="54" y="460"/>
                  </a:lnTo>
                  <a:lnTo>
                    <a:pt x="50" y="460"/>
                  </a:lnTo>
                  <a:lnTo>
                    <a:pt x="46" y="459"/>
                  </a:lnTo>
                  <a:lnTo>
                    <a:pt x="41" y="455"/>
                  </a:lnTo>
                  <a:lnTo>
                    <a:pt x="35" y="453"/>
                  </a:lnTo>
                  <a:lnTo>
                    <a:pt x="33" y="462"/>
                  </a:lnTo>
                  <a:lnTo>
                    <a:pt x="31" y="470"/>
                  </a:lnTo>
                  <a:lnTo>
                    <a:pt x="24" y="471"/>
                  </a:lnTo>
                  <a:lnTo>
                    <a:pt x="17" y="470"/>
                  </a:lnTo>
                  <a:lnTo>
                    <a:pt x="13" y="471"/>
                  </a:lnTo>
                  <a:lnTo>
                    <a:pt x="9" y="473"/>
                  </a:lnTo>
                  <a:lnTo>
                    <a:pt x="4" y="477"/>
                  </a:lnTo>
                  <a:lnTo>
                    <a:pt x="0" y="484"/>
                  </a:lnTo>
                  <a:lnTo>
                    <a:pt x="6" y="490"/>
                  </a:lnTo>
                  <a:lnTo>
                    <a:pt x="9" y="497"/>
                  </a:lnTo>
                  <a:lnTo>
                    <a:pt x="11" y="503"/>
                  </a:lnTo>
                  <a:lnTo>
                    <a:pt x="11" y="508"/>
                  </a:lnTo>
                  <a:lnTo>
                    <a:pt x="11" y="518"/>
                  </a:lnTo>
                  <a:lnTo>
                    <a:pt x="13" y="525"/>
                  </a:lnTo>
                  <a:lnTo>
                    <a:pt x="22" y="529"/>
                  </a:lnTo>
                  <a:lnTo>
                    <a:pt x="28" y="534"/>
                  </a:lnTo>
                  <a:lnTo>
                    <a:pt x="28" y="549"/>
                  </a:lnTo>
                  <a:lnTo>
                    <a:pt x="26" y="560"/>
                  </a:lnTo>
                  <a:lnTo>
                    <a:pt x="33" y="575"/>
                  </a:lnTo>
                  <a:lnTo>
                    <a:pt x="46" y="593"/>
                  </a:lnTo>
                  <a:lnTo>
                    <a:pt x="61" y="612"/>
                  </a:lnTo>
                  <a:lnTo>
                    <a:pt x="70" y="623"/>
                  </a:lnTo>
                  <a:lnTo>
                    <a:pt x="67" y="643"/>
                  </a:lnTo>
                  <a:lnTo>
                    <a:pt x="67" y="660"/>
                  </a:lnTo>
                  <a:lnTo>
                    <a:pt x="70" y="660"/>
                  </a:lnTo>
                  <a:lnTo>
                    <a:pt x="74" y="658"/>
                  </a:lnTo>
                  <a:lnTo>
                    <a:pt x="79" y="654"/>
                  </a:lnTo>
                  <a:lnTo>
                    <a:pt x="83" y="651"/>
                  </a:lnTo>
                  <a:lnTo>
                    <a:pt x="92" y="638"/>
                  </a:lnTo>
                  <a:lnTo>
                    <a:pt x="100" y="627"/>
                  </a:lnTo>
                  <a:lnTo>
                    <a:pt x="109" y="627"/>
                  </a:lnTo>
                  <a:lnTo>
                    <a:pt x="122" y="627"/>
                  </a:lnTo>
                  <a:lnTo>
                    <a:pt x="137" y="632"/>
                  </a:lnTo>
                  <a:lnTo>
                    <a:pt x="152" y="640"/>
                  </a:lnTo>
                  <a:lnTo>
                    <a:pt x="166" y="647"/>
                  </a:lnTo>
                  <a:lnTo>
                    <a:pt x="179" y="658"/>
                  </a:lnTo>
                  <a:lnTo>
                    <a:pt x="183" y="664"/>
                  </a:lnTo>
                  <a:lnTo>
                    <a:pt x="187" y="671"/>
                  </a:lnTo>
                  <a:lnTo>
                    <a:pt x="188" y="677"/>
                  </a:lnTo>
                  <a:lnTo>
                    <a:pt x="188" y="682"/>
                  </a:lnTo>
                  <a:lnTo>
                    <a:pt x="187" y="704"/>
                  </a:lnTo>
                  <a:lnTo>
                    <a:pt x="183" y="721"/>
                  </a:lnTo>
                  <a:lnTo>
                    <a:pt x="181" y="728"/>
                  </a:lnTo>
                  <a:lnTo>
                    <a:pt x="181" y="736"/>
                  </a:lnTo>
                  <a:lnTo>
                    <a:pt x="183" y="743"/>
                  </a:lnTo>
                  <a:lnTo>
                    <a:pt x="190" y="749"/>
                  </a:lnTo>
                  <a:lnTo>
                    <a:pt x="194" y="750"/>
                  </a:lnTo>
                  <a:lnTo>
                    <a:pt x="198" y="749"/>
                  </a:lnTo>
                  <a:lnTo>
                    <a:pt x="201" y="747"/>
                  </a:lnTo>
                  <a:lnTo>
                    <a:pt x="207" y="745"/>
                  </a:lnTo>
                  <a:lnTo>
                    <a:pt x="212" y="741"/>
                  </a:lnTo>
                  <a:lnTo>
                    <a:pt x="222" y="739"/>
                  </a:lnTo>
                  <a:lnTo>
                    <a:pt x="233" y="738"/>
                  </a:lnTo>
                  <a:lnTo>
                    <a:pt x="248" y="739"/>
                  </a:lnTo>
                  <a:lnTo>
                    <a:pt x="257" y="741"/>
                  </a:lnTo>
                  <a:lnTo>
                    <a:pt x="266" y="745"/>
                  </a:lnTo>
                  <a:lnTo>
                    <a:pt x="272" y="749"/>
                  </a:lnTo>
                  <a:lnTo>
                    <a:pt x="275" y="754"/>
                  </a:lnTo>
                  <a:lnTo>
                    <a:pt x="281" y="762"/>
                  </a:lnTo>
                  <a:lnTo>
                    <a:pt x="285" y="773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7116547" y="2636100"/>
              <a:ext cx="71514" cy="62104"/>
            </a:xfrm>
            <a:custGeom>
              <a:avLst/>
              <a:gdLst>
                <a:gd name="T0" fmla="*/ 8828 w 41"/>
                <a:gd name="T1" fmla="*/ 23812 h 33"/>
                <a:gd name="T2" fmla="*/ 5885 w 41"/>
                <a:gd name="T3" fmla="*/ 17462 h 33"/>
                <a:gd name="T4" fmla="*/ 0 w 41"/>
                <a:gd name="T5" fmla="*/ 11112 h 33"/>
                <a:gd name="T6" fmla="*/ 0 w 41"/>
                <a:gd name="T7" fmla="*/ 9525 h 33"/>
                <a:gd name="T8" fmla="*/ 0 w 41"/>
                <a:gd name="T9" fmla="*/ 6350 h 33"/>
                <a:gd name="T10" fmla="*/ 0 w 41"/>
                <a:gd name="T11" fmla="*/ 3175 h 33"/>
                <a:gd name="T12" fmla="*/ 5885 w 41"/>
                <a:gd name="T13" fmla="*/ 3175 h 33"/>
                <a:gd name="T14" fmla="*/ 8828 w 41"/>
                <a:gd name="T15" fmla="*/ 0 h 33"/>
                <a:gd name="T16" fmla="*/ 13242 w 41"/>
                <a:gd name="T17" fmla="*/ 3175 h 33"/>
                <a:gd name="T18" fmla="*/ 19127 w 41"/>
                <a:gd name="T19" fmla="*/ 6350 h 33"/>
                <a:gd name="T20" fmla="*/ 25013 w 41"/>
                <a:gd name="T21" fmla="*/ 9525 h 33"/>
                <a:gd name="T22" fmla="*/ 35312 w 41"/>
                <a:gd name="T23" fmla="*/ 3175 h 33"/>
                <a:gd name="T24" fmla="*/ 44140 w 41"/>
                <a:gd name="T25" fmla="*/ 0 h 33"/>
                <a:gd name="T26" fmla="*/ 48554 w 41"/>
                <a:gd name="T27" fmla="*/ 0 h 33"/>
                <a:gd name="T28" fmla="*/ 54440 w 41"/>
                <a:gd name="T29" fmla="*/ 0 h 33"/>
                <a:gd name="T30" fmla="*/ 60325 w 41"/>
                <a:gd name="T31" fmla="*/ 6350 h 33"/>
                <a:gd name="T32" fmla="*/ 60325 w 41"/>
                <a:gd name="T33" fmla="*/ 11112 h 33"/>
                <a:gd name="T34" fmla="*/ 60325 w 41"/>
                <a:gd name="T35" fmla="*/ 20637 h 33"/>
                <a:gd name="T36" fmla="*/ 54440 w 41"/>
                <a:gd name="T37" fmla="*/ 31750 h 33"/>
                <a:gd name="T38" fmla="*/ 54440 w 41"/>
                <a:gd name="T39" fmla="*/ 41275 h 33"/>
                <a:gd name="T40" fmla="*/ 51497 w 41"/>
                <a:gd name="T41" fmla="*/ 44450 h 33"/>
                <a:gd name="T42" fmla="*/ 48554 w 41"/>
                <a:gd name="T43" fmla="*/ 47625 h 33"/>
                <a:gd name="T44" fmla="*/ 44140 w 41"/>
                <a:gd name="T45" fmla="*/ 50800 h 33"/>
                <a:gd name="T46" fmla="*/ 32370 w 41"/>
                <a:gd name="T47" fmla="*/ 52387 h 33"/>
                <a:gd name="T48" fmla="*/ 22070 w 41"/>
                <a:gd name="T49" fmla="*/ 50800 h 33"/>
                <a:gd name="T50" fmla="*/ 5885 w 41"/>
                <a:gd name="T51" fmla="*/ 44450 h 33"/>
                <a:gd name="T52" fmla="*/ 0 w 41"/>
                <a:gd name="T53" fmla="*/ 41275 h 33"/>
                <a:gd name="T54" fmla="*/ 2943 w 41"/>
                <a:gd name="T55" fmla="*/ 31750 h 33"/>
                <a:gd name="T56" fmla="*/ 8828 w 41"/>
                <a:gd name="T57" fmla="*/ 23812 h 3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1"/>
                <a:gd name="T88" fmla="*/ 0 h 33"/>
                <a:gd name="T89" fmla="*/ 41 w 41"/>
                <a:gd name="T90" fmla="*/ 33 h 3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1" h="33">
                  <a:moveTo>
                    <a:pt x="6" y="15"/>
                  </a:moveTo>
                  <a:lnTo>
                    <a:pt x="4" y="11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9" y="2"/>
                  </a:lnTo>
                  <a:lnTo>
                    <a:pt x="13" y="4"/>
                  </a:lnTo>
                  <a:lnTo>
                    <a:pt x="17" y="6"/>
                  </a:lnTo>
                  <a:lnTo>
                    <a:pt x="24" y="2"/>
                  </a:lnTo>
                  <a:lnTo>
                    <a:pt x="30" y="0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1" y="4"/>
                  </a:lnTo>
                  <a:lnTo>
                    <a:pt x="41" y="7"/>
                  </a:lnTo>
                  <a:lnTo>
                    <a:pt x="41" y="13"/>
                  </a:lnTo>
                  <a:lnTo>
                    <a:pt x="37" y="20"/>
                  </a:lnTo>
                  <a:lnTo>
                    <a:pt x="37" y="26"/>
                  </a:lnTo>
                  <a:lnTo>
                    <a:pt x="35" y="28"/>
                  </a:lnTo>
                  <a:lnTo>
                    <a:pt x="33" y="30"/>
                  </a:lnTo>
                  <a:lnTo>
                    <a:pt x="30" y="32"/>
                  </a:lnTo>
                  <a:lnTo>
                    <a:pt x="22" y="33"/>
                  </a:lnTo>
                  <a:lnTo>
                    <a:pt x="15" y="32"/>
                  </a:lnTo>
                  <a:lnTo>
                    <a:pt x="4" y="28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6" y="15"/>
                  </a:lnTo>
                  <a:close/>
                </a:path>
              </a:pathLst>
            </a:custGeom>
            <a:solidFill>
              <a:schemeClr val="accent1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auto">
            <a:xfrm>
              <a:off x="7905085" y="1668774"/>
              <a:ext cx="1467926" cy="696324"/>
            </a:xfrm>
            <a:custGeom>
              <a:avLst/>
              <a:gdLst>
                <a:gd name="T0" fmla="*/ 252046 w 845"/>
                <a:gd name="T1" fmla="*/ 490538 h 370"/>
                <a:gd name="T2" fmla="*/ 284285 w 845"/>
                <a:gd name="T3" fmla="*/ 493713 h 370"/>
                <a:gd name="T4" fmla="*/ 271096 w 845"/>
                <a:gd name="T5" fmla="*/ 446088 h 370"/>
                <a:gd name="T6" fmla="*/ 298938 w 845"/>
                <a:gd name="T7" fmla="*/ 538163 h 370"/>
                <a:gd name="T8" fmla="*/ 303335 w 845"/>
                <a:gd name="T9" fmla="*/ 563563 h 370"/>
                <a:gd name="T10" fmla="*/ 382465 w 845"/>
                <a:gd name="T11" fmla="*/ 531813 h 370"/>
                <a:gd name="T12" fmla="*/ 423496 w 845"/>
                <a:gd name="T13" fmla="*/ 504825 h 370"/>
                <a:gd name="T14" fmla="*/ 398585 w 845"/>
                <a:gd name="T15" fmla="*/ 476250 h 370"/>
                <a:gd name="T16" fmla="*/ 360485 w 845"/>
                <a:gd name="T17" fmla="*/ 455613 h 370"/>
                <a:gd name="T18" fmla="*/ 306265 w 845"/>
                <a:gd name="T19" fmla="*/ 469900 h 370"/>
                <a:gd name="T20" fmla="*/ 105508 w 845"/>
                <a:gd name="T21" fmla="*/ 569913 h 370"/>
                <a:gd name="T22" fmla="*/ 143608 w 845"/>
                <a:gd name="T23" fmla="*/ 587375 h 370"/>
                <a:gd name="T24" fmla="*/ 120162 w 845"/>
                <a:gd name="T25" fmla="*/ 557213 h 370"/>
                <a:gd name="T26" fmla="*/ 33704 w 845"/>
                <a:gd name="T27" fmla="*/ 431800 h 370"/>
                <a:gd name="T28" fmla="*/ 41031 w 845"/>
                <a:gd name="T29" fmla="*/ 407988 h 370"/>
                <a:gd name="T30" fmla="*/ 19050 w 845"/>
                <a:gd name="T31" fmla="*/ 376237 h 370"/>
                <a:gd name="T32" fmla="*/ 70338 w 845"/>
                <a:gd name="T33" fmla="*/ 346075 h 370"/>
                <a:gd name="T34" fmla="*/ 68873 w 845"/>
                <a:gd name="T35" fmla="*/ 376237 h 370"/>
                <a:gd name="T36" fmla="*/ 87923 w 845"/>
                <a:gd name="T37" fmla="*/ 422275 h 370"/>
                <a:gd name="T38" fmla="*/ 152400 w 845"/>
                <a:gd name="T39" fmla="*/ 455613 h 370"/>
                <a:gd name="T40" fmla="*/ 190500 w 845"/>
                <a:gd name="T41" fmla="*/ 428625 h 370"/>
                <a:gd name="T42" fmla="*/ 193431 w 845"/>
                <a:gd name="T43" fmla="*/ 414338 h 370"/>
                <a:gd name="T44" fmla="*/ 213946 w 845"/>
                <a:gd name="T45" fmla="*/ 387350 h 370"/>
                <a:gd name="T46" fmla="*/ 249115 w 845"/>
                <a:gd name="T47" fmla="*/ 358775 h 370"/>
                <a:gd name="T48" fmla="*/ 290146 w 845"/>
                <a:gd name="T49" fmla="*/ 331787 h 370"/>
                <a:gd name="T50" fmla="*/ 238858 w 845"/>
                <a:gd name="T51" fmla="*/ 320675 h 370"/>
                <a:gd name="T52" fmla="*/ 206619 w 845"/>
                <a:gd name="T53" fmla="*/ 279400 h 370"/>
                <a:gd name="T54" fmla="*/ 219808 w 845"/>
                <a:gd name="T55" fmla="*/ 258763 h 370"/>
                <a:gd name="T56" fmla="*/ 235927 w 845"/>
                <a:gd name="T57" fmla="*/ 303212 h 370"/>
                <a:gd name="T58" fmla="*/ 309196 w 845"/>
                <a:gd name="T59" fmla="*/ 300037 h 370"/>
                <a:gd name="T60" fmla="*/ 296008 w 845"/>
                <a:gd name="T61" fmla="*/ 249238 h 370"/>
                <a:gd name="T62" fmla="*/ 284285 w 845"/>
                <a:gd name="T63" fmla="*/ 211138 h 370"/>
                <a:gd name="T64" fmla="*/ 225669 w 845"/>
                <a:gd name="T65" fmla="*/ 217488 h 370"/>
                <a:gd name="T66" fmla="*/ 152400 w 845"/>
                <a:gd name="T67" fmla="*/ 227013 h 370"/>
                <a:gd name="T68" fmla="*/ 146538 w 845"/>
                <a:gd name="T69" fmla="*/ 258763 h 370"/>
                <a:gd name="T70" fmla="*/ 168519 w 845"/>
                <a:gd name="T71" fmla="*/ 290513 h 370"/>
                <a:gd name="T72" fmla="*/ 123092 w 845"/>
                <a:gd name="T73" fmla="*/ 276225 h 370"/>
                <a:gd name="T74" fmla="*/ 82062 w 845"/>
                <a:gd name="T75" fmla="*/ 265113 h 370"/>
                <a:gd name="T76" fmla="*/ 54219 w 845"/>
                <a:gd name="T77" fmla="*/ 320675 h 370"/>
                <a:gd name="T78" fmla="*/ 376604 w 845"/>
                <a:gd name="T79" fmla="*/ 230188 h 370"/>
                <a:gd name="T80" fmla="*/ 424962 w 845"/>
                <a:gd name="T81" fmla="*/ 231775 h 370"/>
                <a:gd name="T82" fmla="*/ 471854 w 845"/>
                <a:gd name="T83" fmla="*/ 158750 h 370"/>
                <a:gd name="T84" fmla="*/ 455735 w 845"/>
                <a:gd name="T85" fmla="*/ 134938 h 370"/>
                <a:gd name="T86" fmla="*/ 414704 w 845"/>
                <a:gd name="T87" fmla="*/ 150812 h 370"/>
                <a:gd name="T88" fmla="*/ 363415 w 845"/>
                <a:gd name="T89" fmla="*/ 165100 h 370"/>
                <a:gd name="T90" fmla="*/ 338504 w 845"/>
                <a:gd name="T91" fmla="*/ 203200 h 370"/>
                <a:gd name="T92" fmla="*/ 317988 w 845"/>
                <a:gd name="T93" fmla="*/ 206375 h 370"/>
                <a:gd name="T94" fmla="*/ 344365 w 845"/>
                <a:gd name="T95" fmla="*/ 234950 h 370"/>
                <a:gd name="T96" fmla="*/ 287215 w 845"/>
                <a:gd name="T97" fmla="*/ 38100 h 370"/>
                <a:gd name="T98" fmla="*/ 293077 w 845"/>
                <a:gd name="T99" fmla="*/ 3175 h 370"/>
                <a:gd name="T100" fmla="*/ 274027 w 845"/>
                <a:gd name="T101" fmla="*/ 20637 h 370"/>
                <a:gd name="T102" fmla="*/ 1075592 w 845"/>
                <a:gd name="T103" fmla="*/ 223838 h 370"/>
                <a:gd name="T104" fmla="*/ 1091712 w 845"/>
                <a:gd name="T105" fmla="*/ 241300 h 370"/>
                <a:gd name="T106" fmla="*/ 1116623 w 845"/>
                <a:gd name="T107" fmla="*/ 211138 h 370"/>
                <a:gd name="T108" fmla="*/ 1126881 w 845"/>
                <a:gd name="T109" fmla="*/ 200025 h 370"/>
                <a:gd name="T110" fmla="*/ 1099039 w 845"/>
                <a:gd name="T111" fmla="*/ 203200 h 370"/>
                <a:gd name="T112" fmla="*/ 1145931 w 845"/>
                <a:gd name="T113" fmla="*/ 185737 h 370"/>
                <a:gd name="T114" fmla="*/ 1156188 w 845"/>
                <a:gd name="T115" fmla="*/ 179387 h 370"/>
                <a:gd name="T116" fmla="*/ 1229458 w 845"/>
                <a:gd name="T117" fmla="*/ 285750 h 370"/>
                <a:gd name="T118" fmla="*/ 1223596 w 845"/>
                <a:gd name="T119" fmla="*/ 285750 h 370"/>
                <a:gd name="T120" fmla="*/ 1222131 w 845"/>
                <a:gd name="T121" fmla="*/ 300037 h 370"/>
                <a:gd name="T122" fmla="*/ 1232388 w 845"/>
                <a:gd name="T123" fmla="*/ 287338 h 37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845"/>
                <a:gd name="T187" fmla="*/ 0 h 370"/>
                <a:gd name="T188" fmla="*/ 845 w 845"/>
                <a:gd name="T189" fmla="*/ 370 h 37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845" h="370">
                  <a:moveTo>
                    <a:pt x="170" y="289"/>
                  </a:moveTo>
                  <a:lnTo>
                    <a:pt x="169" y="291"/>
                  </a:lnTo>
                  <a:lnTo>
                    <a:pt x="169" y="292"/>
                  </a:lnTo>
                  <a:lnTo>
                    <a:pt x="169" y="294"/>
                  </a:lnTo>
                  <a:lnTo>
                    <a:pt x="169" y="296"/>
                  </a:lnTo>
                  <a:lnTo>
                    <a:pt x="167" y="298"/>
                  </a:lnTo>
                  <a:lnTo>
                    <a:pt x="169" y="300"/>
                  </a:lnTo>
                  <a:lnTo>
                    <a:pt x="169" y="302"/>
                  </a:lnTo>
                  <a:lnTo>
                    <a:pt x="169" y="303"/>
                  </a:lnTo>
                  <a:lnTo>
                    <a:pt x="169" y="305"/>
                  </a:lnTo>
                  <a:lnTo>
                    <a:pt x="170" y="305"/>
                  </a:lnTo>
                  <a:lnTo>
                    <a:pt x="170" y="307"/>
                  </a:lnTo>
                  <a:lnTo>
                    <a:pt x="172" y="309"/>
                  </a:lnTo>
                  <a:lnTo>
                    <a:pt x="174" y="311"/>
                  </a:lnTo>
                  <a:lnTo>
                    <a:pt x="176" y="311"/>
                  </a:lnTo>
                  <a:lnTo>
                    <a:pt x="178" y="313"/>
                  </a:lnTo>
                  <a:lnTo>
                    <a:pt x="181" y="313"/>
                  </a:lnTo>
                  <a:lnTo>
                    <a:pt x="183" y="315"/>
                  </a:lnTo>
                  <a:lnTo>
                    <a:pt x="185" y="315"/>
                  </a:lnTo>
                  <a:lnTo>
                    <a:pt x="187" y="315"/>
                  </a:lnTo>
                  <a:lnTo>
                    <a:pt x="189" y="315"/>
                  </a:lnTo>
                  <a:lnTo>
                    <a:pt x="189" y="313"/>
                  </a:lnTo>
                  <a:lnTo>
                    <a:pt x="191" y="313"/>
                  </a:lnTo>
                  <a:lnTo>
                    <a:pt x="193" y="313"/>
                  </a:lnTo>
                  <a:lnTo>
                    <a:pt x="194" y="311"/>
                  </a:lnTo>
                  <a:lnTo>
                    <a:pt x="196" y="309"/>
                  </a:lnTo>
                  <a:lnTo>
                    <a:pt x="198" y="309"/>
                  </a:lnTo>
                  <a:lnTo>
                    <a:pt x="200" y="305"/>
                  </a:lnTo>
                  <a:lnTo>
                    <a:pt x="198" y="302"/>
                  </a:lnTo>
                  <a:lnTo>
                    <a:pt x="198" y="298"/>
                  </a:lnTo>
                  <a:lnTo>
                    <a:pt x="196" y="294"/>
                  </a:lnTo>
                  <a:lnTo>
                    <a:pt x="196" y="291"/>
                  </a:lnTo>
                  <a:lnTo>
                    <a:pt x="194" y="289"/>
                  </a:lnTo>
                  <a:lnTo>
                    <a:pt x="193" y="287"/>
                  </a:lnTo>
                  <a:lnTo>
                    <a:pt x="191" y="285"/>
                  </a:lnTo>
                  <a:lnTo>
                    <a:pt x="189" y="283"/>
                  </a:lnTo>
                  <a:lnTo>
                    <a:pt x="185" y="281"/>
                  </a:lnTo>
                  <a:lnTo>
                    <a:pt x="183" y="281"/>
                  </a:lnTo>
                  <a:lnTo>
                    <a:pt x="181" y="281"/>
                  </a:lnTo>
                  <a:lnTo>
                    <a:pt x="178" y="283"/>
                  </a:lnTo>
                  <a:lnTo>
                    <a:pt x="176" y="283"/>
                  </a:lnTo>
                  <a:lnTo>
                    <a:pt x="174" y="285"/>
                  </a:lnTo>
                  <a:lnTo>
                    <a:pt x="172" y="287"/>
                  </a:lnTo>
                  <a:lnTo>
                    <a:pt x="170" y="289"/>
                  </a:lnTo>
                  <a:close/>
                  <a:moveTo>
                    <a:pt x="204" y="327"/>
                  </a:moveTo>
                  <a:lnTo>
                    <a:pt x="204" y="331"/>
                  </a:lnTo>
                  <a:lnTo>
                    <a:pt x="206" y="337"/>
                  </a:lnTo>
                  <a:lnTo>
                    <a:pt x="204" y="337"/>
                  </a:lnTo>
                  <a:lnTo>
                    <a:pt x="204" y="339"/>
                  </a:lnTo>
                  <a:lnTo>
                    <a:pt x="200" y="342"/>
                  </a:lnTo>
                  <a:lnTo>
                    <a:pt x="198" y="348"/>
                  </a:lnTo>
                  <a:lnTo>
                    <a:pt x="198" y="350"/>
                  </a:lnTo>
                  <a:lnTo>
                    <a:pt x="198" y="351"/>
                  </a:lnTo>
                  <a:lnTo>
                    <a:pt x="198" y="353"/>
                  </a:lnTo>
                  <a:lnTo>
                    <a:pt x="200" y="353"/>
                  </a:lnTo>
                  <a:lnTo>
                    <a:pt x="200" y="355"/>
                  </a:lnTo>
                  <a:lnTo>
                    <a:pt x="202" y="355"/>
                  </a:lnTo>
                  <a:lnTo>
                    <a:pt x="204" y="355"/>
                  </a:lnTo>
                  <a:lnTo>
                    <a:pt x="206" y="355"/>
                  </a:lnTo>
                  <a:lnTo>
                    <a:pt x="207" y="355"/>
                  </a:lnTo>
                  <a:lnTo>
                    <a:pt x="209" y="355"/>
                  </a:lnTo>
                  <a:lnTo>
                    <a:pt x="211" y="353"/>
                  </a:lnTo>
                  <a:lnTo>
                    <a:pt x="218" y="350"/>
                  </a:lnTo>
                  <a:lnTo>
                    <a:pt x="226" y="344"/>
                  </a:lnTo>
                  <a:lnTo>
                    <a:pt x="230" y="346"/>
                  </a:lnTo>
                  <a:lnTo>
                    <a:pt x="233" y="346"/>
                  </a:lnTo>
                  <a:lnTo>
                    <a:pt x="237" y="348"/>
                  </a:lnTo>
                  <a:lnTo>
                    <a:pt x="239" y="348"/>
                  </a:lnTo>
                  <a:lnTo>
                    <a:pt x="241" y="348"/>
                  </a:lnTo>
                  <a:lnTo>
                    <a:pt x="242" y="348"/>
                  </a:lnTo>
                  <a:lnTo>
                    <a:pt x="250" y="344"/>
                  </a:lnTo>
                  <a:lnTo>
                    <a:pt x="257" y="339"/>
                  </a:lnTo>
                  <a:lnTo>
                    <a:pt x="261" y="335"/>
                  </a:lnTo>
                  <a:lnTo>
                    <a:pt x="266" y="329"/>
                  </a:lnTo>
                  <a:lnTo>
                    <a:pt x="268" y="329"/>
                  </a:lnTo>
                  <a:lnTo>
                    <a:pt x="270" y="329"/>
                  </a:lnTo>
                  <a:lnTo>
                    <a:pt x="276" y="329"/>
                  </a:lnTo>
                  <a:lnTo>
                    <a:pt x="281" y="329"/>
                  </a:lnTo>
                  <a:lnTo>
                    <a:pt x="283" y="327"/>
                  </a:lnTo>
                  <a:lnTo>
                    <a:pt x="285" y="327"/>
                  </a:lnTo>
                  <a:lnTo>
                    <a:pt x="287" y="326"/>
                  </a:lnTo>
                  <a:lnTo>
                    <a:pt x="289" y="324"/>
                  </a:lnTo>
                  <a:lnTo>
                    <a:pt x="289" y="322"/>
                  </a:lnTo>
                  <a:lnTo>
                    <a:pt x="289" y="318"/>
                  </a:lnTo>
                  <a:lnTo>
                    <a:pt x="289" y="316"/>
                  </a:lnTo>
                  <a:lnTo>
                    <a:pt x="289" y="315"/>
                  </a:lnTo>
                  <a:lnTo>
                    <a:pt x="287" y="313"/>
                  </a:lnTo>
                  <a:lnTo>
                    <a:pt x="285" y="313"/>
                  </a:lnTo>
                  <a:lnTo>
                    <a:pt x="283" y="311"/>
                  </a:lnTo>
                  <a:lnTo>
                    <a:pt x="281" y="309"/>
                  </a:lnTo>
                  <a:lnTo>
                    <a:pt x="278" y="307"/>
                  </a:lnTo>
                  <a:lnTo>
                    <a:pt x="276" y="307"/>
                  </a:lnTo>
                  <a:lnTo>
                    <a:pt x="276" y="305"/>
                  </a:lnTo>
                  <a:lnTo>
                    <a:pt x="274" y="303"/>
                  </a:lnTo>
                  <a:lnTo>
                    <a:pt x="274" y="302"/>
                  </a:lnTo>
                  <a:lnTo>
                    <a:pt x="272" y="300"/>
                  </a:lnTo>
                  <a:lnTo>
                    <a:pt x="270" y="300"/>
                  </a:lnTo>
                  <a:lnTo>
                    <a:pt x="270" y="298"/>
                  </a:lnTo>
                  <a:lnTo>
                    <a:pt x="268" y="298"/>
                  </a:lnTo>
                  <a:lnTo>
                    <a:pt x="265" y="296"/>
                  </a:lnTo>
                  <a:lnTo>
                    <a:pt x="261" y="294"/>
                  </a:lnTo>
                  <a:lnTo>
                    <a:pt x="257" y="294"/>
                  </a:lnTo>
                  <a:lnTo>
                    <a:pt x="252" y="292"/>
                  </a:lnTo>
                  <a:lnTo>
                    <a:pt x="250" y="291"/>
                  </a:lnTo>
                  <a:lnTo>
                    <a:pt x="248" y="289"/>
                  </a:lnTo>
                  <a:lnTo>
                    <a:pt x="246" y="287"/>
                  </a:lnTo>
                  <a:lnTo>
                    <a:pt x="244" y="287"/>
                  </a:lnTo>
                  <a:lnTo>
                    <a:pt x="242" y="287"/>
                  </a:lnTo>
                  <a:lnTo>
                    <a:pt x="241" y="287"/>
                  </a:lnTo>
                  <a:lnTo>
                    <a:pt x="239" y="287"/>
                  </a:lnTo>
                  <a:lnTo>
                    <a:pt x="233" y="287"/>
                  </a:lnTo>
                  <a:lnTo>
                    <a:pt x="228" y="289"/>
                  </a:lnTo>
                  <a:lnTo>
                    <a:pt x="224" y="289"/>
                  </a:lnTo>
                  <a:lnTo>
                    <a:pt x="220" y="289"/>
                  </a:lnTo>
                  <a:lnTo>
                    <a:pt x="218" y="289"/>
                  </a:lnTo>
                  <a:lnTo>
                    <a:pt x="217" y="289"/>
                  </a:lnTo>
                  <a:lnTo>
                    <a:pt x="213" y="289"/>
                  </a:lnTo>
                  <a:lnTo>
                    <a:pt x="211" y="292"/>
                  </a:lnTo>
                  <a:lnTo>
                    <a:pt x="209" y="296"/>
                  </a:lnTo>
                  <a:lnTo>
                    <a:pt x="207" y="300"/>
                  </a:lnTo>
                  <a:lnTo>
                    <a:pt x="206" y="303"/>
                  </a:lnTo>
                  <a:lnTo>
                    <a:pt x="204" y="305"/>
                  </a:lnTo>
                  <a:lnTo>
                    <a:pt x="204" y="309"/>
                  </a:lnTo>
                  <a:lnTo>
                    <a:pt x="204" y="311"/>
                  </a:lnTo>
                  <a:lnTo>
                    <a:pt x="204" y="315"/>
                  </a:lnTo>
                  <a:lnTo>
                    <a:pt x="204" y="316"/>
                  </a:lnTo>
                  <a:lnTo>
                    <a:pt x="204" y="320"/>
                  </a:lnTo>
                  <a:lnTo>
                    <a:pt x="204" y="322"/>
                  </a:lnTo>
                  <a:lnTo>
                    <a:pt x="204" y="326"/>
                  </a:lnTo>
                  <a:lnTo>
                    <a:pt x="204" y="327"/>
                  </a:lnTo>
                  <a:close/>
                  <a:moveTo>
                    <a:pt x="71" y="357"/>
                  </a:moveTo>
                  <a:lnTo>
                    <a:pt x="72" y="359"/>
                  </a:lnTo>
                  <a:lnTo>
                    <a:pt x="74" y="361"/>
                  </a:lnTo>
                  <a:lnTo>
                    <a:pt x="76" y="363"/>
                  </a:lnTo>
                  <a:lnTo>
                    <a:pt x="78" y="364"/>
                  </a:lnTo>
                  <a:lnTo>
                    <a:pt x="80" y="364"/>
                  </a:lnTo>
                  <a:lnTo>
                    <a:pt x="82" y="366"/>
                  </a:lnTo>
                  <a:lnTo>
                    <a:pt x="85" y="368"/>
                  </a:lnTo>
                  <a:lnTo>
                    <a:pt x="87" y="368"/>
                  </a:lnTo>
                  <a:lnTo>
                    <a:pt x="89" y="370"/>
                  </a:lnTo>
                  <a:lnTo>
                    <a:pt x="91" y="370"/>
                  </a:lnTo>
                  <a:lnTo>
                    <a:pt x="93" y="370"/>
                  </a:lnTo>
                  <a:lnTo>
                    <a:pt x="97" y="370"/>
                  </a:lnTo>
                  <a:lnTo>
                    <a:pt x="98" y="370"/>
                  </a:lnTo>
                  <a:lnTo>
                    <a:pt x="100" y="368"/>
                  </a:lnTo>
                  <a:lnTo>
                    <a:pt x="102" y="368"/>
                  </a:lnTo>
                  <a:lnTo>
                    <a:pt x="104" y="366"/>
                  </a:lnTo>
                  <a:lnTo>
                    <a:pt x="104" y="364"/>
                  </a:lnTo>
                  <a:lnTo>
                    <a:pt x="104" y="363"/>
                  </a:lnTo>
                  <a:lnTo>
                    <a:pt x="104" y="361"/>
                  </a:lnTo>
                  <a:lnTo>
                    <a:pt x="104" y="359"/>
                  </a:lnTo>
                  <a:lnTo>
                    <a:pt x="102" y="359"/>
                  </a:lnTo>
                  <a:lnTo>
                    <a:pt x="102" y="357"/>
                  </a:lnTo>
                  <a:lnTo>
                    <a:pt x="98" y="357"/>
                  </a:lnTo>
                  <a:lnTo>
                    <a:pt x="91" y="353"/>
                  </a:lnTo>
                  <a:lnTo>
                    <a:pt x="82" y="351"/>
                  </a:lnTo>
                  <a:lnTo>
                    <a:pt x="78" y="351"/>
                  </a:lnTo>
                  <a:lnTo>
                    <a:pt x="74" y="351"/>
                  </a:lnTo>
                  <a:lnTo>
                    <a:pt x="72" y="351"/>
                  </a:lnTo>
                  <a:lnTo>
                    <a:pt x="71" y="351"/>
                  </a:lnTo>
                  <a:lnTo>
                    <a:pt x="71" y="355"/>
                  </a:lnTo>
                  <a:lnTo>
                    <a:pt x="71" y="357"/>
                  </a:lnTo>
                  <a:close/>
                  <a:moveTo>
                    <a:pt x="8" y="250"/>
                  </a:moveTo>
                  <a:lnTo>
                    <a:pt x="12" y="259"/>
                  </a:lnTo>
                  <a:lnTo>
                    <a:pt x="17" y="268"/>
                  </a:lnTo>
                  <a:lnTo>
                    <a:pt x="19" y="270"/>
                  </a:lnTo>
                  <a:lnTo>
                    <a:pt x="21" y="270"/>
                  </a:lnTo>
                  <a:lnTo>
                    <a:pt x="21" y="272"/>
                  </a:lnTo>
                  <a:lnTo>
                    <a:pt x="23" y="272"/>
                  </a:lnTo>
                  <a:lnTo>
                    <a:pt x="24" y="274"/>
                  </a:lnTo>
                  <a:lnTo>
                    <a:pt x="26" y="274"/>
                  </a:lnTo>
                  <a:lnTo>
                    <a:pt x="28" y="274"/>
                  </a:lnTo>
                  <a:lnTo>
                    <a:pt x="30" y="272"/>
                  </a:lnTo>
                  <a:lnTo>
                    <a:pt x="32" y="272"/>
                  </a:lnTo>
                  <a:lnTo>
                    <a:pt x="34" y="270"/>
                  </a:lnTo>
                  <a:lnTo>
                    <a:pt x="34" y="268"/>
                  </a:lnTo>
                  <a:lnTo>
                    <a:pt x="34" y="266"/>
                  </a:lnTo>
                  <a:lnTo>
                    <a:pt x="32" y="261"/>
                  </a:lnTo>
                  <a:lnTo>
                    <a:pt x="28" y="257"/>
                  </a:lnTo>
                  <a:lnTo>
                    <a:pt x="26" y="255"/>
                  </a:lnTo>
                  <a:lnTo>
                    <a:pt x="26" y="254"/>
                  </a:lnTo>
                  <a:lnTo>
                    <a:pt x="26" y="252"/>
                  </a:lnTo>
                  <a:lnTo>
                    <a:pt x="26" y="248"/>
                  </a:lnTo>
                  <a:lnTo>
                    <a:pt x="24" y="244"/>
                  </a:lnTo>
                  <a:lnTo>
                    <a:pt x="24" y="242"/>
                  </a:lnTo>
                  <a:lnTo>
                    <a:pt x="23" y="242"/>
                  </a:lnTo>
                  <a:lnTo>
                    <a:pt x="21" y="241"/>
                  </a:lnTo>
                  <a:lnTo>
                    <a:pt x="19" y="241"/>
                  </a:lnTo>
                  <a:lnTo>
                    <a:pt x="17" y="239"/>
                  </a:lnTo>
                  <a:lnTo>
                    <a:pt x="15" y="239"/>
                  </a:lnTo>
                  <a:lnTo>
                    <a:pt x="13" y="237"/>
                  </a:lnTo>
                  <a:lnTo>
                    <a:pt x="13" y="235"/>
                  </a:lnTo>
                  <a:lnTo>
                    <a:pt x="12" y="233"/>
                  </a:lnTo>
                  <a:lnTo>
                    <a:pt x="10" y="231"/>
                  </a:lnTo>
                  <a:lnTo>
                    <a:pt x="8" y="231"/>
                  </a:lnTo>
                  <a:lnTo>
                    <a:pt x="6" y="231"/>
                  </a:lnTo>
                  <a:lnTo>
                    <a:pt x="4" y="231"/>
                  </a:lnTo>
                  <a:lnTo>
                    <a:pt x="0" y="231"/>
                  </a:lnTo>
                  <a:lnTo>
                    <a:pt x="4" y="241"/>
                  </a:lnTo>
                  <a:lnTo>
                    <a:pt x="8" y="250"/>
                  </a:lnTo>
                  <a:close/>
                  <a:moveTo>
                    <a:pt x="45" y="217"/>
                  </a:moveTo>
                  <a:lnTo>
                    <a:pt x="47" y="217"/>
                  </a:lnTo>
                  <a:lnTo>
                    <a:pt x="48" y="218"/>
                  </a:lnTo>
                  <a:lnTo>
                    <a:pt x="47" y="220"/>
                  </a:lnTo>
                  <a:lnTo>
                    <a:pt x="45" y="220"/>
                  </a:lnTo>
                  <a:lnTo>
                    <a:pt x="43" y="222"/>
                  </a:lnTo>
                  <a:lnTo>
                    <a:pt x="41" y="222"/>
                  </a:lnTo>
                  <a:lnTo>
                    <a:pt x="41" y="224"/>
                  </a:lnTo>
                  <a:lnTo>
                    <a:pt x="39" y="226"/>
                  </a:lnTo>
                  <a:lnTo>
                    <a:pt x="39" y="228"/>
                  </a:lnTo>
                  <a:lnTo>
                    <a:pt x="39" y="230"/>
                  </a:lnTo>
                  <a:lnTo>
                    <a:pt x="41" y="231"/>
                  </a:lnTo>
                  <a:lnTo>
                    <a:pt x="41" y="233"/>
                  </a:lnTo>
                  <a:lnTo>
                    <a:pt x="47" y="237"/>
                  </a:lnTo>
                  <a:lnTo>
                    <a:pt x="50" y="239"/>
                  </a:lnTo>
                  <a:lnTo>
                    <a:pt x="52" y="241"/>
                  </a:lnTo>
                  <a:lnTo>
                    <a:pt x="54" y="242"/>
                  </a:lnTo>
                  <a:lnTo>
                    <a:pt x="54" y="244"/>
                  </a:lnTo>
                  <a:lnTo>
                    <a:pt x="52" y="250"/>
                  </a:lnTo>
                  <a:lnTo>
                    <a:pt x="52" y="255"/>
                  </a:lnTo>
                  <a:lnTo>
                    <a:pt x="50" y="257"/>
                  </a:lnTo>
                  <a:lnTo>
                    <a:pt x="52" y="259"/>
                  </a:lnTo>
                  <a:lnTo>
                    <a:pt x="54" y="261"/>
                  </a:lnTo>
                  <a:lnTo>
                    <a:pt x="56" y="265"/>
                  </a:lnTo>
                  <a:lnTo>
                    <a:pt x="58" y="265"/>
                  </a:lnTo>
                  <a:lnTo>
                    <a:pt x="60" y="266"/>
                  </a:lnTo>
                  <a:lnTo>
                    <a:pt x="61" y="266"/>
                  </a:lnTo>
                  <a:lnTo>
                    <a:pt x="63" y="268"/>
                  </a:lnTo>
                  <a:lnTo>
                    <a:pt x="65" y="268"/>
                  </a:lnTo>
                  <a:lnTo>
                    <a:pt x="74" y="270"/>
                  </a:lnTo>
                  <a:lnTo>
                    <a:pt x="84" y="272"/>
                  </a:lnTo>
                  <a:lnTo>
                    <a:pt x="87" y="272"/>
                  </a:lnTo>
                  <a:lnTo>
                    <a:pt x="91" y="272"/>
                  </a:lnTo>
                  <a:lnTo>
                    <a:pt x="93" y="274"/>
                  </a:lnTo>
                  <a:lnTo>
                    <a:pt x="93" y="276"/>
                  </a:lnTo>
                  <a:lnTo>
                    <a:pt x="97" y="279"/>
                  </a:lnTo>
                  <a:lnTo>
                    <a:pt x="98" y="283"/>
                  </a:lnTo>
                  <a:lnTo>
                    <a:pt x="100" y="285"/>
                  </a:lnTo>
                  <a:lnTo>
                    <a:pt x="104" y="287"/>
                  </a:lnTo>
                  <a:lnTo>
                    <a:pt x="106" y="287"/>
                  </a:lnTo>
                  <a:lnTo>
                    <a:pt x="108" y="285"/>
                  </a:lnTo>
                  <a:lnTo>
                    <a:pt x="111" y="283"/>
                  </a:lnTo>
                  <a:lnTo>
                    <a:pt x="117" y="279"/>
                  </a:lnTo>
                  <a:lnTo>
                    <a:pt x="119" y="279"/>
                  </a:lnTo>
                  <a:lnTo>
                    <a:pt x="121" y="281"/>
                  </a:lnTo>
                  <a:lnTo>
                    <a:pt x="124" y="281"/>
                  </a:lnTo>
                  <a:lnTo>
                    <a:pt x="128" y="281"/>
                  </a:lnTo>
                  <a:lnTo>
                    <a:pt x="130" y="281"/>
                  </a:lnTo>
                  <a:lnTo>
                    <a:pt x="130" y="276"/>
                  </a:lnTo>
                  <a:lnTo>
                    <a:pt x="130" y="274"/>
                  </a:lnTo>
                  <a:lnTo>
                    <a:pt x="130" y="270"/>
                  </a:lnTo>
                  <a:lnTo>
                    <a:pt x="130" y="268"/>
                  </a:lnTo>
                  <a:lnTo>
                    <a:pt x="130" y="265"/>
                  </a:lnTo>
                  <a:lnTo>
                    <a:pt x="128" y="259"/>
                  </a:lnTo>
                  <a:lnTo>
                    <a:pt x="126" y="254"/>
                  </a:lnTo>
                  <a:lnTo>
                    <a:pt x="126" y="250"/>
                  </a:lnTo>
                  <a:lnTo>
                    <a:pt x="124" y="246"/>
                  </a:lnTo>
                  <a:lnTo>
                    <a:pt x="126" y="248"/>
                  </a:lnTo>
                  <a:lnTo>
                    <a:pt x="128" y="252"/>
                  </a:lnTo>
                  <a:lnTo>
                    <a:pt x="128" y="255"/>
                  </a:lnTo>
                  <a:lnTo>
                    <a:pt x="130" y="259"/>
                  </a:lnTo>
                  <a:lnTo>
                    <a:pt x="132" y="261"/>
                  </a:lnTo>
                  <a:lnTo>
                    <a:pt x="133" y="261"/>
                  </a:lnTo>
                  <a:lnTo>
                    <a:pt x="135" y="261"/>
                  </a:lnTo>
                  <a:lnTo>
                    <a:pt x="137" y="259"/>
                  </a:lnTo>
                  <a:lnTo>
                    <a:pt x="139" y="259"/>
                  </a:lnTo>
                  <a:lnTo>
                    <a:pt x="141" y="257"/>
                  </a:lnTo>
                  <a:lnTo>
                    <a:pt x="143" y="255"/>
                  </a:lnTo>
                  <a:lnTo>
                    <a:pt x="145" y="254"/>
                  </a:lnTo>
                  <a:lnTo>
                    <a:pt x="145" y="250"/>
                  </a:lnTo>
                  <a:lnTo>
                    <a:pt x="146" y="246"/>
                  </a:lnTo>
                  <a:lnTo>
                    <a:pt x="146" y="244"/>
                  </a:lnTo>
                  <a:lnTo>
                    <a:pt x="148" y="242"/>
                  </a:lnTo>
                  <a:lnTo>
                    <a:pt x="152" y="241"/>
                  </a:lnTo>
                  <a:lnTo>
                    <a:pt x="156" y="239"/>
                  </a:lnTo>
                  <a:lnTo>
                    <a:pt x="156" y="237"/>
                  </a:lnTo>
                  <a:lnTo>
                    <a:pt x="157" y="235"/>
                  </a:lnTo>
                  <a:lnTo>
                    <a:pt x="159" y="233"/>
                  </a:lnTo>
                  <a:lnTo>
                    <a:pt x="161" y="231"/>
                  </a:lnTo>
                  <a:lnTo>
                    <a:pt x="165" y="228"/>
                  </a:lnTo>
                  <a:lnTo>
                    <a:pt x="167" y="222"/>
                  </a:lnTo>
                  <a:lnTo>
                    <a:pt x="169" y="224"/>
                  </a:lnTo>
                  <a:lnTo>
                    <a:pt x="170" y="226"/>
                  </a:lnTo>
                  <a:lnTo>
                    <a:pt x="174" y="228"/>
                  </a:lnTo>
                  <a:lnTo>
                    <a:pt x="176" y="230"/>
                  </a:lnTo>
                  <a:lnTo>
                    <a:pt x="178" y="230"/>
                  </a:lnTo>
                  <a:lnTo>
                    <a:pt x="180" y="230"/>
                  </a:lnTo>
                  <a:lnTo>
                    <a:pt x="181" y="228"/>
                  </a:lnTo>
                  <a:lnTo>
                    <a:pt x="183" y="228"/>
                  </a:lnTo>
                  <a:lnTo>
                    <a:pt x="187" y="224"/>
                  </a:lnTo>
                  <a:lnTo>
                    <a:pt x="191" y="222"/>
                  </a:lnTo>
                  <a:lnTo>
                    <a:pt x="194" y="217"/>
                  </a:lnTo>
                  <a:lnTo>
                    <a:pt x="198" y="213"/>
                  </a:lnTo>
                  <a:lnTo>
                    <a:pt x="198" y="211"/>
                  </a:lnTo>
                  <a:lnTo>
                    <a:pt x="198" y="209"/>
                  </a:lnTo>
                  <a:lnTo>
                    <a:pt x="198" y="207"/>
                  </a:lnTo>
                  <a:lnTo>
                    <a:pt x="198" y="206"/>
                  </a:lnTo>
                  <a:lnTo>
                    <a:pt x="196" y="206"/>
                  </a:lnTo>
                  <a:lnTo>
                    <a:pt x="196" y="204"/>
                  </a:lnTo>
                  <a:lnTo>
                    <a:pt x="194" y="204"/>
                  </a:lnTo>
                  <a:lnTo>
                    <a:pt x="193" y="204"/>
                  </a:lnTo>
                  <a:lnTo>
                    <a:pt x="191" y="204"/>
                  </a:lnTo>
                  <a:lnTo>
                    <a:pt x="185" y="204"/>
                  </a:lnTo>
                  <a:lnTo>
                    <a:pt x="180" y="204"/>
                  </a:lnTo>
                  <a:lnTo>
                    <a:pt x="176" y="204"/>
                  </a:lnTo>
                  <a:lnTo>
                    <a:pt x="170" y="204"/>
                  </a:lnTo>
                  <a:lnTo>
                    <a:pt x="167" y="202"/>
                  </a:lnTo>
                  <a:lnTo>
                    <a:pt x="163" y="202"/>
                  </a:lnTo>
                  <a:lnTo>
                    <a:pt x="159" y="200"/>
                  </a:lnTo>
                  <a:lnTo>
                    <a:pt x="157" y="200"/>
                  </a:lnTo>
                  <a:lnTo>
                    <a:pt x="156" y="198"/>
                  </a:lnTo>
                  <a:lnTo>
                    <a:pt x="154" y="196"/>
                  </a:lnTo>
                  <a:lnTo>
                    <a:pt x="150" y="193"/>
                  </a:lnTo>
                  <a:lnTo>
                    <a:pt x="148" y="191"/>
                  </a:lnTo>
                  <a:lnTo>
                    <a:pt x="146" y="189"/>
                  </a:lnTo>
                  <a:lnTo>
                    <a:pt x="145" y="185"/>
                  </a:lnTo>
                  <a:lnTo>
                    <a:pt x="145" y="183"/>
                  </a:lnTo>
                  <a:lnTo>
                    <a:pt x="143" y="181"/>
                  </a:lnTo>
                  <a:lnTo>
                    <a:pt x="141" y="180"/>
                  </a:lnTo>
                  <a:lnTo>
                    <a:pt x="141" y="176"/>
                  </a:lnTo>
                  <a:lnTo>
                    <a:pt x="141" y="174"/>
                  </a:lnTo>
                  <a:lnTo>
                    <a:pt x="141" y="172"/>
                  </a:lnTo>
                  <a:lnTo>
                    <a:pt x="141" y="170"/>
                  </a:lnTo>
                  <a:lnTo>
                    <a:pt x="141" y="169"/>
                  </a:lnTo>
                  <a:lnTo>
                    <a:pt x="143" y="167"/>
                  </a:lnTo>
                  <a:lnTo>
                    <a:pt x="143" y="165"/>
                  </a:lnTo>
                  <a:lnTo>
                    <a:pt x="145" y="165"/>
                  </a:lnTo>
                  <a:lnTo>
                    <a:pt x="145" y="163"/>
                  </a:lnTo>
                  <a:lnTo>
                    <a:pt x="148" y="163"/>
                  </a:lnTo>
                  <a:lnTo>
                    <a:pt x="150" y="161"/>
                  </a:lnTo>
                  <a:lnTo>
                    <a:pt x="150" y="163"/>
                  </a:lnTo>
                  <a:lnTo>
                    <a:pt x="150" y="165"/>
                  </a:lnTo>
                  <a:lnTo>
                    <a:pt x="150" y="169"/>
                  </a:lnTo>
                  <a:lnTo>
                    <a:pt x="150" y="172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80"/>
                  </a:lnTo>
                  <a:lnTo>
                    <a:pt x="152" y="181"/>
                  </a:lnTo>
                  <a:lnTo>
                    <a:pt x="152" y="183"/>
                  </a:lnTo>
                  <a:lnTo>
                    <a:pt x="152" y="185"/>
                  </a:lnTo>
                  <a:lnTo>
                    <a:pt x="154" y="187"/>
                  </a:lnTo>
                  <a:lnTo>
                    <a:pt x="156" y="189"/>
                  </a:lnTo>
                  <a:lnTo>
                    <a:pt x="157" y="189"/>
                  </a:lnTo>
                  <a:lnTo>
                    <a:pt x="161" y="191"/>
                  </a:lnTo>
                  <a:lnTo>
                    <a:pt x="165" y="193"/>
                  </a:lnTo>
                  <a:lnTo>
                    <a:pt x="169" y="194"/>
                  </a:lnTo>
                  <a:lnTo>
                    <a:pt x="170" y="194"/>
                  </a:lnTo>
                  <a:lnTo>
                    <a:pt x="174" y="194"/>
                  </a:lnTo>
                  <a:lnTo>
                    <a:pt x="176" y="196"/>
                  </a:lnTo>
                  <a:lnTo>
                    <a:pt x="180" y="196"/>
                  </a:lnTo>
                  <a:lnTo>
                    <a:pt x="193" y="196"/>
                  </a:lnTo>
                  <a:lnTo>
                    <a:pt x="206" y="194"/>
                  </a:lnTo>
                  <a:lnTo>
                    <a:pt x="207" y="194"/>
                  </a:lnTo>
                  <a:lnTo>
                    <a:pt x="209" y="193"/>
                  </a:lnTo>
                  <a:lnTo>
                    <a:pt x="211" y="191"/>
                  </a:lnTo>
                  <a:lnTo>
                    <a:pt x="211" y="189"/>
                  </a:lnTo>
                  <a:lnTo>
                    <a:pt x="211" y="185"/>
                  </a:lnTo>
                  <a:lnTo>
                    <a:pt x="209" y="181"/>
                  </a:lnTo>
                  <a:lnTo>
                    <a:pt x="207" y="176"/>
                  </a:lnTo>
                  <a:lnTo>
                    <a:pt x="207" y="174"/>
                  </a:lnTo>
                  <a:lnTo>
                    <a:pt x="207" y="172"/>
                  </a:lnTo>
                  <a:lnTo>
                    <a:pt x="207" y="170"/>
                  </a:lnTo>
                  <a:lnTo>
                    <a:pt x="209" y="169"/>
                  </a:lnTo>
                  <a:lnTo>
                    <a:pt x="207" y="169"/>
                  </a:lnTo>
                  <a:lnTo>
                    <a:pt x="207" y="167"/>
                  </a:lnTo>
                  <a:lnTo>
                    <a:pt x="207" y="165"/>
                  </a:lnTo>
                  <a:lnTo>
                    <a:pt x="207" y="163"/>
                  </a:lnTo>
                  <a:lnTo>
                    <a:pt x="204" y="159"/>
                  </a:lnTo>
                  <a:lnTo>
                    <a:pt x="202" y="157"/>
                  </a:lnTo>
                  <a:lnTo>
                    <a:pt x="200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48"/>
                  </a:lnTo>
                  <a:lnTo>
                    <a:pt x="198" y="146"/>
                  </a:lnTo>
                  <a:lnTo>
                    <a:pt x="200" y="146"/>
                  </a:lnTo>
                  <a:lnTo>
                    <a:pt x="200" y="141"/>
                  </a:lnTo>
                  <a:lnTo>
                    <a:pt x="200" y="137"/>
                  </a:lnTo>
                  <a:lnTo>
                    <a:pt x="200" y="135"/>
                  </a:lnTo>
                  <a:lnTo>
                    <a:pt x="200" y="133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89" y="133"/>
                  </a:lnTo>
                  <a:lnTo>
                    <a:pt x="185" y="135"/>
                  </a:lnTo>
                  <a:lnTo>
                    <a:pt x="183" y="137"/>
                  </a:lnTo>
                  <a:lnTo>
                    <a:pt x="181" y="137"/>
                  </a:lnTo>
                  <a:lnTo>
                    <a:pt x="180" y="139"/>
                  </a:lnTo>
                  <a:lnTo>
                    <a:pt x="174" y="135"/>
                  </a:lnTo>
                  <a:lnTo>
                    <a:pt x="169" y="133"/>
                  </a:lnTo>
                  <a:lnTo>
                    <a:pt x="167" y="133"/>
                  </a:lnTo>
                  <a:lnTo>
                    <a:pt x="161" y="135"/>
                  </a:lnTo>
                  <a:lnTo>
                    <a:pt x="156" y="135"/>
                  </a:lnTo>
                  <a:lnTo>
                    <a:pt x="154" y="137"/>
                  </a:lnTo>
                  <a:lnTo>
                    <a:pt x="152" y="139"/>
                  </a:lnTo>
                  <a:lnTo>
                    <a:pt x="148" y="143"/>
                  </a:lnTo>
                  <a:lnTo>
                    <a:pt x="145" y="146"/>
                  </a:lnTo>
                  <a:lnTo>
                    <a:pt x="143" y="148"/>
                  </a:lnTo>
                  <a:lnTo>
                    <a:pt x="141" y="150"/>
                  </a:lnTo>
                  <a:lnTo>
                    <a:pt x="141" y="152"/>
                  </a:lnTo>
                  <a:lnTo>
                    <a:pt x="137" y="152"/>
                  </a:lnTo>
                  <a:lnTo>
                    <a:pt x="135" y="154"/>
                  </a:lnTo>
                  <a:lnTo>
                    <a:pt x="124" y="148"/>
                  </a:lnTo>
                  <a:lnTo>
                    <a:pt x="113" y="145"/>
                  </a:lnTo>
                  <a:lnTo>
                    <a:pt x="109" y="145"/>
                  </a:lnTo>
                  <a:lnTo>
                    <a:pt x="106" y="143"/>
                  </a:lnTo>
                  <a:lnTo>
                    <a:pt x="104" y="143"/>
                  </a:lnTo>
                  <a:lnTo>
                    <a:pt x="104" y="145"/>
                  </a:lnTo>
                  <a:lnTo>
                    <a:pt x="102" y="145"/>
                  </a:lnTo>
                  <a:lnTo>
                    <a:pt x="100" y="145"/>
                  </a:lnTo>
                  <a:lnTo>
                    <a:pt x="98" y="148"/>
                  </a:lnTo>
                  <a:lnTo>
                    <a:pt x="98" y="150"/>
                  </a:lnTo>
                  <a:lnTo>
                    <a:pt x="98" y="152"/>
                  </a:lnTo>
                  <a:lnTo>
                    <a:pt x="100" y="154"/>
                  </a:lnTo>
                  <a:lnTo>
                    <a:pt x="102" y="157"/>
                  </a:lnTo>
                  <a:lnTo>
                    <a:pt x="102" y="159"/>
                  </a:lnTo>
                  <a:lnTo>
                    <a:pt x="102" y="161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100" y="167"/>
                  </a:lnTo>
                  <a:lnTo>
                    <a:pt x="100" y="169"/>
                  </a:lnTo>
                  <a:lnTo>
                    <a:pt x="102" y="170"/>
                  </a:lnTo>
                  <a:lnTo>
                    <a:pt x="102" y="172"/>
                  </a:lnTo>
                  <a:lnTo>
                    <a:pt x="104" y="174"/>
                  </a:lnTo>
                  <a:lnTo>
                    <a:pt x="108" y="176"/>
                  </a:lnTo>
                  <a:lnTo>
                    <a:pt x="111" y="178"/>
                  </a:lnTo>
                  <a:lnTo>
                    <a:pt x="113" y="180"/>
                  </a:lnTo>
                  <a:lnTo>
                    <a:pt x="115" y="181"/>
                  </a:lnTo>
                  <a:lnTo>
                    <a:pt x="115" y="183"/>
                  </a:lnTo>
                  <a:lnTo>
                    <a:pt x="117" y="185"/>
                  </a:lnTo>
                  <a:lnTo>
                    <a:pt x="117" y="187"/>
                  </a:lnTo>
                  <a:lnTo>
                    <a:pt x="117" y="189"/>
                  </a:lnTo>
                  <a:lnTo>
                    <a:pt x="109" y="191"/>
                  </a:lnTo>
                  <a:lnTo>
                    <a:pt x="104" y="189"/>
                  </a:lnTo>
                  <a:lnTo>
                    <a:pt x="102" y="187"/>
                  </a:lnTo>
                  <a:lnTo>
                    <a:pt x="98" y="185"/>
                  </a:lnTo>
                  <a:lnTo>
                    <a:pt x="93" y="181"/>
                  </a:lnTo>
                  <a:lnTo>
                    <a:pt x="89" y="178"/>
                  </a:lnTo>
                  <a:lnTo>
                    <a:pt x="87" y="176"/>
                  </a:lnTo>
                  <a:lnTo>
                    <a:pt x="85" y="174"/>
                  </a:lnTo>
                  <a:lnTo>
                    <a:pt x="84" y="174"/>
                  </a:lnTo>
                  <a:lnTo>
                    <a:pt x="82" y="174"/>
                  </a:lnTo>
                  <a:lnTo>
                    <a:pt x="76" y="174"/>
                  </a:lnTo>
                  <a:lnTo>
                    <a:pt x="69" y="174"/>
                  </a:lnTo>
                  <a:lnTo>
                    <a:pt x="67" y="172"/>
                  </a:lnTo>
                  <a:lnTo>
                    <a:pt x="65" y="172"/>
                  </a:lnTo>
                  <a:lnTo>
                    <a:pt x="65" y="170"/>
                  </a:lnTo>
                  <a:lnTo>
                    <a:pt x="63" y="169"/>
                  </a:lnTo>
                  <a:lnTo>
                    <a:pt x="60" y="169"/>
                  </a:lnTo>
                  <a:lnTo>
                    <a:pt x="58" y="167"/>
                  </a:lnTo>
                  <a:lnTo>
                    <a:pt x="56" y="167"/>
                  </a:lnTo>
                  <a:lnTo>
                    <a:pt x="54" y="169"/>
                  </a:lnTo>
                  <a:lnTo>
                    <a:pt x="52" y="169"/>
                  </a:lnTo>
                  <a:lnTo>
                    <a:pt x="50" y="170"/>
                  </a:lnTo>
                  <a:lnTo>
                    <a:pt x="48" y="172"/>
                  </a:lnTo>
                  <a:lnTo>
                    <a:pt x="45" y="178"/>
                  </a:lnTo>
                  <a:lnTo>
                    <a:pt x="43" y="185"/>
                  </a:lnTo>
                  <a:lnTo>
                    <a:pt x="43" y="187"/>
                  </a:lnTo>
                  <a:lnTo>
                    <a:pt x="43" y="189"/>
                  </a:lnTo>
                  <a:lnTo>
                    <a:pt x="41" y="193"/>
                  </a:lnTo>
                  <a:lnTo>
                    <a:pt x="41" y="194"/>
                  </a:lnTo>
                  <a:lnTo>
                    <a:pt x="39" y="198"/>
                  </a:lnTo>
                  <a:lnTo>
                    <a:pt x="37" y="202"/>
                  </a:lnTo>
                  <a:lnTo>
                    <a:pt x="36" y="204"/>
                  </a:lnTo>
                  <a:lnTo>
                    <a:pt x="36" y="206"/>
                  </a:lnTo>
                  <a:lnTo>
                    <a:pt x="36" y="207"/>
                  </a:lnTo>
                  <a:lnTo>
                    <a:pt x="36" y="209"/>
                  </a:lnTo>
                  <a:lnTo>
                    <a:pt x="37" y="211"/>
                  </a:lnTo>
                  <a:lnTo>
                    <a:pt x="39" y="213"/>
                  </a:lnTo>
                  <a:lnTo>
                    <a:pt x="41" y="215"/>
                  </a:lnTo>
                  <a:lnTo>
                    <a:pt x="43" y="215"/>
                  </a:lnTo>
                  <a:lnTo>
                    <a:pt x="45" y="217"/>
                  </a:lnTo>
                  <a:close/>
                  <a:moveTo>
                    <a:pt x="257" y="145"/>
                  </a:moveTo>
                  <a:lnTo>
                    <a:pt x="265" y="143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4" y="143"/>
                  </a:lnTo>
                  <a:lnTo>
                    <a:pt x="278" y="145"/>
                  </a:lnTo>
                  <a:lnTo>
                    <a:pt x="279" y="145"/>
                  </a:lnTo>
                  <a:lnTo>
                    <a:pt x="281" y="146"/>
                  </a:lnTo>
                  <a:lnTo>
                    <a:pt x="283" y="146"/>
                  </a:lnTo>
                  <a:lnTo>
                    <a:pt x="285" y="146"/>
                  </a:lnTo>
                  <a:lnTo>
                    <a:pt x="287" y="146"/>
                  </a:lnTo>
                  <a:lnTo>
                    <a:pt x="289" y="146"/>
                  </a:lnTo>
                  <a:lnTo>
                    <a:pt x="290" y="146"/>
                  </a:lnTo>
                  <a:lnTo>
                    <a:pt x="292" y="143"/>
                  </a:lnTo>
                  <a:lnTo>
                    <a:pt x="296" y="141"/>
                  </a:lnTo>
                  <a:lnTo>
                    <a:pt x="303" y="133"/>
                  </a:lnTo>
                  <a:lnTo>
                    <a:pt x="309" y="124"/>
                  </a:lnTo>
                  <a:lnTo>
                    <a:pt x="313" y="122"/>
                  </a:lnTo>
                  <a:lnTo>
                    <a:pt x="314" y="119"/>
                  </a:lnTo>
                  <a:lnTo>
                    <a:pt x="316" y="115"/>
                  </a:lnTo>
                  <a:lnTo>
                    <a:pt x="318" y="113"/>
                  </a:lnTo>
                  <a:lnTo>
                    <a:pt x="320" y="109"/>
                  </a:lnTo>
                  <a:lnTo>
                    <a:pt x="320" y="106"/>
                  </a:lnTo>
                  <a:lnTo>
                    <a:pt x="322" y="104"/>
                  </a:lnTo>
                  <a:lnTo>
                    <a:pt x="322" y="102"/>
                  </a:lnTo>
                  <a:lnTo>
                    <a:pt x="322" y="100"/>
                  </a:lnTo>
                  <a:lnTo>
                    <a:pt x="322" y="98"/>
                  </a:lnTo>
                  <a:lnTo>
                    <a:pt x="322" y="96"/>
                  </a:lnTo>
                  <a:lnTo>
                    <a:pt x="322" y="95"/>
                  </a:lnTo>
                  <a:lnTo>
                    <a:pt x="322" y="91"/>
                  </a:lnTo>
                  <a:lnTo>
                    <a:pt x="320" y="89"/>
                  </a:lnTo>
                  <a:lnTo>
                    <a:pt x="320" y="87"/>
                  </a:lnTo>
                  <a:lnTo>
                    <a:pt x="318" y="85"/>
                  </a:lnTo>
                  <a:lnTo>
                    <a:pt x="316" y="85"/>
                  </a:lnTo>
                  <a:lnTo>
                    <a:pt x="314" y="85"/>
                  </a:lnTo>
                  <a:lnTo>
                    <a:pt x="313" y="85"/>
                  </a:lnTo>
                  <a:lnTo>
                    <a:pt x="311" y="85"/>
                  </a:lnTo>
                  <a:lnTo>
                    <a:pt x="307" y="89"/>
                  </a:lnTo>
                  <a:lnTo>
                    <a:pt x="303" y="93"/>
                  </a:lnTo>
                  <a:lnTo>
                    <a:pt x="302" y="93"/>
                  </a:lnTo>
                  <a:lnTo>
                    <a:pt x="300" y="93"/>
                  </a:lnTo>
                  <a:lnTo>
                    <a:pt x="298" y="93"/>
                  </a:lnTo>
                  <a:lnTo>
                    <a:pt x="296" y="93"/>
                  </a:lnTo>
                  <a:lnTo>
                    <a:pt x="294" y="91"/>
                  </a:lnTo>
                  <a:lnTo>
                    <a:pt x="292" y="91"/>
                  </a:lnTo>
                  <a:lnTo>
                    <a:pt x="290" y="91"/>
                  </a:lnTo>
                  <a:lnTo>
                    <a:pt x="289" y="93"/>
                  </a:lnTo>
                  <a:lnTo>
                    <a:pt x="285" y="95"/>
                  </a:lnTo>
                  <a:lnTo>
                    <a:pt x="283" y="95"/>
                  </a:lnTo>
                  <a:lnTo>
                    <a:pt x="281" y="96"/>
                  </a:lnTo>
                  <a:lnTo>
                    <a:pt x="279" y="100"/>
                  </a:lnTo>
                  <a:lnTo>
                    <a:pt x="276" y="102"/>
                  </a:lnTo>
                  <a:lnTo>
                    <a:pt x="274" y="106"/>
                  </a:lnTo>
                  <a:lnTo>
                    <a:pt x="270" y="108"/>
                  </a:lnTo>
                  <a:lnTo>
                    <a:pt x="265" y="108"/>
                  </a:lnTo>
                  <a:lnTo>
                    <a:pt x="257" y="106"/>
                  </a:lnTo>
                  <a:lnTo>
                    <a:pt x="255" y="106"/>
                  </a:lnTo>
                  <a:lnTo>
                    <a:pt x="254" y="104"/>
                  </a:lnTo>
                  <a:lnTo>
                    <a:pt x="252" y="104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6" y="104"/>
                  </a:lnTo>
                  <a:lnTo>
                    <a:pt x="244" y="104"/>
                  </a:lnTo>
                  <a:lnTo>
                    <a:pt x="244" y="106"/>
                  </a:lnTo>
                  <a:lnTo>
                    <a:pt x="242" y="106"/>
                  </a:lnTo>
                  <a:lnTo>
                    <a:pt x="241" y="106"/>
                  </a:lnTo>
                  <a:lnTo>
                    <a:pt x="241" y="108"/>
                  </a:lnTo>
                  <a:lnTo>
                    <a:pt x="239" y="109"/>
                  </a:lnTo>
                  <a:lnTo>
                    <a:pt x="237" y="111"/>
                  </a:lnTo>
                  <a:lnTo>
                    <a:pt x="235" y="113"/>
                  </a:lnTo>
                  <a:lnTo>
                    <a:pt x="233" y="121"/>
                  </a:lnTo>
                  <a:lnTo>
                    <a:pt x="231" y="128"/>
                  </a:lnTo>
                  <a:lnTo>
                    <a:pt x="230" y="128"/>
                  </a:lnTo>
                  <a:lnTo>
                    <a:pt x="228" y="126"/>
                  </a:lnTo>
                  <a:lnTo>
                    <a:pt x="226" y="122"/>
                  </a:lnTo>
                  <a:lnTo>
                    <a:pt x="224" y="122"/>
                  </a:lnTo>
                  <a:lnTo>
                    <a:pt x="222" y="121"/>
                  </a:lnTo>
                  <a:lnTo>
                    <a:pt x="220" y="122"/>
                  </a:lnTo>
                  <a:lnTo>
                    <a:pt x="218" y="122"/>
                  </a:lnTo>
                  <a:lnTo>
                    <a:pt x="217" y="124"/>
                  </a:lnTo>
                  <a:lnTo>
                    <a:pt x="215" y="126"/>
                  </a:lnTo>
                  <a:lnTo>
                    <a:pt x="217" y="130"/>
                  </a:lnTo>
                  <a:lnTo>
                    <a:pt x="218" y="133"/>
                  </a:lnTo>
                  <a:lnTo>
                    <a:pt x="218" y="135"/>
                  </a:lnTo>
                  <a:lnTo>
                    <a:pt x="220" y="137"/>
                  </a:lnTo>
                  <a:lnTo>
                    <a:pt x="220" y="139"/>
                  </a:lnTo>
                  <a:lnTo>
                    <a:pt x="222" y="141"/>
                  </a:lnTo>
                  <a:lnTo>
                    <a:pt x="224" y="143"/>
                  </a:lnTo>
                  <a:lnTo>
                    <a:pt x="226" y="145"/>
                  </a:lnTo>
                  <a:lnTo>
                    <a:pt x="228" y="145"/>
                  </a:lnTo>
                  <a:lnTo>
                    <a:pt x="230" y="146"/>
                  </a:lnTo>
                  <a:lnTo>
                    <a:pt x="231" y="146"/>
                  </a:lnTo>
                  <a:lnTo>
                    <a:pt x="233" y="146"/>
                  </a:lnTo>
                  <a:lnTo>
                    <a:pt x="235" y="148"/>
                  </a:lnTo>
                  <a:lnTo>
                    <a:pt x="239" y="148"/>
                  </a:lnTo>
                  <a:lnTo>
                    <a:pt x="242" y="148"/>
                  </a:lnTo>
                  <a:lnTo>
                    <a:pt x="244" y="148"/>
                  </a:lnTo>
                  <a:lnTo>
                    <a:pt x="248" y="146"/>
                  </a:lnTo>
                  <a:lnTo>
                    <a:pt x="252" y="146"/>
                  </a:lnTo>
                  <a:lnTo>
                    <a:pt x="257" y="145"/>
                  </a:lnTo>
                  <a:close/>
                  <a:moveTo>
                    <a:pt x="185" y="23"/>
                  </a:moveTo>
                  <a:lnTo>
                    <a:pt x="187" y="23"/>
                  </a:lnTo>
                  <a:lnTo>
                    <a:pt x="189" y="24"/>
                  </a:lnTo>
                  <a:lnTo>
                    <a:pt x="191" y="24"/>
                  </a:lnTo>
                  <a:lnTo>
                    <a:pt x="193" y="24"/>
                  </a:lnTo>
                  <a:lnTo>
                    <a:pt x="194" y="24"/>
                  </a:lnTo>
                  <a:lnTo>
                    <a:pt x="196" y="24"/>
                  </a:lnTo>
                  <a:lnTo>
                    <a:pt x="202" y="23"/>
                  </a:lnTo>
                  <a:lnTo>
                    <a:pt x="206" y="17"/>
                  </a:lnTo>
                  <a:lnTo>
                    <a:pt x="206" y="15"/>
                  </a:lnTo>
                  <a:lnTo>
                    <a:pt x="206" y="13"/>
                  </a:lnTo>
                  <a:lnTo>
                    <a:pt x="206" y="11"/>
                  </a:lnTo>
                  <a:lnTo>
                    <a:pt x="206" y="10"/>
                  </a:lnTo>
                  <a:lnTo>
                    <a:pt x="206" y="8"/>
                  </a:lnTo>
                  <a:lnTo>
                    <a:pt x="204" y="6"/>
                  </a:lnTo>
                  <a:lnTo>
                    <a:pt x="204" y="4"/>
                  </a:lnTo>
                  <a:lnTo>
                    <a:pt x="202" y="2"/>
                  </a:lnTo>
                  <a:lnTo>
                    <a:pt x="200" y="2"/>
                  </a:lnTo>
                  <a:lnTo>
                    <a:pt x="198" y="2"/>
                  </a:lnTo>
                  <a:lnTo>
                    <a:pt x="198" y="0"/>
                  </a:lnTo>
                  <a:lnTo>
                    <a:pt x="196" y="0"/>
                  </a:lnTo>
                  <a:lnTo>
                    <a:pt x="194" y="2"/>
                  </a:lnTo>
                  <a:lnTo>
                    <a:pt x="193" y="2"/>
                  </a:lnTo>
                  <a:lnTo>
                    <a:pt x="191" y="4"/>
                  </a:lnTo>
                  <a:lnTo>
                    <a:pt x="191" y="6"/>
                  </a:lnTo>
                  <a:lnTo>
                    <a:pt x="189" y="8"/>
                  </a:lnTo>
                  <a:lnTo>
                    <a:pt x="189" y="10"/>
                  </a:lnTo>
                  <a:lnTo>
                    <a:pt x="187" y="13"/>
                  </a:lnTo>
                  <a:lnTo>
                    <a:pt x="187" y="17"/>
                  </a:lnTo>
                  <a:lnTo>
                    <a:pt x="185" y="23"/>
                  </a:lnTo>
                  <a:close/>
                  <a:moveTo>
                    <a:pt x="747" y="146"/>
                  </a:moveTo>
                  <a:lnTo>
                    <a:pt x="747" y="146"/>
                  </a:lnTo>
                  <a:lnTo>
                    <a:pt x="747" y="145"/>
                  </a:lnTo>
                  <a:lnTo>
                    <a:pt x="745" y="143"/>
                  </a:lnTo>
                  <a:lnTo>
                    <a:pt x="741" y="141"/>
                  </a:lnTo>
                  <a:lnTo>
                    <a:pt x="736" y="141"/>
                  </a:lnTo>
                  <a:lnTo>
                    <a:pt x="734" y="141"/>
                  </a:lnTo>
                  <a:lnTo>
                    <a:pt x="732" y="143"/>
                  </a:lnTo>
                  <a:lnTo>
                    <a:pt x="732" y="145"/>
                  </a:lnTo>
                  <a:lnTo>
                    <a:pt x="732" y="146"/>
                  </a:lnTo>
                  <a:lnTo>
                    <a:pt x="732" y="148"/>
                  </a:lnTo>
                  <a:lnTo>
                    <a:pt x="734" y="150"/>
                  </a:lnTo>
                  <a:lnTo>
                    <a:pt x="736" y="150"/>
                  </a:lnTo>
                  <a:lnTo>
                    <a:pt x="738" y="152"/>
                  </a:lnTo>
                  <a:lnTo>
                    <a:pt x="739" y="152"/>
                  </a:lnTo>
                  <a:lnTo>
                    <a:pt x="741" y="154"/>
                  </a:lnTo>
                  <a:lnTo>
                    <a:pt x="743" y="154"/>
                  </a:lnTo>
                  <a:lnTo>
                    <a:pt x="745" y="152"/>
                  </a:lnTo>
                  <a:lnTo>
                    <a:pt x="747" y="152"/>
                  </a:lnTo>
                  <a:lnTo>
                    <a:pt x="747" y="150"/>
                  </a:lnTo>
                  <a:lnTo>
                    <a:pt x="747" y="148"/>
                  </a:lnTo>
                  <a:lnTo>
                    <a:pt x="747" y="146"/>
                  </a:lnTo>
                  <a:close/>
                  <a:moveTo>
                    <a:pt x="767" y="126"/>
                  </a:moveTo>
                  <a:lnTo>
                    <a:pt x="765" y="126"/>
                  </a:lnTo>
                  <a:lnTo>
                    <a:pt x="763" y="126"/>
                  </a:lnTo>
                  <a:lnTo>
                    <a:pt x="762" y="130"/>
                  </a:lnTo>
                  <a:lnTo>
                    <a:pt x="762" y="133"/>
                  </a:lnTo>
                  <a:lnTo>
                    <a:pt x="763" y="135"/>
                  </a:lnTo>
                  <a:lnTo>
                    <a:pt x="763" y="137"/>
                  </a:lnTo>
                  <a:lnTo>
                    <a:pt x="765" y="137"/>
                  </a:lnTo>
                  <a:lnTo>
                    <a:pt x="765" y="139"/>
                  </a:lnTo>
                  <a:lnTo>
                    <a:pt x="767" y="139"/>
                  </a:lnTo>
                  <a:lnTo>
                    <a:pt x="769" y="137"/>
                  </a:lnTo>
                  <a:lnTo>
                    <a:pt x="771" y="137"/>
                  </a:lnTo>
                  <a:lnTo>
                    <a:pt x="771" y="133"/>
                  </a:lnTo>
                  <a:lnTo>
                    <a:pt x="771" y="130"/>
                  </a:lnTo>
                  <a:lnTo>
                    <a:pt x="771" y="128"/>
                  </a:lnTo>
                  <a:lnTo>
                    <a:pt x="769" y="126"/>
                  </a:lnTo>
                  <a:lnTo>
                    <a:pt x="767" y="126"/>
                  </a:lnTo>
                  <a:close/>
                  <a:moveTo>
                    <a:pt x="749" y="119"/>
                  </a:moveTo>
                  <a:lnTo>
                    <a:pt x="749" y="119"/>
                  </a:lnTo>
                  <a:lnTo>
                    <a:pt x="745" y="119"/>
                  </a:lnTo>
                  <a:lnTo>
                    <a:pt x="743" y="122"/>
                  </a:lnTo>
                  <a:lnTo>
                    <a:pt x="743" y="126"/>
                  </a:lnTo>
                  <a:lnTo>
                    <a:pt x="745" y="128"/>
                  </a:lnTo>
                  <a:lnTo>
                    <a:pt x="747" y="128"/>
                  </a:lnTo>
                  <a:lnTo>
                    <a:pt x="749" y="130"/>
                  </a:lnTo>
                  <a:lnTo>
                    <a:pt x="750" y="128"/>
                  </a:lnTo>
                  <a:lnTo>
                    <a:pt x="752" y="128"/>
                  </a:lnTo>
                  <a:lnTo>
                    <a:pt x="754" y="126"/>
                  </a:lnTo>
                  <a:lnTo>
                    <a:pt x="754" y="122"/>
                  </a:lnTo>
                  <a:lnTo>
                    <a:pt x="754" y="121"/>
                  </a:lnTo>
                  <a:lnTo>
                    <a:pt x="752" y="119"/>
                  </a:lnTo>
                  <a:lnTo>
                    <a:pt x="750" y="119"/>
                  </a:lnTo>
                  <a:lnTo>
                    <a:pt x="749" y="119"/>
                  </a:lnTo>
                  <a:close/>
                  <a:moveTo>
                    <a:pt x="786" y="111"/>
                  </a:moveTo>
                  <a:lnTo>
                    <a:pt x="786" y="111"/>
                  </a:lnTo>
                  <a:lnTo>
                    <a:pt x="784" y="113"/>
                  </a:lnTo>
                  <a:lnTo>
                    <a:pt x="782" y="113"/>
                  </a:lnTo>
                  <a:lnTo>
                    <a:pt x="782" y="117"/>
                  </a:lnTo>
                  <a:lnTo>
                    <a:pt x="782" y="119"/>
                  </a:lnTo>
                  <a:lnTo>
                    <a:pt x="782" y="121"/>
                  </a:lnTo>
                  <a:lnTo>
                    <a:pt x="784" y="122"/>
                  </a:lnTo>
                  <a:lnTo>
                    <a:pt x="786" y="122"/>
                  </a:lnTo>
                  <a:lnTo>
                    <a:pt x="787" y="122"/>
                  </a:lnTo>
                  <a:lnTo>
                    <a:pt x="789" y="122"/>
                  </a:lnTo>
                  <a:lnTo>
                    <a:pt x="791" y="121"/>
                  </a:lnTo>
                  <a:lnTo>
                    <a:pt x="791" y="117"/>
                  </a:lnTo>
                  <a:lnTo>
                    <a:pt x="791" y="115"/>
                  </a:lnTo>
                  <a:lnTo>
                    <a:pt x="791" y="113"/>
                  </a:lnTo>
                  <a:lnTo>
                    <a:pt x="789" y="113"/>
                  </a:lnTo>
                  <a:lnTo>
                    <a:pt x="787" y="111"/>
                  </a:lnTo>
                  <a:lnTo>
                    <a:pt x="786" y="111"/>
                  </a:lnTo>
                  <a:close/>
                  <a:moveTo>
                    <a:pt x="841" y="167"/>
                  </a:moveTo>
                  <a:lnTo>
                    <a:pt x="839" y="167"/>
                  </a:lnTo>
                  <a:lnTo>
                    <a:pt x="837" y="167"/>
                  </a:lnTo>
                  <a:lnTo>
                    <a:pt x="837" y="169"/>
                  </a:lnTo>
                  <a:lnTo>
                    <a:pt x="835" y="172"/>
                  </a:lnTo>
                  <a:lnTo>
                    <a:pt x="835" y="176"/>
                  </a:lnTo>
                  <a:lnTo>
                    <a:pt x="837" y="178"/>
                  </a:lnTo>
                  <a:lnTo>
                    <a:pt x="839" y="180"/>
                  </a:lnTo>
                  <a:lnTo>
                    <a:pt x="841" y="180"/>
                  </a:lnTo>
                  <a:lnTo>
                    <a:pt x="843" y="180"/>
                  </a:lnTo>
                  <a:lnTo>
                    <a:pt x="843" y="178"/>
                  </a:lnTo>
                  <a:lnTo>
                    <a:pt x="845" y="178"/>
                  </a:lnTo>
                  <a:lnTo>
                    <a:pt x="845" y="174"/>
                  </a:lnTo>
                  <a:lnTo>
                    <a:pt x="845" y="169"/>
                  </a:lnTo>
                  <a:lnTo>
                    <a:pt x="843" y="167"/>
                  </a:lnTo>
                  <a:lnTo>
                    <a:pt x="841" y="167"/>
                  </a:lnTo>
                  <a:close/>
                  <a:moveTo>
                    <a:pt x="835" y="180"/>
                  </a:moveTo>
                  <a:lnTo>
                    <a:pt x="835" y="180"/>
                  </a:lnTo>
                  <a:lnTo>
                    <a:pt x="834" y="180"/>
                  </a:lnTo>
                  <a:lnTo>
                    <a:pt x="832" y="181"/>
                  </a:lnTo>
                  <a:lnTo>
                    <a:pt x="832" y="183"/>
                  </a:lnTo>
                  <a:lnTo>
                    <a:pt x="832" y="185"/>
                  </a:lnTo>
                  <a:lnTo>
                    <a:pt x="832" y="187"/>
                  </a:lnTo>
                  <a:lnTo>
                    <a:pt x="834" y="189"/>
                  </a:lnTo>
                  <a:lnTo>
                    <a:pt x="835" y="189"/>
                  </a:lnTo>
                  <a:lnTo>
                    <a:pt x="837" y="189"/>
                  </a:lnTo>
                  <a:lnTo>
                    <a:pt x="839" y="189"/>
                  </a:lnTo>
                  <a:lnTo>
                    <a:pt x="839" y="187"/>
                  </a:lnTo>
                  <a:lnTo>
                    <a:pt x="841" y="187"/>
                  </a:lnTo>
                  <a:lnTo>
                    <a:pt x="841" y="185"/>
                  </a:lnTo>
                  <a:lnTo>
                    <a:pt x="841" y="183"/>
                  </a:lnTo>
                  <a:lnTo>
                    <a:pt x="841" y="181"/>
                  </a:lnTo>
                  <a:lnTo>
                    <a:pt x="839" y="181"/>
                  </a:lnTo>
                  <a:lnTo>
                    <a:pt x="839" y="180"/>
                  </a:lnTo>
                  <a:lnTo>
                    <a:pt x="837" y="180"/>
                  </a:lnTo>
                  <a:lnTo>
                    <a:pt x="835" y="180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9455818" y="5762028"/>
              <a:ext cx="429086" cy="383919"/>
            </a:xfrm>
            <a:custGeom>
              <a:avLst/>
              <a:gdLst>
                <a:gd name="T0" fmla="*/ 10258 w 247"/>
                <a:gd name="T1" fmla="*/ 223838 h 204"/>
                <a:gd name="T2" fmla="*/ 29308 w 247"/>
                <a:gd name="T3" fmla="*/ 249238 h 204"/>
                <a:gd name="T4" fmla="*/ 51288 w 247"/>
                <a:gd name="T5" fmla="*/ 276225 h 204"/>
                <a:gd name="T6" fmla="*/ 54219 w 247"/>
                <a:gd name="T7" fmla="*/ 296863 h 204"/>
                <a:gd name="T8" fmla="*/ 73269 w 247"/>
                <a:gd name="T9" fmla="*/ 304800 h 204"/>
                <a:gd name="T10" fmla="*/ 93785 w 247"/>
                <a:gd name="T11" fmla="*/ 314325 h 204"/>
                <a:gd name="T12" fmla="*/ 127488 w 247"/>
                <a:gd name="T13" fmla="*/ 307975 h 204"/>
                <a:gd name="T14" fmla="*/ 156796 w 247"/>
                <a:gd name="T15" fmla="*/ 282575 h 204"/>
                <a:gd name="T16" fmla="*/ 199292 w 247"/>
                <a:gd name="T17" fmla="*/ 234950 h 204"/>
                <a:gd name="T18" fmla="*/ 224204 w 247"/>
                <a:gd name="T19" fmla="*/ 190500 h 204"/>
                <a:gd name="T20" fmla="*/ 253512 w 247"/>
                <a:gd name="T21" fmla="*/ 161925 h 204"/>
                <a:gd name="T22" fmla="*/ 272562 w 247"/>
                <a:gd name="T23" fmla="*/ 130175 h 204"/>
                <a:gd name="T24" fmla="*/ 303335 w 247"/>
                <a:gd name="T25" fmla="*/ 92075 h 204"/>
                <a:gd name="T26" fmla="*/ 326781 w 247"/>
                <a:gd name="T27" fmla="*/ 61913 h 204"/>
                <a:gd name="T28" fmla="*/ 342900 w 247"/>
                <a:gd name="T29" fmla="*/ 50800 h 204"/>
                <a:gd name="T30" fmla="*/ 359019 w 247"/>
                <a:gd name="T31" fmla="*/ 17463 h 204"/>
                <a:gd name="T32" fmla="*/ 361950 w 247"/>
                <a:gd name="T33" fmla="*/ 3175 h 204"/>
                <a:gd name="T34" fmla="*/ 342900 w 247"/>
                <a:gd name="T35" fmla="*/ 3175 h 204"/>
                <a:gd name="T36" fmla="*/ 319454 w 247"/>
                <a:gd name="T37" fmla="*/ 12700 h 204"/>
                <a:gd name="T38" fmla="*/ 291612 w 247"/>
                <a:gd name="T39" fmla="*/ 33338 h 204"/>
                <a:gd name="T40" fmla="*/ 269631 w 247"/>
                <a:gd name="T41" fmla="*/ 65088 h 204"/>
                <a:gd name="T42" fmla="*/ 250581 w 247"/>
                <a:gd name="T43" fmla="*/ 88900 h 204"/>
                <a:gd name="T44" fmla="*/ 234462 w 247"/>
                <a:gd name="T45" fmla="*/ 92075 h 204"/>
                <a:gd name="T46" fmla="*/ 213946 w 247"/>
                <a:gd name="T47" fmla="*/ 85725 h 204"/>
                <a:gd name="T48" fmla="*/ 180242 w 247"/>
                <a:gd name="T49" fmla="*/ 65088 h 204"/>
                <a:gd name="T50" fmla="*/ 143608 w 247"/>
                <a:gd name="T51" fmla="*/ 61913 h 204"/>
                <a:gd name="T52" fmla="*/ 102577 w 247"/>
                <a:gd name="T53" fmla="*/ 65088 h 204"/>
                <a:gd name="T54" fmla="*/ 77665 w 247"/>
                <a:gd name="T55" fmla="*/ 82550 h 204"/>
                <a:gd name="T56" fmla="*/ 54219 w 247"/>
                <a:gd name="T57" fmla="*/ 103188 h 204"/>
                <a:gd name="T58" fmla="*/ 38100 w 247"/>
                <a:gd name="T59" fmla="*/ 100012 h 204"/>
                <a:gd name="T60" fmla="*/ 23446 w 247"/>
                <a:gd name="T61" fmla="*/ 123825 h 204"/>
                <a:gd name="T62" fmla="*/ 16119 w 247"/>
                <a:gd name="T63" fmla="*/ 169862 h 204"/>
                <a:gd name="T64" fmla="*/ 7327 w 247"/>
                <a:gd name="T65" fmla="*/ 193675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47"/>
                <a:gd name="T100" fmla="*/ 0 h 204"/>
                <a:gd name="T101" fmla="*/ 247 w 247"/>
                <a:gd name="T102" fmla="*/ 204 h 2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47" h="204">
                  <a:moveTo>
                    <a:pt x="0" y="130"/>
                  </a:moveTo>
                  <a:lnTo>
                    <a:pt x="7" y="141"/>
                  </a:lnTo>
                  <a:lnTo>
                    <a:pt x="13" y="150"/>
                  </a:lnTo>
                  <a:lnTo>
                    <a:pt x="20" y="157"/>
                  </a:lnTo>
                  <a:lnTo>
                    <a:pt x="33" y="167"/>
                  </a:lnTo>
                  <a:lnTo>
                    <a:pt x="35" y="174"/>
                  </a:lnTo>
                  <a:lnTo>
                    <a:pt x="35" y="180"/>
                  </a:lnTo>
                  <a:lnTo>
                    <a:pt x="37" y="187"/>
                  </a:lnTo>
                  <a:lnTo>
                    <a:pt x="44" y="192"/>
                  </a:lnTo>
                  <a:lnTo>
                    <a:pt x="50" y="192"/>
                  </a:lnTo>
                  <a:lnTo>
                    <a:pt x="57" y="192"/>
                  </a:lnTo>
                  <a:lnTo>
                    <a:pt x="64" y="198"/>
                  </a:lnTo>
                  <a:lnTo>
                    <a:pt x="79" y="204"/>
                  </a:lnTo>
                  <a:lnTo>
                    <a:pt x="87" y="194"/>
                  </a:lnTo>
                  <a:lnTo>
                    <a:pt x="92" y="187"/>
                  </a:lnTo>
                  <a:lnTo>
                    <a:pt x="107" y="178"/>
                  </a:lnTo>
                  <a:lnTo>
                    <a:pt x="133" y="165"/>
                  </a:lnTo>
                  <a:lnTo>
                    <a:pt x="136" y="148"/>
                  </a:lnTo>
                  <a:lnTo>
                    <a:pt x="142" y="130"/>
                  </a:lnTo>
                  <a:lnTo>
                    <a:pt x="153" y="120"/>
                  </a:lnTo>
                  <a:lnTo>
                    <a:pt x="168" y="115"/>
                  </a:lnTo>
                  <a:lnTo>
                    <a:pt x="173" y="102"/>
                  </a:lnTo>
                  <a:lnTo>
                    <a:pt x="179" y="91"/>
                  </a:lnTo>
                  <a:lnTo>
                    <a:pt x="186" y="82"/>
                  </a:lnTo>
                  <a:lnTo>
                    <a:pt x="192" y="72"/>
                  </a:lnTo>
                  <a:lnTo>
                    <a:pt x="207" y="58"/>
                  </a:lnTo>
                  <a:lnTo>
                    <a:pt x="218" y="39"/>
                  </a:lnTo>
                  <a:lnTo>
                    <a:pt x="223" y="39"/>
                  </a:lnTo>
                  <a:lnTo>
                    <a:pt x="229" y="39"/>
                  </a:lnTo>
                  <a:lnTo>
                    <a:pt x="234" y="32"/>
                  </a:lnTo>
                  <a:lnTo>
                    <a:pt x="242" y="19"/>
                  </a:lnTo>
                  <a:lnTo>
                    <a:pt x="245" y="11"/>
                  </a:lnTo>
                  <a:lnTo>
                    <a:pt x="247" y="8"/>
                  </a:lnTo>
                  <a:lnTo>
                    <a:pt x="247" y="2"/>
                  </a:lnTo>
                  <a:lnTo>
                    <a:pt x="244" y="0"/>
                  </a:lnTo>
                  <a:lnTo>
                    <a:pt x="234" y="2"/>
                  </a:lnTo>
                  <a:lnTo>
                    <a:pt x="225" y="6"/>
                  </a:lnTo>
                  <a:lnTo>
                    <a:pt x="218" y="8"/>
                  </a:lnTo>
                  <a:lnTo>
                    <a:pt x="212" y="11"/>
                  </a:lnTo>
                  <a:lnTo>
                    <a:pt x="199" y="21"/>
                  </a:lnTo>
                  <a:lnTo>
                    <a:pt x="192" y="32"/>
                  </a:lnTo>
                  <a:lnTo>
                    <a:pt x="184" y="41"/>
                  </a:lnTo>
                  <a:lnTo>
                    <a:pt x="177" y="48"/>
                  </a:lnTo>
                  <a:lnTo>
                    <a:pt x="171" y="56"/>
                  </a:lnTo>
                  <a:lnTo>
                    <a:pt x="166" y="58"/>
                  </a:lnTo>
                  <a:lnTo>
                    <a:pt x="160" y="58"/>
                  </a:lnTo>
                  <a:lnTo>
                    <a:pt x="153" y="56"/>
                  </a:lnTo>
                  <a:lnTo>
                    <a:pt x="146" y="54"/>
                  </a:lnTo>
                  <a:lnTo>
                    <a:pt x="138" y="48"/>
                  </a:lnTo>
                  <a:lnTo>
                    <a:pt x="123" y="41"/>
                  </a:lnTo>
                  <a:lnTo>
                    <a:pt x="111" y="34"/>
                  </a:lnTo>
                  <a:lnTo>
                    <a:pt x="98" y="39"/>
                  </a:lnTo>
                  <a:lnTo>
                    <a:pt x="85" y="46"/>
                  </a:lnTo>
                  <a:lnTo>
                    <a:pt x="70" y="41"/>
                  </a:lnTo>
                  <a:lnTo>
                    <a:pt x="61" y="39"/>
                  </a:lnTo>
                  <a:lnTo>
                    <a:pt x="53" y="52"/>
                  </a:lnTo>
                  <a:lnTo>
                    <a:pt x="42" y="63"/>
                  </a:lnTo>
                  <a:lnTo>
                    <a:pt x="37" y="65"/>
                  </a:lnTo>
                  <a:lnTo>
                    <a:pt x="31" y="63"/>
                  </a:lnTo>
                  <a:lnTo>
                    <a:pt x="26" y="63"/>
                  </a:lnTo>
                  <a:lnTo>
                    <a:pt x="22" y="59"/>
                  </a:lnTo>
                  <a:lnTo>
                    <a:pt x="16" y="78"/>
                  </a:lnTo>
                  <a:lnTo>
                    <a:pt x="13" y="98"/>
                  </a:lnTo>
                  <a:lnTo>
                    <a:pt x="11" y="107"/>
                  </a:lnTo>
                  <a:lnTo>
                    <a:pt x="9" y="115"/>
                  </a:lnTo>
                  <a:lnTo>
                    <a:pt x="5" y="122"/>
                  </a:lnTo>
                  <a:lnTo>
                    <a:pt x="0" y="130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9760695" y="5654758"/>
              <a:ext cx="526948" cy="1217625"/>
            </a:xfrm>
            <a:custGeom>
              <a:avLst/>
              <a:gdLst>
                <a:gd name="T0" fmla="*/ 136431 w 303"/>
                <a:gd name="T1" fmla="*/ 439737 h 647"/>
                <a:gd name="T2" fmla="*/ 140832 w 303"/>
                <a:gd name="T3" fmla="*/ 463550 h 647"/>
                <a:gd name="T4" fmla="*/ 124695 w 303"/>
                <a:gd name="T5" fmla="*/ 512762 h 647"/>
                <a:gd name="T6" fmla="*/ 136431 w 303"/>
                <a:gd name="T7" fmla="*/ 560387 h 647"/>
                <a:gd name="T8" fmla="*/ 137898 w 303"/>
                <a:gd name="T9" fmla="*/ 587375 h 647"/>
                <a:gd name="T10" fmla="*/ 133497 w 303"/>
                <a:gd name="T11" fmla="*/ 622300 h 647"/>
                <a:gd name="T12" fmla="*/ 83619 w 303"/>
                <a:gd name="T13" fmla="*/ 647700 h 647"/>
                <a:gd name="T14" fmla="*/ 35208 w 303"/>
                <a:gd name="T15" fmla="*/ 674687 h 647"/>
                <a:gd name="T16" fmla="*/ 0 w 303"/>
                <a:gd name="T17" fmla="*/ 733425 h 647"/>
                <a:gd name="T18" fmla="*/ 46944 w 303"/>
                <a:gd name="T19" fmla="*/ 795337 h 647"/>
                <a:gd name="T20" fmla="*/ 82152 w 303"/>
                <a:gd name="T21" fmla="*/ 889000 h 647"/>
                <a:gd name="T22" fmla="*/ 101223 w 303"/>
                <a:gd name="T23" fmla="*/ 968375 h 647"/>
                <a:gd name="T24" fmla="*/ 48411 w 303"/>
                <a:gd name="T25" fmla="*/ 985837 h 647"/>
                <a:gd name="T26" fmla="*/ 54279 w 303"/>
                <a:gd name="T27" fmla="*/ 1000125 h 647"/>
                <a:gd name="T28" fmla="*/ 86553 w 303"/>
                <a:gd name="T29" fmla="*/ 1027112 h 647"/>
                <a:gd name="T30" fmla="*/ 130563 w 303"/>
                <a:gd name="T31" fmla="*/ 982662 h 647"/>
                <a:gd name="T32" fmla="*/ 140832 w 303"/>
                <a:gd name="T33" fmla="*/ 933450 h 647"/>
                <a:gd name="T34" fmla="*/ 143766 w 303"/>
                <a:gd name="T35" fmla="*/ 906462 h 647"/>
                <a:gd name="T36" fmla="*/ 165771 w 303"/>
                <a:gd name="T37" fmla="*/ 892175 h 647"/>
                <a:gd name="T38" fmla="*/ 178974 w 303"/>
                <a:gd name="T39" fmla="*/ 882650 h 647"/>
                <a:gd name="T40" fmla="*/ 192177 w 303"/>
                <a:gd name="T41" fmla="*/ 882650 h 647"/>
                <a:gd name="T42" fmla="*/ 198045 w 303"/>
                <a:gd name="T43" fmla="*/ 915987 h 647"/>
                <a:gd name="T44" fmla="*/ 242054 w 303"/>
                <a:gd name="T45" fmla="*/ 906462 h 647"/>
                <a:gd name="T46" fmla="*/ 281663 w 303"/>
                <a:gd name="T47" fmla="*/ 889000 h 647"/>
                <a:gd name="T48" fmla="*/ 322739 w 303"/>
                <a:gd name="T49" fmla="*/ 850900 h 647"/>
                <a:gd name="T50" fmla="*/ 363815 w 303"/>
                <a:gd name="T51" fmla="*/ 782637 h 647"/>
                <a:gd name="T52" fmla="*/ 401957 w 303"/>
                <a:gd name="T53" fmla="*/ 684212 h 647"/>
                <a:gd name="T54" fmla="*/ 396089 w 303"/>
                <a:gd name="T55" fmla="*/ 615950 h 647"/>
                <a:gd name="T56" fmla="*/ 421028 w 303"/>
                <a:gd name="T57" fmla="*/ 560387 h 647"/>
                <a:gd name="T58" fmla="*/ 418094 w 303"/>
                <a:gd name="T59" fmla="*/ 484187 h 647"/>
                <a:gd name="T60" fmla="*/ 441566 w 303"/>
                <a:gd name="T61" fmla="*/ 349250 h 647"/>
                <a:gd name="T62" fmla="*/ 438632 w 303"/>
                <a:gd name="T63" fmla="*/ 203200 h 647"/>
                <a:gd name="T64" fmla="*/ 441566 w 303"/>
                <a:gd name="T65" fmla="*/ 111125 h 647"/>
                <a:gd name="T66" fmla="*/ 415160 w 303"/>
                <a:gd name="T67" fmla="*/ 85725 h 647"/>
                <a:gd name="T68" fmla="*/ 385820 w 303"/>
                <a:gd name="T69" fmla="*/ 100012 h 647"/>
                <a:gd name="T70" fmla="*/ 379952 w 303"/>
                <a:gd name="T71" fmla="*/ 65087 h 647"/>
                <a:gd name="T72" fmla="*/ 357947 w 303"/>
                <a:gd name="T73" fmla="*/ 38100 h 647"/>
                <a:gd name="T74" fmla="*/ 347678 w 303"/>
                <a:gd name="T75" fmla="*/ 14287 h 647"/>
                <a:gd name="T76" fmla="*/ 331541 w 303"/>
                <a:gd name="T77" fmla="*/ 3175 h 647"/>
                <a:gd name="T78" fmla="*/ 296333 w 303"/>
                <a:gd name="T79" fmla="*/ 26987 h 647"/>
                <a:gd name="T80" fmla="*/ 262592 w 303"/>
                <a:gd name="T81" fmla="*/ 65087 h 647"/>
                <a:gd name="T82" fmla="*/ 274328 w 303"/>
                <a:gd name="T83" fmla="*/ 87312 h 647"/>
                <a:gd name="T84" fmla="*/ 284597 w 303"/>
                <a:gd name="T85" fmla="*/ 111125 h 647"/>
                <a:gd name="T86" fmla="*/ 309536 w 303"/>
                <a:gd name="T87" fmla="*/ 107950 h 647"/>
                <a:gd name="T88" fmla="*/ 331541 w 303"/>
                <a:gd name="T89" fmla="*/ 120650 h 647"/>
                <a:gd name="T90" fmla="*/ 322739 w 303"/>
                <a:gd name="T91" fmla="*/ 163512 h 647"/>
                <a:gd name="T92" fmla="*/ 296333 w 303"/>
                <a:gd name="T93" fmla="*/ 179387 h 647"/>
                <a:gd name="T94" fmla="*/ 281663 w 303"/>
                <a:gd name="T95" fmla="*/ 190500 h 647"/>
                <a:gd name="T96" fmla="*/ 303668 w 303"/>
                <a:gd name="T97" fmla="*/ 241300 h 647"/>
                <a:gd name="T98" fmla="*/ 277262 w 303"/>
                <a:gd name="T99" fmla="*/ 273050 h 647"/>
                <a:gd name="T100" fmla="*/ 246455 w 303"/>
                <a:gd name="T101" fmla="*/ 276225 h 647"/>
                <a:gd name="T102" fmla="*/ 222983 w 303"/>
                <a:gd name="T103" fmla="*/ 293687 h 647"/>
                <a:gd name="T104" fmla="*/ 189243 w 303"/>
                <a:gd name="T105" fmla="*/ 307975 h 647"/>
                <a:gd name="T106" fmla="*/ 156969 w 303"/>
                <a:gd name="T107" fmla="*/ 280987 h 647"/>
                <a:gd name="T108" fmla="*/ 152568 w 303"/>
                <a:gd name="T109" fmla="*/ 290512 h 647"/>
                <a:gd name="T110" fmla="*/ 133497 w 303"/>
                <a:gd name="T111" fmla="*/ 325437 h 647"/>
                <a:gd name="T112" fmla="*/ 133497 w 303"/>
                <a:gd name="T113" fmla="*/ 355600 h 647"/>
                <a:gd name="T114" fmla="*/ 130563 w 303"/>
                <a:gd name="T115" fmla="*/ 398462 h 64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3"/>
                <a:gd name="T175" fmla="*/ 0 h 647"/>
                <a:gd name="T176" fmla="*/ 303 w 303"/>
                <a:gd name="T177" fmla="*/ 647 h 64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3" h="647">
                  <a:moveTo>
                    <a:pt x="80" y="261"/>
                  </a:moveTo>
                  <a:lnTo>
                    <a:pt x="85" y="270"/>
                  </a:lnTo>
                  <a:lnTo>
                    <a:pt x="93" y="277"/>
                  </a:lnTo>
                  <a:lnTo>
                    <a:pt x="94" y="283"/>
                  </a:lnTo>
                  <a:lnTo>
                    <a:pt x="96" y="286"/>
                  </a:lnTo>
                  <a:lnTo>
                    <a:pt x="96" y="292"/>
                  </a:lnTo>
                  <a:lnTo>
                    <a:pt x="96" y="298"/>
                  </a:lnTo>
                  <a:lnTo>
                    <a:pt x="89" y="310"/>
                  </a:lnTo>
                  <a:lnTo>
                    <a:pt x="85" y="323"/>
                  </a:lnTo>
                  <a:lnTo>
                    <a:pt x="85" y="333"/>
                  </a:lnTo>
                  <a:lnTo>
                    <a:pt x="87" y="344"/>
                  </a:lnTo>
                  <a:lnTo>
                    <a:pt x="93" y="353"/>
                  </a:lnTo>
                  <a:lnTo>
                    <a:pt x="98" y="362"/>
                  </a:lnTo>
                  <a:lnTo>
                    <a:pt x="96" y="366"/>
                  </a:lnTo>
                  <a:lnTo>
                    <a:pt x="94" y="370"/>
                  </a:lnTo>
                  <a:lnTo>
                    <a:pt x="93" y="375"/>
                  </a:lnTo>
                  <a:lnTo>
                    <a:pt x="93" y="381"/>
                  </a:lnTo>
                  <a:lnTo>
                    <a:pt x="91" y="392"/>
                  </a:lnTo>
                  <a:lnTo>
                    <a:pt x="89" y="403"/>
                  </a:lnTo>
                  <a:lnTo>
                    <a:pt x="72" y="405"/>
                  </a:lnTo>
                  <a:lnTo>
                    <a:pt x="57" y="408"/>
                  </a:lnTo>
                  <a:lnTo>
                    <a:pt x="43" y="407"/>
                  </a:lnTo>
                  <a:lnTo>
                    <a:pt x="28" y="407"/>
                  </a:lnTo>
                  <a:lnTo>
                    <a:pt x="24" y="425"/>
                  </a:lnTo>
                  <a:lnTo>
                    <a:pt x="21" y="440"/>
                  </a:lnTo>
                  <a:lnTo>
                    <a:pt x="8" y="453"/>
                  </a:lnTo>
                  <a:lnTo>
                    <a:pt x="0" y="462"/>
                  </a:lnTo>
                  <a:lnTo>
                    <a:pt x="9" y="473"/>
                  </a:lnTo>
                  <a:lnTo>
                    <a:pt x="24" y="486"/>
                  </a:lnTo>
                  <a:lnTo>
                    <a:pt x="32" y="501"/>
                  </a:lnTo>
                  <a:lnTo>
                    <a:pt x="41" y="519"/>
                  </a:lnTo>
                  <a:lnTo>
                    <a:pt x="48" y="540"/>
                  </a:lnTo>
                  <a:lnTo>
                    <a:pt x="56" y="560"/>
                  </a:lnTo>
                  <a:lnTo>
                    <a:pt x="63" y="580"/>
                  </a:lnTo>
                  <a:lnTo>
                    <a:pt x="67" y="597"/>
                  </a:lnTo>
                  <a:lnTo>
                    <a:pt x="69" y="610"/>
                  </a:lnTo>
                  <a:lnTo>
                    <a:pt x="69" y="617"/>
                  </a:lnTo>
                  <a:lnTo>
                    <a:pt x="52" y="619"/>
                  </a:lnTo>
                  <a:lnTo>
                    <a:pt x="33" y="621"/>
                  </a:lnTo>
                  <a:lnTo>
                    <a:pt x="33" y="623"/>
                  </a:lnTo>
                  <a:lnTo>
                    <a:pt x="35" y="626"/>
                  </a:lnTo>
                  <a:lnTo>
                    <a:pt x="37" y="630"/>
                  </a:lnTo>
                  <a:lnTo>
                    <a:pt x="43" y="634"/>
                  </a:lnTo>
                  <a:lnTo>
                    <a:pt x="52" y="643"/>
                  </a:lnTo>
                  <a:lnTo>
                    <a:pt x="59" y="647"/>
                  </a:lnTo>
                  <a:lnTo>
                    <a:pt x="78" y="641"/>
                  </a:lnTo>
                  <a:lnTo>
                    <a:pt x="91" y="636"/>
                  </a:lnTo>
                  <a:lnTo>
                    <a:pt x="89" y="619"/>
                  </a:lnTo>
                  <a:lnTo>
                    <a:pt x="89" y="604"/>
                  </a:lnTo>
                  <a:lnTo>
                    <a:pt x="93" y="597"/>
                  </a:lnTo>
                  <a:lnTo>
                    <a:pt x="96" y="588"/>
                  </a:lnTo>
                  <a:lnTo>
                    <a:pt x="98" y="584"/>
                  </a:lnTo>
                  <a:lnTo>
                    <a:pt x="98" y="578"/>
                  </a:lnTo>
                  <a:lnTo>
                    <a:pt x="98" y="571"/>
                  </a:lnTo>
                  <a:lnTo>
                    <a:pt x="96" y="562"/>
                  </a:lnTo>
                  <a:lnTo>
                    <a:pt x="105" y="562"/>
                  </a:lnTo>
                  <a:lnTo>
                    <a:pt x="113" y="562"/>
                  </a:lnTo>
                  <a:lnTo>
                    <a:pt x="117" y="562"/>
                  </a:lnTo>
                  <a:lnTo>
                    <a:pt x="118" y="560"/>
                  </a:lnTo>
                  <a:lnTo>
                    <a:pt x="122" y="556"/>
                  </a:lnTo>
                  <a:lnTo>
                    <a:pt x="124" y="553"/>
                  </a:lnTo>
                  <a:lnTo>
                    <a:pt x="128" y="554"/>
                  </a:lnTo>
                  <a:lnTo>
                    <a:pt x="131" y="556"/>
                  </a:lnTo>
                  <a:lnTo>
                    <a:pt x="131" y="564"/>
                  </a:lnTo>
                  <a:lnTo>
                    <a:pt x="131" y="569"/>
                  </a:lnTo>
                  <a:lnTo>
                    <a:pt x="135" y="577"/>
                  </a:lnTo>
                  <a:lnTo>
                    <a:pt x="141" y="578"/>
                  </a:lnTo>
                  <a:lnTo>
                    <a:pt x="152" y="575"/>
                  </a:lnTo>
                  <a:lnTo>
                    <a:pt x="165" y="571"/>
                  </a:lnTo>
                  <a:lnTo>
                    <a:pt x="176" y="569"/>
                  </a:lnTo>
                  <a:lnTo>
                    <a:pt x="189" y="569"/>
                  </a:lnTo>
                  <a:lnTo>
                    <a:pt x="192" y="560"/>
                  </a:lnTo>
                  <a:lnTo>
                    <a:pt x="198" y="551"/>
                  </a:lnTo>
                  <a:lnTo>
                    <a:pt x="209" y="541"/>
                  </a:lnTo>
                  <a:lnTo>
                    <a:pt x="220" y="536"/>
                  </a:lnTo>
                  <a:lnTo>
                    <a:pt x="231" y="528"/>
                  </a:lnTo>
                  <a:lnTo>
                    <a:pt x="238" y="519"/>
                  </a:lnTo>
                  <a:lnTo>
                    <a:pt x="248" y="493"/>
                  </a:lnTo>
                  <a:lnTo>
                    <a:pt x="259" y="464"/>
                  </a:lnTo>
                  <a:lnTo>
                    <a:pt x="268" y="443"/>
                  </a:lnTo>
                  <a:lnTo>
                    <a:pt x="274" y="431"/>
                  </a:lnTo>
                  <a:lnTo>
                    <a:pt x="274" y="416"/>
                  </a:lnTo>
                  <a:lnTo>
                    <a:pt x="272" y="403"/>
                  </a:lnTo>
                  <a:lnTo>
                    <a:pt x="270" y="388"/>
                  </a:lnTo>
                  <a:lnTo>
                    <a:pt x="268" y="373"/>
                  </a:lnTo>
                  <a:lnTo>
                    <a:pt x="277" y="362"/>
                  </a:lnTo>
                  <a:lnTo>
                    <a:pt x="287" y="353"/>
                  </a:lnTo>
                  <a:lnTo>
                    <a:pt x="283" y="338"/>
                  </a:lnTo>
                  <a:lnTo>
                    <a:pt x="277" y="323"/>
                  </a:lnTo>
                  <a:lnTo>
                    <a:pt x="285" y="305"/>
                  </a:lnTo>
                  <a:lnTo>
                    <a:pt x="292" y="281"/>
                  </a:lnTo>
                  <a:lnTo>
                    <a:pt x="296" y="253"/>
                  </a:lnTo>
                  <a:lnTo>
                    <a:pt x="301" y="220"/>
                  </a:lnTo>
                  <a:lnTo>
                    <a:pt x="303" y="188"/>
                  </a:lnTo>
                  <a:lnTo>
                    <a:pt x="303" y="157"/>
                  </a:lnTo>
                  <a:lnTo>
                    <a:pt x="299" y="128"/>
                  </a:lnTo>
                  <a:lnTo>
                    <a:pt x="292" y="102"/>
                  </a:lnTo>
                  <a:lnTo>
                    <a:pt x="298" y="83"/>
                  </a:lnTo>
                  <a:lnTo>
                    <a:pt x="301" y="70"/>
                  </a:lnTo>
                  <a:lnTo>
                    <a:pt x="301" y="57"/>
                  </a:lnTo>
                  <a:lnTo>
                    <a:pt x="299" y="46"/>
                  </a:lnTo>
                  <a:lnTo>
                    <a:pt x="283" y="54"/>
                  </a:lnTo>
                  <a:lnTo>
                    <a:pt x="272" y="57"/>
                  </a:lnTo>
                  <a:lnTo>
                    <a:pt x="266" y="61"/>
                  </a:lnTo>
                  <a:lnTo>
                    <a:pt x="263" y="63"/>
                  </a:lnTo>
                  <a:lnTo>
                    <a:pt x="259" y="61"/>
                  </a:lnTo>
                  <a:lnTo>
                    <a:pt x="259" y="57"/>
                  </a:lnTo>
                  <a:lnTo>
                    <a:pt x="259" y="41"/>
                  </a:lnTo>
                  <a:lnTo>
                    <a:pt x="255" y="31"/>
                  </a:lnTo>
                  <a:lnTo>
                    <a:pt x="251" y="28"/>
                  </a:lnTo>
                  <a:lnTo>
                    <a:pt x="244" y="24"/>
                  </a:lnTo>
                  <a:lnTo>
                    <a:pt x="240" y="18"/>
                  </a:lnTo>
                  <a:lnTo>
                    <a:pt x="238" y="13"/>
                  </a:lnTo>
                  <a:lnTo>
                    <a:pt x="237" y="9"/>
                  </a:lnTo>
                  <a:lnTo>
                    <a:pt x="235" y="7"/>
                  </a:lnTo>
                  <a:lnTo>
                    <a:pt x="231" y="4"/>
                  </a:lnTo>
                  <a:lnTo>
                    <a:pt x="226" y="2"/>
                  </a:lnTo>
                  <a:lnTo>
                    <a:pt x="218" y="0"/>
                  </a:lnTo>
                  <a:lnTo>
                    <a:pt x="211" y="0"/>
                  </a:lnTo>
                  <a:lnTo>
                    <a:pt x="202" y="17"/>
                  </a:lnTo>
                  <a:lnTo>
                    <a:pt x="192" y="35"/>
                  </a:lnTo>
                  <a:lnTo>
                    <a:pt x="187" y="37"/>
                  </a:lnTo>
                  <a:lnTo>
                    <a:pt x="179" y="41"/>
                  </a:lnTo>
                  <a:lnTo>
                    <a:pt x="179" y="44"/>
                  </a:lnTo>
                  <a:lnTo>
                    <a:pt x="181" y="50"/>
                  </a:lnTo>
                  <a:lnTo>
                    <a:pt x="187" y="55"/>
                  </a:lnTo>
                  <a:lnTo>
                    <a:pt x="190" y="59"/>
                  </a:lnTo>
                  <a:lnTo>
                    <a:pt x="192" y="67"/>
                  </a:lnTo>
                  <a:lnTo>
                    <a:pt x="194" y="70"/>
                  </a:lnTo>
                  <a:lnTo>
                    <a:pt x="198" y="72"/>
                  </a:lnTo>
                  <a:lnTo>
                    <a:pt x="202" y="74"/>
                  </a:lnTo>
                  <a:lnTo>
                    <a:pt x="211" y="68"/>
                  </a:lnTo>
                  <a:lnTo>
                    <a:pt x="218" y="65"/>
                  </a:lnTo>
                  <a:lnTo>
                    <a:pt x="224" y="70"/>
                  </a:lnTo>
                  <a:lnTo>
                    <a:pt x="226" y="76"/>
                  </a:lnTo>
                  <a:lnTo>
                    <a:pt x="227" y="83"/>
                  </a:lnTo>
                  <a:lnTo>
                    <a:pt x="226" y="91"/>
                  </a:lnTo>
                  <a:lnTo>
                    <a:pt x="220" y="103"/>
                  </a:lnTo>
                  <a:lnTo>
                    <a:pt x="214" y="109"/>
                  </a:lnTo>
                  <a:lnTo>
                    <a:pt x="209" y="111"/>
                  </a:lnTo>
                  <a:lnTo>
                    <a:pt x="202" y="113"/>
                  </a:lnTo>
                  <a:lnTo>
                    <a:pt x="198" y="115"/>
                  </a:lnTo>
                  <a:lnTo>
                    <a:pt x="194" y="116"/>
                  </a:lnTo>
                  <a:lnTo>
                    <a:pt x="192" y="120"/>
                  </a:lnTo>
                  <a:lnTo>
                    <a:pt x="190" y="124"/>
                  </a:lnTo>
                  <a:lnTo>
                    <a:pt x="200" y="137"/>
                  </a:lnTo>
                  <a:lnTo>
                    <a:pt x="207" y="152"/>
                  </a:lnTo>
                  <a:lnTo>
                    <a:pt x="200" y="161"/>
                  </a:lnTo>
                  <a:lnTo>
                    <a:pt x="194" y="168"/>
                  </a:lnTo>
                  <a:lnTo>
                    <a:pt x="189" y="172"/>
                  </a:lnTo>
                  <a:lnTo>
                    <a:pt x="185" y="174"/>
                  </a:lnTo>
                  <a:lnTo>
                    <a:pt x="176" y="172"/>
                  </a:lnTo>
                  <a:lnTo>
                    <a:pt x="168" y="174"/>
                  </a:lnTo>
                  <a:lnTo>
                    <a:pt x="165" y="179"/>
                  </a:lnTo>
                  <a:lnTo>
                    <a:pt x="161" y="187"/>
                  </a:lnTo>
                  <a:lnTo>
                    <a:pt x="152" y="185"/>
                  </a:lnTo>
                  <a:lnTo>
                    <a:pt x="144" y="185"/>
                  </a:lnTo>
                  <a:lnTo>
                    <a:pt x="137" y="190"/>
                  </a:lnTo>
                  <a:lnTo>
                    <a:pt x="129" y="194"/>
                  </a:lnTo>
                  <a:lnTo>
                    <a:pt x="122" y="187"/>
                  </a:lnTo>
                  <a:lnTo>
                    <a:pt x="111" y="177"/>
                  </a:lnTo>
                  <a:lnTo>
                    <a:pt x="107" y="177"/>
                  </a:lnTo>
                  <a:lnTo>
                    <a:pt x="105" y="179"/>
                  </a:lnTo>
                  <a:lnTo>
                    <a:pt x="104" y="181"/>
                  </a:lnTo>
                  <a:lnTo>
                    <a:pt x="104" y="183"/>
                  </a:lnTo>
                  <a:lnTo>
                    <a:pt x="102" y="188"/>
                  </a:lnTo>
                  <a:lnTo>
                    <a:pt x="96" y="196"/>
                  </a:lnTo>
                  <a:lnTo>
                    <a:pt x="91" y="205"/>
                  </a:lnTo>
                  <a:lnTo>
                    <a:pt x="89" y="211"/>
                  </a:lnTo>
                  <a:lnTo>
                    <a:pt x="89" y="218"/>
                  </a:lnTo>
                  <a:lnTo>
                    <a:pt x="91" y="224"/>
                  </a:lnTo>
                  <a:lnTo>
                    <a:pt x="96" y="233"/>
                  </a:lnTo>
                  <a:lnTo>
                    <a:pt x="96" y="240"/>
                  </a:lnTo>
                  <a:lnTo>
                    <a:pt x="89" y="251"/>
                  </a:lnTo>
                  <a:lnTo>
                    <a:pt x="80" y="261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8945809" y="3537557"/>
              <a:ext cx="1334307" cy="2608392"/>
            </a:xfrm>
            <a:custGeom>
              <a:avLst/>
              <a:gdLst>
                <a:gd name="T0" fmla="*/ 779669 w 768"/>
                <a:gd name="T1" fmla="*/ 2132013 h 1386"/>
                <a:gd name="T2" fmla="*/ 817773 w 768"/>
                <a:gd name="T3" fmla="*/ 2132013 h 1386"/>
                <a:gd name="T4" fmla="*/ 888119 w 768"/>
                <a:gd name="T5" fmla="*/ 2087563 h 1386"/>
                <a:gd name="T6" fmla="*/ 980448 w 768"/>
                <a:gd name="T7" fmla="*/ 2003425 h 1386"/>
                <a:gd name="T8" fmla="*/ 1015621 w 768"/>
                <a:gd name="T9" fmla="*/ 1897063 h 1386"/>
                <a:gd name="T10" fmla="*/ 961396 w 768"/>
                <a:gd name="T11" fmla="*/ 1844675 h 1386"/>
                <a:gd name="T12" fmla="*/ 1055191 w 768"/>
                <a:gd name="T13" fmla="*/ 1830388 h 1386"/>
                <a:gd name="T14" fmla="*/ 1118209 w 768"/>
                <a:gd name="T15" fmla="*/ 1779588 h 1386"/>
                <a:gd name="T16" fmla="*/ 1083036 w 768"/>
                <a:gd name="T17" fmla="*/ 1585912 h 1386"/>
                <a:gd name="T18" fmla="*/ 1025880 w 768"/>
                <a:gd name="T19" fmla="*/ 1495425 h 1386"/>
                <a:gd name="T20" fmla="*/ 965793 w 768"/>
                <a:gd name="T21" fmla="*/ 1325562 h 1386"/>
                <a:gd name="T22" fmla="*/ 885188 w 768"/>
                <a:gd name="T23" fmla="*/ 1181100 h 1386"/>
                <a:gd name="T24" fmla="*/ 814842 w 768"/>
                <a:gd name="T25" fmla="*/ 1128712 h 1386"/>
                <a:gd name="T26" fmla="*/ 725444 w 768"/>
                <a:gd name="T27" fmla="*/ 1096963 h 1386"/>
                <a:gd name="T28" fmla="*/ 665356 w 768"/>
                <a:gd name="T29" fmla="*/ 1155700 h 1386"/>
                <a:gd name="T30" fmla="*/ 663891 w 768"/>
                <a:gd name="T31" fmla="*/ 1169987 h 1386"/>
                <a:gd name="T32" fmla="*/ 614062 w 768"/>
                <a:gd name="T33" fmla="*/ 1270000 h 1386"/>
                <a:gd name="T34" fmla="*/ 590614 w 768"/>
                <a:gd name="T35" fmla="*/ 1190625 h 1386"/>
                <a:gd name="T36" fmla="*/ 578889 w 768"/>
                <a:gd name="T37" fmla="*/ 1252537 h 1386"/>
                <a:gd name="T38" fmla="*/ 523199 w 768"/>
                <a:gd name="T39" fmla="*/ 1196975 h 1386"/>
                <a:gd name="T40" fmla="*/ 446991 w 768"/>
                <a:gd name="T41" fmla="*/ 1214437 h 1386"/>
                <a:gd name="T42" fmla="*/ 435266 w 768"/>
                <a:gd name="T43" fmla="*/ 1063625 h 1386"/>
                <a:gd name="T44" fmla="*/ 473370 w 768"/>
                <a:gd name="T45" fmla="*/ 911225 h 1386"/>
                <a:gd name="T46" fmla="*/ 468974 w 768"/>
                <a:gd name="T47" fmla="*/ 820738 h 1386"/>
                <a:gd name="T48" fmla="*/ 495354 w 768"/>
                <a:gd name="T49" fmla="*/ 723900 h 1386"/>
                <a:gd name="T50" fmla="*/ 511475 w 768"/>
                <a:gd name="T51" fmla="*/ 460375 h 1386"/>
                <a:gd name="T52" fmla="*/ 663891 w 768"/>
                <a:gd name="T53" fmla="*/ 274638 h 1386"/>
                <a:gd name="T54" fmla="*/ 693202 w 768"/>
                <a:gd name="T55" fmla="*/ 273050 h 1386"/>
                <a:gd name="T56" fmla="*/ 663891 w 768"/>
                <a:gd name="T57" fmla="*/ 177800 h 1386"/>
                <a:gd name="T58" fmla="*/ 568631 w 768"/>
                <a:gd name="T59" fmla="*/ 149225 h 1386"/>
                <a:gd name="T60" fmla="*/ 446991 w 768"/>
                <a:gd name="T61" fmla="*/ 0 h 1386"/>
                <a:gd name="T62" fmla="*/ 411818 w 768"/>
                <a:gd name="T63" fmla="*/ 84137 h 1386"/>
                <a:gd name="T64" fmla="*/ 325351 w 768"/>
                <a:gd name="T65" fmla="*/ 96837 h 1386"/>
                <a:gd name="T66" fmla="*/ 194917 w 768"/>
                <a:gd name="T67" fmla="*/ 139700 h 1386"/>
                <a:gd name="T68" fmla="*/ 175865 w 768"/>
                <a:gd name="T69" fmla="*/ 398462 h 1386"/>
                <a:gd name="T70" fmla="*/ 271125 w 768"/>
                <a:gd name="T71" fmla="*/ 557212 h 1386"/>
                <a:gd name="T72" fmla="*/ 208107 w 768"/>
                <a:gd name="T73" fmla="*/ 636587 h 1386"/>
                <a:gd name="T74" fmla="*/ 99657 w 768"/>
                <a:gd name="T75" fmla="*/ 717550 h 1386"/>
                <a:gd name="T76" fmla="*/ 13190 w 768"/>
                <a:gd name="T77" fmla="*/ 765175 h 1386"/>
                <a:gd name="T78" fmla="*/ 5862 w 768"/>
                <a:gd name="T79" fmla="*/ 896938 h 1386"/>
                <a:gd name="T80" fmla="*/ 32242 w 768"/>
                <a:gd name="T81" fmla="*/ 1079500 h 1386"/>
                <a:gd name="T82" fmla="*/ 92329 w 768"/>
                <a:gd name="T83" fmla="*/ 1235075 h 1386"/>
                <a:gd name="T84" fmla="*/ 216900 w 768"/>
                <a:gd name="T85" fmla="*/ 1228725 h 1386"/>
                <a:gd name="T86" fmla="*/ 159744 w 768"/>
                <a:gd name="T87" fmla="*/ 1349375 h 1386"/>
                <a:gd name="T88" fmla="*/ 159744 w 768"/>
                <a:gd name="T89" fmla="*/ 1474787 h 1386"/>
                <a:gd name="T90" fmla="*/ 246211 w 768"/>
                <a:gd name="T91" fmla="*/ 1530350 h 1386"/>
                <a:gd name="T92" fmla="*/ 329747 w 768"/>
                <a:gd name="T93" fmla="*/ 1474787 h 1386"/>
                <a:gd name="T94" fmla="*/ 457249 w 768"/>
                <a:gd name="T95" fmla="*/ 1377950 h 1386"/>
                <a:gd name="T96" fmla="*/ 489491 w 768"/>
                <a:gd name="T97" fmla="*/ 1495425 h 1386"/>
                <a:gd name="T98" fmla="*/ 414749 w 768"/>
                <a:gd name="T99" fmla="*/ 1554162 h 1386"/>
                <a:gd name="T100" fmla="*/ 332678 w 768"/>
                <a:gd name="T101" fmla="*/ 1709738 h 1386"/>
                <a:gd name="T102" fmla="*/ 370782 w 768"/>
                <a:gd name="T103" fmla="*/ 1871663 h 1386"/>
                <a:gd name="T104" fmla="*/ 470439 w 768"/>
                <a:gd name="T105" fmla="*/ 1976438 h 1386"/>
                <a:gd name="T106" fmla="*/ 486560 w 768"/>
                <a:gd name="T107" fmla="*/ 1979613 h 1386"/>
                <a:gd name="T108" fmla="*/ 555441 w 768"/>
                <a:gd name="T109" fmla="*/ 1949450 h 1386"/>
                <a:gd name="T110" fmla="*/ 712254 w 768"/>
                <a:gd name="T111" fmla="*/ 1927225 h 1386"/>
                <a:gd name="T112" fmla="*/ 766479 w 768"/>
                <a:gd name="T113" fmla="*/ 1938338 h 1386"/>
                <a:gd name="T114" fmla="*/ 486560 w 768"/>
                <a:gd name="T115" fmla="*/ 1125537 h 1386"/>
                <a:gd name="T116" fmla="*/ 571562 w 768"/>
                <a:gd name="T117" fmla="*/ 1087438 h 1386"/>
                <a:gd name="T118" fmla="*/ 527595 w 768"/>
                <a:gd name="T119" fmla="*/ 1128712 h 1386"/>
                <a:gd name="T120" fmla="*/ 565700 w 768"/>
                <a:gd name="T121" fmla="*/ 1166812 h 1386"/>
                <a:gd name="T122" fmla="*/ 587683 w 768"/>
                <a:gd name="T123" fmla="*/ 1155700 h 138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8"/>
                <a:gd name="T187" fmla="*/ 0 h 1386"/>
                <a:gd name="T188" fmla="*/ 768 w 768"/>
                <a:gd name="T189" fmla="*/ 1386 h 138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8" h="1386">
                  <a:moveTo>
                    <a:pt x="523" y="1221"/>
                  </a:moveTo>
                  <a:lnTo>
                    <a:pt x="519" y="1232"/>
                  </a:lnTo>
                  <a:lnTo>
                    <a:pt x="519" y="1243"/>
                  </a:lnTo>
                  <a:lnTo>
                    <a:pt x="519" y="1254"/>
                  </a:lnTo>
                  <a:lnTo>
                    <a:pt x="521" y="1265"/>
                  </a:lnTo>
                  <a:lnTo>
                    <a:pt x="536" y="1284"/>
                  </a:lnTo>
                  <a:lnTo>
                    <a:pt x="545" y="1295"/>
                  </a:lnTo>
                  <a:lnTo>
                    <a:pt x="536" y="1310"/>
                  </a:lnTo>
                  <a:lnTo>
                    <a:pt x="526" y="1330"/>
                  </a:lnTo>
                  <a:lnTo>
                    <a:pt x="526" y="1336"/>
                  </a:lnTo>
                  <a:lnTo>
                    <a:pt x="528" y="1339"/>
                  </a:lnTo>
                  <a:lnTo>
                    <a:pt x="532" y="1343"/>
                  </a:lnTo>
                  <a:lnTo>
                    <a:pt x="534" y="1345"/>
                  </a:lnTo>
                  <a:lnTo>
                    <a:pt x="541" y="1349"/>
                  </a:lnTo>
                  <a:lnTo>
                    <a:pt x="545" y="1354"/>
                  </a:lnTo>
                  <a:lnTo>
                    <a:pt x="545" y="1367"/>
                  </a:lnTo>
                  <a:lnTo>
                    <a:pt x="547" y="1382"/>
                  </a:lnTo>
                  <a:lnTo>
                    <a:pt x="549" y="1384"/>
                  </a:lnTo>
                  <a:lnTo>
                    <a:pt x="549" y="1386"/>
                  </a:lnTo>
                  <a:lnTo>
                    <a:pt x="558" y="1376"/>
                  </a:lnTo>
                  <a:lnTo>
                    <a:pt x="565" y="1365"/>
                  </a:lnTo>
                  <a:lnTo>
                    <a:pt x="565" y="1358"/>
                  </a:lnTo>
                  <a:lnTo>
                    <a:pt x="560" y="1349"/>
                  </a:lnTo>
                  <a:lnTo>
                    <a:pt x="558" y="1343"/>
                  </a:lnTo>
                  <a:lnTo>
                    <a:pt x="558" y="1336"/>
                  </a:lnTo>
                  <a:lnTo>
                    <a:pt x="560" y="1330"/>
                  </a:lnTo>
                  <a:lnTo>
                    <a:pt x="565" y="1321"/>
                  </a:lnTo>
                  <a:lnTo>
                    <a:pt x="571" y="1313"/>
                  </a:lnTo>
                  <a:lnTo>
                    <a:pt x="573" y="1308"/>
                  </a:lnTo>
                  <a:lnTo>
                    <a:pt x="573" y="1306"/>
                  </a:lnTo>
                  <a:lnTo>
                    <a:pt x="574" y="1304"/>
                  </a:lnTo>
                  <a:lnTo>
                    <a:pt x="576" y="1302"/>
                  </a:lnTo>
                  <a:lnTo>
                    <a:pt x="580" y="1302"/>
                  </a:lnTo>
                  <a:lnTo>
                    <a:pt x="591" y="1312"/>
                  </a:lnTo>
                  <a:lnTo>
                    <a:pt x="598" y="1319"/>
                  </a:lnTo>
                  <a:lnTo>
                    <a:pt x="606" y="1315"/>
                  </a:lnTo>
                  <a:lnTo>
                    <a:pt x="613" y="1310"/>
                  </a:lnTo>
                  <a:lnTo>
                    <a:pt x="621" y="1310"/>
                  </a:lnTo>
                  <a:lnTo>
                    <a:pt x="630" y="1312"/>
                  </a:lnTo>
                  <a:lnTo>
                    <a:pt x="634" y="1304"/>
                  </a:lnTo>
                  <a:lnTo>
                    <a:pt x="637" y="1299"/>
                  </a:lnTo>
                  <a:lnTo>
                    <a:pt x="645" y="1297"/>
                  </a:lnTo>
                  <a:lnTo>
                    <a:pt x="654" y="1299"/>
                  </a:lnTo>
                  <a:lnTo>
                    <a:pt x="658" y="1297"/>
                  </a:lnTo>
                  <a:lnTo>
                    <a:pt x="663" y="1293"/>
                  </a:lnTo>
                  <a:lnTo>
                    <a:pt x="669" y="1286"/>
                  </a:lnTo>
                  <a:lnTo>
                    <a:pt x="676" y="1277"/>
                  </a:lnTo>
                  <a:lnTo>
                    <a:pt x="669" y="1262"/>
                  </a:lnTo>
                  <a:lnTo>
                    <a:pt x="659" y="1249"/>
                  </a:lnTo>
                  <a:lnTo>
                    <a:pt x="661" y="1245"/>
                  </a:lnTo>
                  <a:lnTo>
                    <a:pt x="663" y="1241"/>
                  </a:lnTo>
                  <a:lnTo>
                    <a:pt x="667" y="1240"/>
                  </a:lnTo>
                  <a:lnTo>
                    <a:pt x="671" y="1238"/>
                  </a:lnTo>
                  <a:lnTo>
                    <a:pt x="678" y="1236"/>
                  </a:lnTo>
                  <a:lnTo>
                    <a:pt x="683" y="1234"/>
                  </a:lnTo>
                  <a:lnTo>
                    <a:pt x="689" y="1228"/>
                  </a:lnTo>
                  <a:lnTo>
                    <a:pt x="695" y="1216"/>
                  </a:lnTo>
                  <a:lnTo>
                    <a:pt x="696" y="1208"/>
                  </a:lnTo>
                  <a:lnTo>
                    <a:pt x="695" y="1201"/>
                  </a:lnTo>
                  <a:lnTo>
                    <a:pt x="693" y="1195"/>
                  </a:lnTo>
                  <a:lnTo>
                    <a:pt x="687" y="1190"/>
                  </a:lnTo>
                  <a:lnTo>
                    <a:pt x="680" y="1193"/>
                  </a:lnTo>
                  <a:lnTo>
                    <a:pt x="671" y="1199"/>
                  </a:lnTo>
                  <a:lnTo>
                    <a:pt x="667" y="1197"/>
                  </a:lnTo>
                  <a:lnTo>
                    <a:pt x="663" y="1195"/>
                  </a:lnTo>
                  <a:lnTo>
                    <a:pt x="661" y="1192"/>
                  </a:lnTo>
                  <a:lnTo>
                    <a:pt x="659" y="1184"/>
                  </a:lnTo>
                  <a:lnTo>
                    <a:pt x="656" y="1180"/>
                  </a:lnTo>
                  <a:lnTo>
                    <a:pt x="650" y="1175"/>
                  </a:lnTo>
                  <a:lnTo>
                    <a:pt x="648" y="1169"/>
                  </a:lnTo>
                  <a:lnTo>
                    <a:pt x="648" y="1166"/>
                  </a:lnTo>
                  <a:lnTo>
                    <a:pt x="656" y="1162"/>
                  </a:lnTo>
                  <a:lnTo>
                    <a:pt x="661" y="1160"/>
                  </a:lnTo>
                  <a:lnTo>
                    <a:pt x="671" y="1142"/>
                  </a:lnTo>
                  <a:lnTo>
                    <a:pt x="680" y="1125"/>
                  </a:lnTo>
                  <a:lnTo>
                    <a:pt x="687" y="1125"/>
                  </a:lnTo>
                  <a:lnTo>
                    <a:pt x="695" y="1127"/>
                  </a:lnTo>
                  <a:lnTo>
                    <a:pt x="700" y="1129"/>
                  </a:lnTo>
                  <a:lnTo>
                    <a:pt x="704" y="1132"/>
                  </a:lnTo>
                  <a:lnTo>
                    <a:pt x="706" y="1134"/>
                  </a:lnTo>
                  <a:lnTo>
                    <a:pt x="707" y="1138"/>
                  </a:lnTo>
                  <a:lnTo>
                    <a:pt x="709" y="1143"/>
                  </a:lnTo>
                  <a:lnTo>
                    <a:pt x="713" y="1149"/>
                  </a:lnTo>
                  <a:lnTo>
                    <a:pt x="720" y="1153"/>
                  </a:lnTo>
                  <a:lnTo>
                    <a:pt x="724" y="1156"/>
                  </a:lnTo>
                  <a:lnTo>
                    <a:pt x="728" y="1166"/>
                  </a:lnTo>
                  <a:lnTo>
                    <a:pt x="728" y="1182"/>
                  </a:lnTo>
                  <a:lnTo>
                    <a:pt x="728" y="1186"/>
                  </a:lnTo>
                  <a:lnTo>
                    <a:pt x="732" y="1188"/>
                  </a:lnTo>
                  <a:lnTo>
                    <a:pt x="735" y="1186"/>
                  </a:lnTo>
                  <a:lnTo>
                    <a:pt x="741" y="1182"/>
                  </a:lnTo>
                  <a:lnTo>
                    <a:pt x="752" y="1179"/>
                  </a:lnTo>
                  <a:lnTo>
                    <a:pt x="768" y="1171"/>
                  </a:lnTo>
                  <a:lnTo>
                    <a:pt x="765" y="1158"/>
                  </a:lnTo>
                  <a:lnTo>
                    <a:pt x="759" y="1143"/>
                  </a:lnTo>
                  <a:lnTo>
                    <a:pt x="763" y="1121"/>
                  </a:lnTo>
                  <a:lnTo>
                    <a:pt x="767" y="1097"/>
                  </a:lnTo>
                  <a:lnTo>
                    <a:pt x="767" y="1086"/>
                  </a:lnTo>
                  <a:lnTo>
                    <a:pt x="767" y="1077"/>
                  </a:lnTo>
                  <a:lnTo>
                    <a:pt x="765" y="1068"/>
                  </a:lnTo>
                  <a:lnTo>
                    <a:pt x="763" y="1060"/>
                  </a:lnTo>
                  <a:lnTo>
                    <a:pt x="761" y="1055"/>
                  </a:lnTo>
                  <a:lnTo>
                    <a:pt x="759" y="1042"/>
                  </a:lnTo>
                  <a:lnTo>
                    <a:pt x="757" y="1034"/>
                  </a:lnTo>
                  <a:lnTo>
                    <a:pt x="752" y="1027"/>
                  </a:lnTo>
                  <a:lnTo>
                    <a:pt x="746" y="1018"/>
                  </a:lnTo>
                  <a:lnTo>
                    <a:pt x="739" y="1007"/>
                  </a:lnTo>
                  <a:lnTo>
                    <a:pt x="739" y="999"/>
                  </a:lnTo>
                  <a:lnTo>
                    <a:pt x="737" y="990"/>
                  </a:lnTo>
                  <a:lnTo>
                    <a:pt x="732" y="985"/>
                  </a:lnTo>
                  <a:lnTo>
                    <a:pt x="726" y="979"/>
                  </a:lnTo>
                  <a:lnTo>
                    <a:pt x="722" y="975"/>
                  </a:lnTo>
                  <a:lnTo>
                    <a:pt x="719" y="973"/>
                  </a:lnTo>
                  <a:lnTo>
                    <a:pt x="717" y="970"/>
                  </a:lnTo>
                  <a:lnTo>
                    <a:pt x="717" y="966"/>
                  </a:lnTo>
                  <a:lnTo>
                    <a:pt x="717" y="961"/>
                  </a:lnTo>
                  <a:lnTo>
                    <a:pt x="717" y="953"/>
                  </a:lnTo>
                  <a:lnTo>
                    <a:pt x="713" y="949"/>
                  </a:lnTo>
                  <a:lnTo>
                    <a:pt x="704" y="946"/>
                  </a:lnTo>
                  <a:lnTo>
                    <a:pt x="700" y="942"/>
                  </a:lnTo>
                  <a:lnTo>
                    <a:pt x="695" y="937"/>
                  </a:lnTo>
                  <a:lnTo>
                    <a:pt x="689" y="929"/>
                  </a:lnTo>
                  <a:lnTo>
                    <a:pt x="683" y="918"/>
                  </a:lnTo>
                  <a:lnTo>
                    <a:pt x="674" y="900"/>
                  </a:lnTo>
                  <a:lnTo>
                    <a:pt x="667" y="887"/>
                  </a:lnTo>
                  <a:lnTo>
                    <a:pt x="663" y="876"/>
                  </a:lnTo>
                  <a:lnTo>
                    <a:pt x="663" y="866"/>
                  </a:lnTo>
                  <a:lnTo>
                    <a:pt x="665" y="861"/>
                  </a:lnTo>
                  <a:lnTo>
                    <a:pt x="669" y="855"/>
                  </a:lnTo>
                  <a:lnTo>
                    <a:pt x="661" y="850"/>
                  </a:lnTo>
                  <a:lnTo>
                    <a:pt x="658" y="844"/>
                  </a:lnTo>
                  <a:lnTo>
                    <a:pt x="659" y="835"/>
                  </a:lnTo>
                  <a:lnTo>
                    <a:pt x="663" y="828"/>
                  </a:lnTo>
                  <a:lnTo>
                    <a:pt x="661" y="820"/>
                  </a:lnTo>
                  <a:lnTo>
                    <a:pt x="661" y="815"/>
                  </a:lnTo>
                  <a:lnTo>
                    <a:pt x="661" y="809"/>
                  </a:lnTo>
                  <a:lnTo>
                    <a:pt x="663" y="800"/>
                  </a:lnTo>
                  <a:lnTo>
                    <a:pt x="656" y="791"/>
                  </a:lnTo>
                  <a:lnTo>
                    <a:pt x="647" y="778"/>
                  </a:lnTo>
                  <a:lnTo>
                    <a:pt x="634" y="776"/>
                  </a:lnTo>
                  <a:lnTo>
                    <a:pt x="628" y="772"/>
                  </a:lnTo>
                  <a:lnTo>
                    <a:pt x="623" y="765"/>
                  </a:lnTo>
                  <a:lnTo>
                    <a:pt x="617" y="746"/>
                  </a:lnTo>
                  <a:lnTo>
                    <a:pt x="604" y="744"/>
                  </a:lnTo>
                  <a:lnTo>
                    <a:pt x="597" y="743"/>
                  </a:lnTo>
                  <a:lnTo>
                    <a:pt x="600" y="737"/>
                  </a:lnTo>
                  <a:lnTo>
                    <a:pt x="602" y="731"/>
                  </a:lnTo>
                  <a:lnTo>
                    <a:pt x="602" y="726"/>
                  </a:lnTo>
                  <a:lnTo>
                    <a:pt x="600" y="720"/>
                  </a:lnTo>
                  <a:lnTo>
                    <a:pt x="597" y="717"/>
                  </a:lnTo>
                  <a:lnTo>
                    <a:pt x="591" y="713"/>
                  </a:lnTo>
                  <a:lnTo>
                    <a:pt x="584" y="713"/>
                  </a:lnTo>
                  <a:lnTo>
                    <a:pt x="576" y="713"/>
                  </a:lnTo>
                  <a:lnTo>
                    <a:pt x="569" y="711"/>
                  </a:lnTo>
                  <a:lnTo>
                    <a:pt x="562" y="711"/>
                  </a:lnTo>
                  <a:lnTo>
                    <a:pt x="556" y="711"/>
                  </a:lnTo>
                  <a:lnTo>
                    <a:pt x="549" y="711"/>
                  </a:lnTo>
                  <a:lnTo>
                    <a:pt x="545" y="707"/>
                  </a:lnTo>
                  <a:lnTo>
                    <a:pt x="541" y="704"/>
                  </a:lnTo>
                  <a:lnTo>
                    <a:pt x="538" y="702"/>
                  </a:lnTo>
                  <a:lnTo>
                    <a:pt x="536" y="700"/>
                  </a:lnTo>
                  <a:lnTo>
                    <a:pt x="530" y="698"/>
                  </a:lnTo>
                  <a:lnTo>
                    <a:pt x="525" y="698"/>
                  </a:lnTo>
                  <a:lnTo>
                    <a:pt x="517" y="693"/>
                  </a:lnTo>
                  <a:lnTo>
                    <a:pt x="512" y="691"/>
                  </a:lnTo>
                  <a:lnTo>
                    <a:pt x="508" y="693"/>
                  </a:lnTo>
                  <a:lnTo>
                    <a:pt x="502" y="694"/>
                  </a:lnTo>
                  <a:lnTo>
                    <a:pt x="495" y="691"/>
                  </a:lnTo>
                  <a:lnTo>
                    <a:pt x="488" y="691"/>
                  </a:lnTo>
                  <a:lnTo>
                    <a:pt x="484" y="693"/>
                  </a:lnTo>
                  <a:lnTo>
                    <a:pt x="480" y="694"/>
                  </a:lnTo>
                  <a:lnTo>
                    <a:pt x="473" y="700"/>
                  </a:lnTo>
                  <a:lnTo>
                    <a:pt x="464" y="709"/>
                  </a:lnTo>
                  <a:lnTo>
                    <a:pt x="458" y="709"/>
                  </a:lnTo>
                  <a:lnTo>
                    <a:pt x="451" y="709"/>
                  </a:lnTo>
                  <a:lnTo>
                    <a:pt x="449" y="709"/>
                  </a:lnTo>
                  <a:lnTo>
                    <a:pt x="447" y="711"/>
                  </a:lnTo>
                  <a:lnTo>
                    <a:pt x="445" y="711"/>
                  </a:lnTo>
                  <a:lnTo>
                    <a:pt x="443" y="713"/>
                  </a:lnTo>
                  <a:lnTo>
                    <a:pt x="454" y="728"/>
                  </a:lnTo>
                  <a:lnTo>
                    <a:pt x="469" y="750"/>
                  </a:lnTo>
                  <a:lnTo>
                    <a:pt x="469" y="755"/>
                  </a:lnTo>
                  <a:lnTo>
                    <a:pt x="469" y="761"/>
                  </a:lnTo>
                  <a:lnTo>
                    <a:pt x="467" y="763"/>
                  </a:lnTo>
                  <a:lnTo>
                    <a:pt x="465" y="767"/>
                  </a:lnTo>
                  <a:lnTo>
                    <a:pt x="462" y="767"/>
                  </a:lnTo>
                  <a:lnTo>
                    <a:pt x="460" y="767"/>
                  </a:lnTo>
                  <a:lnTo>
                    <a:pt x="458" y="763"/>
                  </a:lnTo>
                  <a:lnTo>
                    <a:pt x="458" y="759"/>
                  </a:lnTo>
                  <a:lnTo>
                    <a:pt x="458" y="748"/>
                  </a:lnTo>
                  <a:lnTo>
                    <a:pt x="456" y="737"/>
                  </a:lnTo>
                  <a:lnTo>
                    <a:pt x="453" y="737"/>
                  </a:lnTo>
                  <a:lnTo>
                    <a:pt x="451" y="737"/>
                  </a:lnTo>
                  <a:lnTo>
                    <a:pt x="451" y="739"/>
                  </a:lnTo>
                  <a:lnTo>
                    <a:pt x="449" y="743"/>
                  </a:lnTo>
                  <a:lnTo>
                    <a:pt x="449" y="750"/>
                  </a:lnTo>
                  <a:lnTo>
                    <a:pt x="449" y="763"/>
                  </a:lnTo>
                  <a:lnTo>
                    <a:pt x="445" y="768"/>
                  </a:lnTo>
                  <a:lnTo>
                    <a:pt x="443" y="774"/>
                  </a:lnTo>
                  <a:lnTo>
                    <a:pt x="443" y="779"/>
                  </a:lnTo>
                  <a:lnTo>
                    <a:pt x="445" y="785"/>
                  </a:lnTo>
                  <a:lnTo>
                    <a:pt x="436" y="792"/>
                  </a:lnTo>
                  <a:lnTo>
                    <a:pt x="429" y="798"/>
                  </a:lnTo>
                  <a:lnTo>
                    <a:pt x="419" y="800"/>
                  </a:lnTo>
                  <a:lnTo>
                    <a:pt x="416" y="800"/>
                  </a:lnTo>
                  <a:lnTo>
                    <a:pt x="417" y="791"/>
                  </a:lnTo>
                  <a:lnTo>
                    <a:pt x="421" y="783"/>
                  </a:lnTo>
                  <a:lnTo>
                    <a:pt x="419" y="778"/>
                  </a:lnTo>
                  <a:lnTo>
                    <a:pt x="417" y="774"/>
                  </a:lnTo>
                  <a:lnTo>
                    <a:pt x="419" y="768"/>
                  </a:lnTo>
                  <a:lnTo>
                    <a:pt x="421" y="763"/>
                  </a:lnTo>
                  <a:lnTo>
                    <a:pt x="412" y="763"/>
                  </a:lnTo>
                  <a:lnTo>
                    <a:pt x="397" y="767"/>
                  </a:lnTo>
                  <a:lnTo>
                    <a:pt x="395" y="761"/>
                  </a:lnTo>
                  <a:lnTo>
                    <a:pt x="397" y="757"/>
                  </a:lnTo>
                  <a:lnTo>
                    <a:pt x="403" y="750"/>
                  </a:lnTo>
                  <a:lnTo>
                    <a:pt x="406" y="741"/>
                  </a:lnTo>
                  <a:lnTo>
                    <a:pt x="403" y="741"/>
                  </a:lnTo>
                  <a:lnTo>
                    <a:pt x="399" y="741"/>
                  </a:lnTo>
                  <a:lnTo>
                    <a:pt x="395" y="743"/>
                  </a:lnTo>
                  <a:lnTo>
                    <a:pt x="390" y="744"/>
                  </a:lnTo>
                  <a:lnTo>
                    <a:pt x="386" y="748"/>
                  </a:lnTo>
                  <a:lnTo>
                    <a:pt x="384" y="752"/>
                  </a:lnTo>
                  <a:lnTo>
                    <a:pt x="382" y="755"/>
                  </a:lnTo>
                  <a:lnTo>
                    <a:pt x="382" y="759"/>
                  </a:lnTo>
                  <a:lnTo>
                    <a:pt x="390" y="772"/>
                  </a:lnTo>
                  <a:lnTo>
                    <a:pt x="395" y="785"/>
                  </a:lnTo>
                  <a:lnTo>
                    <a:pt x="395" y="789"/>
                  </a:lnTo>
                  <a:lnTo>
                    <a:pt x="393" y="791"/>
                  </a:lnTo>
                  <a:lnTo>
                    <a:pt x="390" y="792"/>
                  </a:lnTo>
                  <a:lnTo>
                    <a:pt x="388" y="792"/>
                  </a:lnTo>
                  <a:lnTo>
                    <a:pt x="381" y="794"/>
                  </a:lnTo>
                  <a:lnTo>
                    <a:pt x="377" y="792"/>
                  </a:lnTo>
                  <a:lnTo>
                    <a:pt x="375" y="783"/>
                  </a:lnTo>
                  <a:lnTo>
                    <a:pt x="375" y="774"/>
                  </a:lnTo>
                  <a:lnTo>
                    <a:pt x="369" y="770"/>
                  </a:lnTo>
                  <a:lnTo>
                    <a:pt x="364" y="767"/>
                  </a:lnTo>
                  <a:lnTo>
                    <a:pt x="360" y="763"/>
                  </a:lnTo>
                  <a:lnTo>
                    <a:pt x="358" y="759"/>
                  </a:lnTo>
                  <a:lnTo>
                    <a:pt x="357" y="754"/>
                  </a:lnTo>
                  <a:lnTo>
                    <a:pt x="357" y="744"/>
                  </a:lnTo>
                  <a:lnTo>
                    <a:pt x="353" y="743"/>
                  </a:lnTo>
                  <a:lnTo>
                    <a:pt x="351" y="743"/>
                  </a:lnTo>
                  <a:lnTo>
                    <a:pt x="347" y="743"/>
                  </a:lnTo>
                  <a:lnTo>
                    <a:pt x="345" y="744"/>
                  </a:lnTo>
                  <a:lnTo>
                    <a:pt x="342" y="748"/>
                  </a:lnTo>
                  <a:lnTo>
                    <a:pt x="340" y="752"/>
                  </a:lnTo>
                  <a:lnTo>
                    <a:pt x="327" y="755"/>
                  </a:lnTo>
                  <a:lnTo>
                    <a:pt x="318" y="763"/>
                  </a:lnTo>
                  <a:lnTo>
                    <a:pt x="314" y="765"/>
                  </a:lnTo>
                  <a:lnTo>
                    <a:pt x="310" y="767"/>
                  </a:lnTo>
                  <a:lnTo>
                    <a:pt x="305" y="765"/>
                  </a:lnTo>
                  <a:lnTo>
                    <a:pt x="297" y="763"/>
                  </a:lnTo>
                  <a:lnTo>
                    <a:pt x="286" y="767"/>
                  </a:lnTo>
                  <a:lnTo>
                    <a:pt x="275" y="768"/>
                  </a:lnTo>
                  <a:lnTo>
                    <a:pt x="273" y="755"/>
                  </a:lnTo>
                  <a:lnTo>
                    <a:pt x="273" y="744"/>
                  </a:lnTo>
                  <a:lnTo>
                    <a:pt x="273" y="737"/>
                  </a:lnTo>
                  <a:lnTo>
                    <a:pt x="277" y="731"/>
                  </a:lnTo>
                  <a:lnTo>
                    <a:pt x="286" y="720"/>
                  </a:lnTo>
                  <a:lnTo>
                    <a:pt x="297" y="707"/>
                  </a:lnTo>
                  <a:lnTo>
                    <a:pt x="297" y="691"/>
                  </a:lnTo>
                  <a:lnTo>
                    <a:pt x="294" y="676"/>
                  </a:lnTo>
                  <a:lnTo>
                    <a:pt x="297" y="670"/>
                  </a:lnTo>
                  <a:lnTo>
                    <a:pt x="303" y="661"/>
                  </a:lnTo>
                  <a:lnTo>
                    <a:pt x="305" y="652"/>
                  </a:lnTo>
                  <a:lnTo>
                    <a:pt x="307" y="643"/>
                  </a:lnTo>
                  <a:lnTo>
                    <a:pt x="310" y="633"/>
                  </a:lnTo>
                  <a:lnTo>
                    <a:pt x="316" y="626"/>
                  </a:lnTo>
                  <a:lnTo>
                    <a:pt x="320" y="611"/>
                  </a:lnTo>
                  <a:lnTo>
                    <a:pt x="321" y="591"/>
                  </a:lnTo>
                  <a:lnTo>
                    <a:pt x="327" y="585"/>
                  </a:lnTo>
                  <a:lnTo>
                    <a:pt x="329" y="580"/>
                  </a:lnTo>
                  <a:lnTo>
                    <a:pt x="327" y="578"/>
                  </a:lnTo>
                  <a:lnTo>
                    <a:pt x="327" y="576"/>
                  </a:lnTo>
                  <a:lnTo>
                    <a:pt x="323" y="574"/>
                  </a:lnTo>
                  <a:lnTo>
                    <a:pt x="320" y="573"/>
                  </a:lnTo>
                  <a:lnTo>
                    <a:pt x="318" y="567"/>
                  </a:lnTo>
                  <a:lnTo>
                    <a:pt x="316" y="558"/>
                  </a:lnTo>
                  <a:lnTo>
                    <a:pt x="316" y="554"/>
                  </a:lnTo>
                  <a:lnTo>
                    <a:pt x="318" y="548"/>
                  </a:lnTo>
                  <a:lnTo>
                    <a:pt x="320" y="543"/>
                  </a:lnTo>
                  <a:lnTo>
                    <a:pt x="323" y="539"/>
                  </a:lnTo>
                  <a:lnTo>
                    <a:pt x="323" y="534"/>
                  </a:lnTo>
                  <a:lnTo>
                    <a:pt x="320" y="530"/>
                  </a:lnTo>
                  <a:lnTo>
                    <a:pt x="320" y="526"/>
                  </a:lnTo>
                  <a:lnTo>
                    <a:pt x="320" y="523"/>
                  </a:lnTo>
                  <a:lnTo>
                    <a:pt x="320" y="517"/>
                  </a:lnTo>
                  <a:lnTo>
                    <a:pt x="323" y="512"/>
                  </a:lnTo>
                  <a:lnTo>
                    <a:pt x="323" y="508"/>
                  </a:lnTo>
                  <a:lnTo>
                    <a:pt x="323" y="500"/>
                  </a:lnTo>
                  <a:lnTo>
                    <a:pt x="323" y="497"/>
                  </a:lnTo>
                  <a:lnTo>
                    <a:pt x="323" y="493"/>
                  </a:lnTo>
                  <a:lnTo>
                    <a:pt x="325" y="489"/>
                  </a:lnTo>
                  <a:lnTo>
                    <a:pt x="327" y="488"/>
                  </a:lnTo>
                  <a:lnTo>
                    <a:pt x="329" y="480"/>
                  </a:lnTo>
                  <a:lnTo>
                    <a:pt x="329" y="476"/>
                  </a:lnTo>
                  <a:lnTo>
                    <a:pt x="331" y="471"/>
                  </a:lnTo>
                  <a:lnTo>
                    <a:pt x="338" y="462"/>
                  </a:lnTo>
                  <a:lnTo>
                    <a:pt x="338" y="456"/>
                  </a:lnTo>
                  <a:lnTo>
                    <a:pt x="338" y="447"/>
                  </a:lnTo>
                  <a:lnTo>
                    <a:pt x="338" y="438"/>
                  </a:lnTo>
                  <a:lnTo>
                    <a:pt x="344" y="428"/>
                  </a:lnTo>
                  <a:lnTo>
                    <a:pt x="345" y="419"/>
                  </a:lnTo>
                  <a:lnTo>
                    <a:pt x="344" y="406"/>
                  </a:lnTo>
                  <a:lnTo>
                    <a:pt x="340" y="393"/>
                  </a:lnTo>
                  <a:lnTo>
                    <a:pt x="338" y="380"/>
                  </a:lnTo>
                  <a:lnTo>
                    <a:pt x="344" y="366"/>
                  </a:lnTo>
                  <a:lnTo>
                    <a:pt x="355" y="351"/>
                  </a:lnTo>
                  <a:lnTo>
                    <a:pt x="351" y="327"/>
                  </a:lnTo>
                  <a:lnTo>
                    <a:pt x="347" y="301"/>
                  </a:lnTo>
                  <a:lnTo>
                    <a:pt x="349" y="290"/>
                  </a:lnTo>
                  <a:lnTo>
                    <a:pt x="353" y="279"/>
                  </a:lnTo>
                  <a:lnTo>
                    <a:pt x="358" y="268"/>
                  </a:lnTo>
                  <a:lnTo>
                    <a:pt x="364" y="257"/>
                  </a:lnTo>
                  <a:lnTo>
                    <a:pt x="369" y="253"/>
                  </a:lnTo>
                  <a:lnTo>
                    <a:pt x="377" y="247"/>
                  </a:lnTo>
                  <a:lnTo>
                    <a:pt x="381" y="240"/>
                  </a:lnTo>
                  <a:lnTo>
                    <a:pt x="382" y="233"/>
                  </a:lnTo>
                  <a:lnTo>
                    <a:pt x="390" y="225"/>
                  </a:lnTo>
                  <a:lnTo>
                    <a:pt x="397" y="218"/>
                  </a:lnTo>
                  <a:lnTo>
                    <a:pt x="434" y="186"/>
                  </a:lnTo>
                  <a:lnTo>
                    <a:pt x="449" y="172"/>
                  </a:lnTo>
                  <a:lnTo>
                    <a:pt x="453" y="173"/>
                  </a:lnTo>
                  <a:lnTo>
                    <a:pt x="456" y="177"/>
                  </a:lnTo>
                  <a:lnTo>
                    <a:pt x="458" y="181"/>
                  </a:lnTo>
                  <a:lnTo>
                    <a:pt x="460" y="184"/>
                  </a:lnTo>
                  <a:lnTo>
                    <a:pt x="464" y="190"/>
                  </a:lnTo>
                  <a:lnTo>
                    <a:pt x="465" y="192"/>
                  </a:lnTo>
                  <a:lnTo>
                    <a:pt x="469" y="194"/>
                  </a:lnTo>
                  <a:lnTo>
                    <a:pt x="475" y="192"/>
                  </a:lnTo>
                  <a:lnTo>
                    <a:pt x="478" y="190"/>
                  </a:lnTo>
                  <a:lnTo>
                    <a:pt x="478" y="186"/>
                  </a:lnTo>
                  <a:lnTo>
                    <a:pt x="478" y="183"/>
                  </a:lnTo>
                  <a:lnTo>
                    <a:pt x="477" y="179"/>
                  </a:lnTo>
                  <a:lnTo>
                    <a:pt x="473" y="172"/>
                  </a:lnTo>
                  <a:lnTo>
                    <a:pt x="471" y="164"/>
                  </a:lnTo>
                  <a:lnTo>
                    <a:pt x="473" y="159"/>
                  </a:lnTo>
                  <a:lnTo>
                    <a:pt x="477" y="155"/>
                  </a:lnTo>
                  <a:lnTo>
                    <a:pt x="482" y="151"/>
                  </a:lnTo>
                  <a:lnTo>
                    <a:pt x="490" y="146"/>
                  </a:lnTo>
                  <a:lnTo>
                    <a:pt x="486" y="135"/>
                  </a:lnTo>
                  <a:lnTo>
                    <a:pt x="480" y="127"/>
                  </a:lnTo>
                  <a:lnTo>
                    <a:pt x="477" y="122"/>
                  </a:lnTo>
                  <a:lnTo>
                    <a:pt x="471" y="118"/>
                  </a:lnTo>
                  <a:lnTo>
                    <a:pt x="462" y="114"/>
                  </a:lnTo>
                  <a:lnTo>
                    <a:pt x="453" y="112"/>
                  </a:lnTo>
                  <a:lnTo>
                    <a:pt x="438" y="111"/>
                  </a:lnTo>
                  <a:lnTo>
                    <a:pt x="427" y="112"/>
                  </a:lnTo>
                  <a:lnTo>
                    <a:pt x="417" y="114"/>
                  </a:lnTo>
                  <a:lnTo>
                    <a:pt x="412" y="118"/>
                  </a:lnTo>
                  <a:lnTo>
                    <a:pt x="406" y="120"/>
                  </a:lnTo>
                  <a:lnTo>
                    <a:pt x="403" y="122"/>
                  </a:lnTo>
                  <a:lnTo>
                    <a:pt x="399" y="123"/>
                  </a:lnTo>
                  <a:lnTo>
                    <a:pt x="395" y="122"/>
                  </a:lnTo>
                  <a:lnTo>
                    <a:pt x="388" y="116"/>
                  </a:lnTo>
                  <a:lnTo>
                    <a:pt x="386" y="109"/>
                  </a:lnTo>
                  <a:lnTo>
                    <a:pt x="386" y="101"/>
                  </a:lnTo>
                  <a:lnTo>
                    <a:pt x="388" y="94"/>
                  </a:lnTo>
                  <a:lnTo>
                    <a:pt x="392" y="77"/>
                  </a:lnTo>
                  <a:lnTo>
                    <a:pt x="393" y="55"/>
                  </a:lnTo>
                  <a:lnTo>
                    <a:pt x="393" y="50"/>
                  </a:lnTo>
                  <a:lnTo>
                    <a:pt x="392" y="44"/>
                  </a:lnTo>
                  <a:lnTo>
                    <a:pt x="388" y="37"/>
                  </a:lnTo>
                  <a:lnTo>
                    <a:pt x="384" y="31"/>
                  </a:lnTo>
                  <a:lnTo>
                    <a:pt x="371" y="20"/>
                  </a:lnTo>
                  <a:lnTo>
                    <a:pt x="357" y="13"/>
                  </a:lnTo>
                  <a:lnTo>
                    <a:pt x="342" y="5"/>
                  </a:lnTo>
                  <a:lnTo>
                    <a:pt x="327" y="0"/>
                  </a:lnTo>
                  <a:lnTo>
                    <a:pt x="314" y="0"/>
                  </a:lnTo>
                  <a:lnTo>
                    <a:pt x="305" y="0"/>
                  </a:lnTo>
                  <a:lnTo>
                    <a:pt x="297" y="11"/>
                  </a:lnTo>
                  <a:lnTo>
                    <a:pt x="288" y="22"/>
                  </a:lnTo>
                  <a:lnTo>
                    <a:pt x="284" y="27"/>
                  </a:lnTo>
                  <a:lnTo>
                    <a:pt x="279" y="31"/>
                  </a:lnTo>
                  <a:lnTo>
                    <a:pt x="275" y="33"/>
                  </a:lnTo>
                  <a:lnTo>
                    <a:pt x="272" y="33"/>
                  </a:lnTo>
                  <a:lnTo>
                    <a:pt x="277" y="38"/>
                  </a:lnTo>
                  <a:lnTo>
                    <a:pt x="281" y="44"/>
                  </a:lnTo>
                  <a:lnTo>
                    <a:pt x="283" y="46"/>
                  </a:lnTo>
                  <a:lnTo>
                    <a:pt x="283" y="48"/>
                  </a:lnTo>
                  <a:lnTo>
                    <a:pt x="283" y="51"/>
                  </a:lnTo>
                  <a:lnTo>
                    <a:pt x="281" y="53"/>
                  </a:lnTo>
                  <a:lnTo>
                    <a:pt x="275" y="57"/>
                  </a:lnTo>
                  <a:lnTo>
                    <a:pt x="270" y="59"/>
                  </a:lnTo>
                  <a:lnTo>
                    <a:pt x="266" y="57"/>
                  </a:lnTo>
                  <a:lnTo>
                    <a:pt x="262" y="53"/>
                  </a:lnTo>
                  <a:lnTo>
                    <a:pt x="257" y="46"/>
                  </a:lnTo>
                  <a:lnTo>
                    <a:pt x="253" y="42"/>
                  </a:lnTo>
                  <a:lnTo>
                    <a:pt x="249" y="48"/>
                  </a:lnTo>
                  <a:lnTo>
                    <a:pt x="249" y="53"/>
                  </a:lnTo>
                  <a:lnTo>
                    <a:pt x="240" y="51"/>
                  </a:lnTo>
                  <a:lnTo>
                    <a:pt x="229" y="51"/>
                  </a:lnTo>
                  <a:lnTo>
                    <a:pt x="223" y="55"/>
                  </a:lnTo>
                  <a:lnTo>
                    <a:pt x="222" y="61"/>
                  </a:lnTo>
                  <a:lnTo>
                    <a:pt x="222" y="64"/>
                  </a:lnTo>
                  <a:lnTo>
                    <a:pt x="222" y="70"/>
                  </a:lnTo>
                  <a:lnTo>
                    <a:pt x="223" y="74"/>
                  </a:lnTo>
                  <a:lnTo>
                    <a:pt x="223" y="79"/>
                  </a:lnTo>
                  <a:lnTo>
                    <a:pt x="222" y="85"/>
                  </a:lnTo>
                  <a:lnTo>
                    <a:pt x="218" y="90"/>
                  </a:lnTo>
                  <a:lnTo>
                    <a:pt x="194" y="90"/>
                  </a:lnTo>
                  <a:lnTo>
                    <a:pt x="166" y="88"/>
                  </a:lnTo>
                  <a:lnTo>
                    <a:pt x="151" y="87"/>
                  </a:lnTo>
                  <a:lnTo>
                    <a:pt x="140" y="87"/>
                  </a:lnTo>
                  <a:lnTo>
                    <a:pt x="137" y="87"/>
                  </a:lnTo>
                  <a:lnTo>
                    <a:pt x="133" y="88"/>
                  </a:lnTo>
                  <a:lnTo>
                    <a:pt x="131" y="90"/>
                  </a:lnTo>
                  <a:lnTo>
                    <a:pt x="131" y="94"/>
                  </a:lnTo>
                  <a:lnTo>
                    <a:pt x="133" y="109"/>
                  </a:lnTo>
                  <a:lnTo>
                    <a:pt x="137" y="129"/>
                  </a:lnTo>
                  <a:lnTo>
                    <a:pt x="140" y="146"/>
                  </a:lnTo>
                  <a:lnTo>
                    <a:pt x="140" y="155"/>
                  </a:lnTo>
                  <a:lnTo>
                    <a:pt x="137" y="183"/>
                  </a:lnTo>
                  <a:lnTo>
                    <a:pt x="127" y="208"/>
                  </a:lnTo>
                  <a:lnTo>
                    <a:pt x="124" y="221"/>
                  </a:lnTo>
                  <a:lnTo>
                    <a:pt x="120" y="233"/>
                  </a:lnTo>
                  <a:lnTo>
                    <a:pt x="120" y="244"/>
                  </a:lnTo>
                  <a:lnTo>
                    <a:pt x="120" y="251"/>
                  </a:lnTo>
                  <a:lnTo>
                    <a:pt x="126" y="260"/>
                  </a:lnTo>
                  <a:lnTo>
                    <a:pt x="131" y="266"/>
                  </a:lnTo>
                  <a:lnTo>
                    <a:pt x="137" y="269"/>
                  </a:lnTo>
                  <a:lnTo>
                    <a:pt x="144" y="273"/>
                  </a:lnTo>
                  <a:lnTo>
                    <a:pt x="148" y="286"/>
                  </a:lnTo>
                  <a:lnTo>
                    <a:pt x="150" y="299"/>
                  </a:lnTo>
                  <a:lnTo>
                    <a:pt x="161" y="318"/>
                  </a:lnTo>
                  <a:lnTo>
                    <a:pt x="172" y="329"/>
                  </a:lnTo>
                  <a:lnTo>
                    <a:pt x="177" y="334"/>
                  </a:lnTo>
                  <a:lnTo>
                    <a:pt x="181" y="338"/>
                  </a:lnTo>
                  <a:lnTo>
                    <a:pt x="183" y="345"/>
                  </a:lnTo>
                  <a:lnTo>
                    <a:pt x="185" y="351"/>
                  </a:lnTo>
                  <a:lnTo>
                    <a:pt x="183" y="354"/>
                  </a:lnTo>
                  <a:lnTo>
                    <a:pt x="179" y="356"/>
                  </a:lnTo>
                  <a:lnTo>
                    <a:pt x="174" y="354"/>
                  </a:lnTo>
                  <a:lnTo>
                    <a:pt x="168" y="353"/>
                  </a:lnTo>
                  <a:lnTo>
                    <a:pt x="161" y="356"/>
                  </a:lnTo>
                  <a:lnTo>
                    <a:pt x="157" y="360"/>
                  </a:lnTo>
                  <a:lnTo>
                    <a:pt x="155" y="366"/>
                  </a:lnTo>
                  <a:lnTo>
                    <a:pt x="153" y="371"/>
                  </a:lnTo>
                  <a:lnTo>
                    <a:pt x="153" y="377"/>
                  </a:lnTo>
                  <a:lnTo>
                    <a:pt x="151" y="384"/>
                  </a:lnTo>
                  <a:lnTo>
                    <a:pt x="148" y="393"/>
                  </a:lnTo>
                  <a:lnTo>
                    <a:pt x="142" y="401"/>
                  </a:lnTo>
                  <a:lnTo>
                    <a:pt x="135" y="408"/>
                  </a:lnTo>
                  <a:lnTo>
                    <a:pt x="129" y="412"/>
                  </a:lnTo>
                  <a:lnTo>
                    <a:pt x="124" y="414"/>
                  </a:lnTo>
                  <a:lnTo>
                    <a:pt x="116" y="415"/>
                  </a:lnTo>
                  <a:lnTo>
                    <a:pt x="107" y="417"/>
                  </a:lnTo>
                  <a:lnTo>
                    <a:pt x="100" y="421"/>
                  </a:lnTo>
                  <a:lnTo>
                    <a:pt x="98" y="434"/>
                  </a:lnTo>
                  <a:lnTo>
                    <a:pt x="102" y="454"/>
                  </a:lnTo>
                  <a:lnTo>
                    <a:pt x="92" y="456"/>
                  </a:lnTo>
                  <a:lnTo>
                    <a:pt x="85" y="454"/>
                  </a:lnTo>
                  <a:lnTo>
                    <a:pt x="78" y="452"/>
                  </a:lnTo>
                  <a:lnTo>
                    <a:pt x="68" y="452"/>
                  </a:lnTo>
                  <a:lnTo>
                    <a:pt x="63" y="460"/>
                  </a:lnTo>
                  <a:lnTo>
                    <a:pt x="57" y="469"/>
                  </a:lnTo>
                  <a:lnTo>
                    <a:pt x="50" y="467"/>
                  </a:lnTo>
                  <a:lnTo>
                    <a:pt x="41" y="463"/>
                  </a:lnTo>
                  <a:lnTo>
                    <a:pt x="37" y="471"/>
                  </a:lnTo>
                  <a:lnTo>
                    <a:pt x="31" y="478"/>
                  </a:lnTo>
                  <a:lnTo>
                    <a:pt x="26" y="478"/>
                  </a:lnTo>
                  <a:lnTo>
                    <a:pt x="20" y="476"/>
                  </a:lnTo>
                  <a:lnTo>
                    <a:pt x="17" y="476"/>
                  </a:lnTo>
                  <a:lnTo>
                    <a:pt x="15" y="476"/>
                  </a:lnTo>
                  <a:lnTo>
                    <a:pt x="11" y="478"/>
                  </a:lnTo>
                  <a:lnTo>
                    <a:pt x="9" y="482"/>
                  </a:lnTo>
                  <a:lnTo>
                    <a:pt x="6" y="488"/>
                  </a:lnTo>
                  <a:lnTo>
                    <a:pt x="6" y="493"/>
                  </a:lnTo>
                  <a:lnTo>
                    <a:pt x="6" y="497"/>
                  </a:lnTo>
                  <a:lnTo>
                    <a:pt x="7" y="499"/>
                  </a:lnTo>
                  <a:lnTo>
                    <a:pt x="13" y="502"/>
                  </a:lnTo>
                  <a:lnTo>
                    <a:pt x="15" y="508"/>
                  </a:lnTo>
                  <a:lnTo>
                    <a:pt x="7" y="515"/>
                  </a:lnTo>
                  <a:lnTo>
                    <a:pt x="2" y="521"/>
                  </a:lnTo>
                  <a:lnTo>
                    <a:pt x="4" y="534"/>
                  </a:lnTo>
                  <a:lnTo>
                    <a:pt x="7" y="545"/>
                  </a:lnTo>
                  <a:lnTo>
                    <a:pt x="6" y="556"/>
                  </a:lnTo>
                  <a:lnTo>
                    <a:pt x="4" y="565"/>
                  </a:lnTo>
                  <a:lnTo>
                    <a:pt x="11" y="573"/>
                  </a:lnTo>
                  <a:lnTo>
                    <a:pt x="17" y="584"/>
                  </a:lnTo>
                  <a:lnTo>
                    <a:pt x="9" y="585"/>
                  </a:lnTo>
                  <a:lnTo>
                    <a:pt x="0" y="591"/>
                  </a:lnTo>
                  <a:lnTo>
                    <a:pt x="15" y="604"/>
                  </a:lnTo>
                  <a:lnTo>
                    <a:pt x="30" y="615"/>
                  </a:lnTo>
                  <a:lnTo>
                    <a:pt x="24" y="624"/>
                  </a:lnTo>
                  <a:lnTo>
                    <a:pt x="20" y="635"/>
                  </a:lnTo>
                  <a:lnTo>
                    <a:pt x="30" y="645"/>
                  </a:lnTo>
                  <a:lnTo>
                    <a:pt x="37" y="654"/>
                  </a:lnTo>
                  <a:lnTo>
                    <a:pt x="30" y="667"/>
                  </a:lnTo>
                  <a:lnTo>
                    <a:pt x="22" y="680"/>
                  </a:lnTo>
                  <a:lnTo>
                    <a:pt x="39" y="685"/>
                  </a:lnTo>
                  <a:lnTo>
                    <a:pt x="55" y="696"/>
                  </a:lnTo>
                  <a:lnTo>
                    <a:pt x="54" y="707"/>
                  </a:lnTo>
                  <a:lnTo>
                    <a:pt x="54" y="722"/>
                  </a:lnTo>
                  <a:lnTo>
                    <a:pt x="46" y="730"/>
                  </a:lnTo>
                  <a:lnTo>
                    <a:pt x="44" y="737"/>
                  </a:lnTo>
                  <a:lnTo>
                    <a:pt x="44" y="744"/>
                  </a:lnTo>
                  <a:lnTo>
                    <a:pt x="48" y="750"/>
                  </a:lnTo>
                  <a:lnTo>
                    <a:pt x="57" y="759"/>
                  </a:lnTo>
                  <a:lnTo>
                    <a:pt x="65" y="765"/>
                  </a:lnTo>
                  <a:lnTo>
                    <a:pt x="65" y="772"/>
                  </a:lnTo>
                  <a:lnTo>
                    <a:pt x="63" y="778"/>
                  </a:lnTo>
                  <a:lnTo>
                    <a:pt x="63" y="783"/>
                  </a:lnTo>
                  <a:lnTo>
                    <a:pt x="59" y="787"/>
                  </a:lnTo>
                  <a:lnTo>
                    <a:pt x="68" y="783"/>
                  </a:lnTo>
                  <a:lnTo>
                    <a:pt x="96" y="772"/>
                  </a:lnTo>
                  <a:lnTo>
                    <a:pt x="111" y="768"/>
                  </a:lnTo>
                  <a:lnTo>
                    <a:pt x="124" y="765"/>
                  </a:lnTo>
                  <a:lnTo>
                    <a:pt x="137" y="765"/>
                  </a:lnTo>
                  <a:lnTo>
                    <a:pt x="144" y="767"/>
                  </a:lnTo>
                  <a:lnTo>
                    <a:pt x="146" y="768"/>
                  </a:lnTo>
                  <a:lnTo>
                    <a:pt x="148" y="770"/>
                  </a:lnTo>
                  <a:lnTo>
                    <a:pt x="148" y="772"/>
                  </a:lnTo>
                  <a:lnTo>
                    <a:pt x="148" y="774"/>
                  </a:lnTo>
                  <a:lnTo>
                    <a:pt x="146" y="778"/>
                  </a:lnTo>
                  <a:lnTo>
                    <a:pt x="144" y="783"/>
                  </a:lnTo>
                  <a:lnTo>
                    <a:pt x="146" y="789"/>
                  </a:lnTo>
                  <a:lnTo>
                    <a:pt x="148" y="794"/>
                  </a:lnTo>
                  <a:lnTo>
                    <a:pt x="144" y="798"/>
                  </a:lnTo>
                  <a:lnTo>
                    <a:pt x="139" y="800"/>
                  </a:lnTo>
                  <a:lnTo>
                    <a:pt x="137" y="803"/>
                  </a:lnTo>
                  <a:lnTo>
                    <a:pt x="133" y="807"/>
                  </a:lnTo>
                  <a:lnTo>
                    <a:pt x="131" y="815"/>
                  </a:lnTo>
                  <a:lnTo>
                    <a:pt x="129" y="826"/>
                  </a:lnTo>
                  <a:lnTo>
                    <a:pt x="116" y="839"/>
                  </a:lnTo>
                  <a:lnTo>
                    <a:pt x="109" y="850"/>
                  </a:lnTo>
                  <a:lnTo>
                    <a:pt x="109" y="866"/>
                  </a:lnTo>
                  <a:lnTo>
                    <a:pt x="109" y="885"/>
                  </a:lnTo>
                  <a:lnTo>
                    <a:pt x="103" y="894"/>
                  </a:lnTo>
                  <a:lnTo>
                    <a:pt x="98" y="903"/>
                  </a:lnTo>
                  <a:lnTo>
                    <a:pt x="96" y="907"/>
                  </a:lnTo>
                  <a:lnTo>
                    <a:pt x="94" y="911"/>
                  </a:lnTo>
                  <a:lnTo>
                    <a:pt x="94" y="916"/>
                  </a:lnTo>
                  <a:lnTo>
                    <a:pt x="96" y="922"/>
                  </a:lnTo>
                  <a:lnTo>
                    <a:pt x="100" y="925"/>
                  </a:lnTo>
                  <a:lnTo>
                    <a:pt x="102" y="927"/>
                  </a:lnTo>
                  <a:lnTo>
                    <a:pt x="105" y="929"/>
                  </a:lnTo>
                  <a:lnTo>
                    <a:pt x="109" y="929"/>
                  </a:lnTo>
                  <a:lnTo>
                    <a:pt x="116" y="929"/>
                  </a:lnTo>
                  <a:lnTo>
                    <a:pt x="126" y="925"/>
                  </a:lnTo>
                  <a:lnTo>
                    <a:pt x="133" y="924"/>
                  </a:lnTo>
                  <a:lnTo>
                    <a:pt x="142" y="924"/>
                  </a:lnTo>
                  <a:lnTo>
                    <a:pt x="151" y="924"/>
                  </a:lnTo>
                  <a:lnTo>
                    <a:pt x="161" y="929"/>
                  </a:lnTo>
                  <a:lnTo>
                    <a:pt x="163" y="935"/>
                  </a:lnTo>
                  <a:lnTo>
                    <a:pt x="164" y="942"/>
                  </a:lnTo>
                  <a:lnTo>
                    <a:pt x="164" y="949"/>
                  </a:lnTo>
                  <a:lnTo>
                    <a:pt x="164" y="955"/>
                  </a:lnTo>
                  <a:lnTo>
                    <a:pt x="166" y="961"/>
                  </a:lnTo>
                  <a:lnTo>
                    <a:pt x="168" y="964"/>
                  </a:lnTo>
                  <a:lnTo>
                    <a:pt x="174" y="966"/>
                  </a:lnTo>
                  <a:lnTo>
                    <a:pt x="181" y="966"/>
                  </a:lnTo>
                  <a:lnTo>
                    <a:pt x="188" y="966"/>
                  </a:lnTo>
                  <a:lnTo>
                    <a:pt x="192" y="962"/>
                  </a:lnTo>
                  <a:lnTo>
                    <a:pt x="194" y="959"/>
                  </a:lnTo>
                  <a:lnTo>
                    <a:pt x="196" y="953"/>
                  </a:lnTo>
                  <a:lnTo>
                    <a:pt x="196" y="949"/>
                  </a:lnTo>
                  <a:lnTo>
                    <a:pt x="196" y="944"/>
                  </a:lnTo>
                  <a:lnTo>
                    <a:pt x="198" y="940"/>
                  </a:lnTo>
                  <a:lnTo>
                    <a:pt x="201" y="937"/>
                  </a:lnTo>
                  <a:lnTo>
                    <a:pt x="212" y="935"/>
                  </a:lnTo>
                  <a:lnTo>
                    <a:pt x="225" y="929"/>
                  </a:lnTo>
                  <a:lnTo>
                    <a:pt x="233" y="909"/>
                  </a:lnTo>
                  <a:lnTo>
                    <a:pt x="244" y="888"/>
                  </a:lnTo>
                  <a:lnTo>
                    <a:pt x="259" y="887"/>
                  </a:lnTo>
                  <a:lnTo>
                    <a:pt x="270" y="887"/>
                  </a:lnTo>
                  <a:lnTo>
                    <a:pt x="275" y="879"/>
                  </a:lnTo>
                  <a:lnTo>
                    <a:pt x="283" y="870"/>
                  </a:lnTo>
                  <a:lnTo>
                    <a:pt x="286" y="866"/>
                  </a:lnTo>
                  <a:lnTo>
                    <a:pt x="290" y="864"/>
                  </a:lnTo>
                  <a:lnTo>
                    <a:pt x="296" y="863"/>
                  </a:lnTo>
                  <a:lnTo>
                    <a:pt x="303" y="863"/>
                  </a:lnTo>
                  <a:lnTo>
                    <a:pt x="308" y="864"/>
                  </a:lnTo>
                  <a:lnTo>
                    <a:pt x="312" y="868"/>
                  </a:lnTo>
                  <a:lnTo>
                    <a:pt x="314" y="874"/>
                  </a:lnTo>
                  <a:lnTo>
                    <a:pt x="316" y="879"/>
                  </a:lnTo>
                  <a:lnTo>
                    <a:pt x="318" y="892"/>
                  </a:lnTo>
                  <a:lnTo>
                    <a:pt x="318" y="905"/>
                  </a:lnTo>
                  <a:lnTo>
                    <a:pt x="323" y="911"/>
                  </a:lnTo>
                  <a:lnTo>
                    <a:pt x="331" y="914"/>
                  </a:lnTo>
                  <a:lnTo>
                    <a:pt x="334" y="918"/>
                  </a:lnTo>
                  <a:lnTo>
                    <a:pt x="336" y="922"/>
                  </a:lnTo>
                  <a:lnTo>
                    <a:pt x="338" y="927"/>
                  </a:lnTo>
                  <a:lnTo>
                    <a:pt x="338" y="935"/>
                  </a:lnTo>
                  <a:lnTo>
                    <a:pt x="338" y="938"/>
                  </a:lnTo>
                  <a:lnTo>
                    <a:pt x="334" y="942"/>
                  </a:lnTo>
                  <a:lnTo>
                    <a:pt x="331" y="944"/>
                  </a:lnTo>
                  <a:lnTo>
                    <a:pt x="327" y="946"/>
                  </a:lnTo>
                  <a:lnTo>
                    <a:pt x="316" y="949"/>
                  </a:lnTo>
                  <a:lnTo>
                    <a:pt x="303" y="953"/>
                  </a:lnTo>
                  <a:lnTo>
                    <a:pt x="292" y="955"/>
                  </a:lnTo>
                  <a:lnTo>
                    <a:pt x="281" y="957"/>
                  </a:lnTo>
                  <a:lnTo>
                    <a:pt x="273" y="959"/>
                  </a:lnTo>
                  <a:lnTo>
                    <a:pt x="270" y="961"/>
                  </a:lnTo>
                  <a:lnTo>
                    <a:pt x="270" y="966"/>
                  </a:lnTo>
                  <a:lnTo>
                    <a:pt x="273" y="972"/>
                  </a:lnTo>
                  <a:lnTo>
                    <a:pt x="277" y="975"/>
                  </a:lnTo>
                  <a:lnTo>
                    <a:pt x="283" y="979"/>
                  </a:lnTo>
                  <a:lnTo>
                    <a:pt x="288" y="983"/>
                  </a:lnTo>
                  <a:lnTo>
                    <a:pt x="292" y="986"/>
                  </a:lnTo>
                  <a:lnTo>
                    <a:pt x="296" y="990"/>
                  </a:lnTo>
                  <a:lnTo>
                    <a:pt x="297" y="994"/>
                  </a:lnTo>
                  <a:lnTo>
                    <a:pt x="288" y="1003"/>
                  </a:lnTo>
                  <a:lnTo>
                    <a:pt x="270" y="1023"/>
                  </a:lnTo>
                  <a:lnTo>
                    <a:pt x="264" y="1034"/>
                  </a:lnTo>
                  <a:lnTo>
                    <a:pt x="262" y="1044"/>
                  </a:lnTo>
                  <a:lnTo>
                    <a:pt x="260" y="1051"/>
                  </a:lnTo>
                  <a:lnTo>
                    <a:pt x="259" y="1060"/>
                  </a:lnTo>
                  <a:lnTo>
                    <a:pt x="242" y="1068"/>
                  </a:lnTo>
                  <a:lnTo>
                    <a:pt x="227" y="1077"/>
                  </a:lnTo>
                  <a:lnTo>
                    <a:pt x="233" y="1090"/>
                  </a:lnTo>
                  <a:lnTo>
                    <a:pt x="240" y="1103"/>
                  </a:lnTo>
                  <a:lnTo>
                    <a:pt x="233" y="1116"/>
                  </a:lnTo>
                  <a:lnTo>
                    <a:pt x="225" y="1127"/>
                  </a:lnTo>
                  <a:lnTo>
                    <a:pt x="222" y="1132"/>
                  </a:lnTo>
                  <a:lnTo>
                    <a:pt x="220" y="1140"/>
                  </a:lnTo>
                  <a:lnTo>
                    <a:pt x="218" y="1149"/>
                  </a:lnTo>
                  <a:lnTo>
                    <a:pt x="220" y="1158"/>
                  </a:lnTo>
                  <a:lnTo>
                    <a:pt x="229" y="1166"/>
                  </a:lnTo>
                  <a:lnTo>
                    <a:pt x="236" y="1171"/>
                  </a:lnTo>
                  <a:lnTo>
                    <a:pt x="244" y="1175"/>
                  </a:lnTo>
                  <a:lnTo>
                    <a:pt x="253" y="1179"/>
                  </a:lnTo>
                  <a:lnTo>
                    <a:pt x="272" y="1182"/>
                  </a:lnTo>
                  <a:lnTo>
                    <a:pt x="296" y="1186"/>
                  </a:lnTo>
                  <a:lnTo>
                    <a:pt x="297" y="1195"/>
                  </a:lnTo>
                  <a:lnTo>
                    <a:pt x="299" y="1212"/>
                  </a:lnTo>
                  <a:lnTo>
                    <a:pt x="303" y="1223"/>
                  </a:lnTo>
                  <a:lnTo>
                    <a:pt x="305" y="1230"/>
                  </a:lnTo>
                  <a:lnTo>
                    <a:pt x="310" y="1240"/>
                  </a:lnTo>
                  <a:lnTo>
                    <a:pt x="320" y="1243"/>
                  </a:lnTo>
                  <a:lnTo>
                    <a:pt x="320" y="1245"/>
                  </a:lnTo>
                  <a:lnTo>
                    <a:pt x="321" y="1245"/>
                  </a:lnTo>
                  <a:lnTo>
                    <a:pt x="325" y="1245"/>
                  </a:lnTo>
                  <a:lnTo>
                    <a:pt x="329" y="1247"/>
                  </a:lnTo>
                  <a:lnTo>
                    <a:pt x="331" y="1247"/>
                  </a:lnTo>
                  <a:lnTo>
                    <a:pt x="332" y="1247"/>
                  </a:lnTo>
                  <a:lnTo>
                    <a:pt x="334" y="1247"/>
                  </a:lnTo>
                  <a:lnTo>
                    <a:pt x="334" y="1245"/>
                  </a:lnTo>
                  <a:lnTo>
                    <a:pt x="336" y="1245"/>
                  </a:lnTo>
                  <a:lnTo>
                    <a:pt x="347" y="1234"/>
                  </a:lnTo>
                  <a:lnTo>
                    <a:pt x="355" y="1221"/>
                  </a:lnTo>
                  <a:lnTo>
                    <a:pt x="364" y="1223"/>
                  </a:lnTo>
                  <a:lnTo>
                    <a:pt x="379" y="1228"/>
                  </a:lnTo>
                  <a:lnTo>
                    <a:pt x="392" y="1221"/>
                  </a:lnTo>
                  <a:lnTo>
                    <a:pt x="405" y="1216"/>
                  </a:lnTo>
                  <a:lnTo>
                    <a:pt x="417" y="1223"/>
                  </a:lnTo>
                  <a:lnTo>
                    <a:pt x="432" y="1230"/>
                  </a:lnTo>
                  <a:lnTo>
                    <a:pt x="440" y="1236"/>
                  </a:lnTo>
                  <a:lnTo>
                    <a:pt x="447" y="1238"/>
                  </a:lnTo>
                  <a:lnTo>
                    <a:pt x="454" y="1240"/>
                  </a:lnTo>
                  <a:lnTo>
                    <a:pt x="460" y="1240"/>
                  </a:lnTo>
                  <a:lnTo>
                    <a:pt x="465" y="1238"/>
                  </a:lnTo>
                  <a:lnTo>
                    <a:pt x="471" y="1230"/>
                  </a:lnTo>
                  <a:lnTo>
                    <a:pt x="478" y="1223"/>
                  </a:lnTo>
                  <a:lnTo>
                    <a:pt x="486" y="1214"/>
                  </a:lnTo>
                  <a:lnTo>
                    <a:pt x="493" y="1203"/>
                  </a:lnTo>
                  <a:lnTo>
                    <a:pt x="506" y="1193"/>
                  </a:lnTo>
                  <a:lnTo>
                    <a:pt x="512" y="1190"/>
                  </a:lnTo>
                  <a:lnTo>
                    <a:pt x="519" y="1188"/>
                  </a:lnTo>
                  <a:lnTo>
                    <a:pt x="528" y="1184"/>
                  </a:lnTo>
                  <a:lnTo>
                    <a:pt x="538" y="1182"/>
                  </a:lnTo>
                  <a:lnTo>
                    <a:pt x="541" y="1184"/>
                  </a:lnTo>
                  <a:lnTo>
                    <a:pt x="541" y="1190"/>
                  </a:lnTo>
                  <a:lnTo>
                    <a:pt x="539" y="1193"/>
                  </a:lnTo>
                  <a:lnTo>
                    <a:pt x="536" y="1201"/>
                  </a:lnTo>
                  <a:lnTo>
                    <a:pt x="528" y="1214"/>
                  </a:lnTo>
                  <a:lnTo>
                    <a:pt x="523" y="1221"/>
                  </a:lnTo>
                  <a:close/>
                  <a:moveTo>
                    <a:pt x="331" y="726"/>
                  </a:moveTo>
                  <a:lnTo>
                    <a:pt x="336" y="720"/>
                  </a:lnTo>
                  <a:lnTo>
                    <a:pt x="340" y="713"/>
                  </a:lnTo>
                  <a:lnTo>
                    <a:pt x="344" y="713"/>
                  </a:lnTo>
                  <a:lnTo>
                    <a:pt x="349" y="713"/>
                  </a:lnTo>
                  <a:lnTo>
                    <a:pt x="349" y="707"/>
                  </a:lnTo>
                  <a:lnTo>
                    <a:pt x="349" y="702"/>
                  </a:lnTo>
                  <a:lnTo>
                    <a:pt x="344" y="700"/>
                  </a:lnTo>
                  <a:lnTo>
                    <a:pt x="342" y="700"/>
                  </a:lnTo>
                  <a:lnTo>
                    <a:pt x="338" y="700"/>
                  </a:lnTo>
                  <a:lnTo>
                    <a:pt x="336" y="702"/>
                  </a:lnTo>
                  <a:lnTo>
                    <a:pt x="332" y="709"/>
                  </a:lnTo>
                  <a:lnTo>
                    <a:pt x="332" y="718"/>
                  </a:lnTo>
                  <a:lnTo>
                    <a:pt x="331" y="718"/>
                  </a:lnTo>
                  <a:lnTo>
                    <a:pt x="329" y="720"/>
                  </a:lnTo>
                  <a:lnTo>
                    <a:pt x="329" y="722"/>
                  </a:lnTo>
                  <a:lnTo>
                    <a:pt x="331" y="726"/>
                  </a:lnTo>
                  <a:close/>
                  <a:moveTo>
                    <a:pt x="362" y="682"/>
                  </a:moveTo>
                  <a:lnTo>
                    <a:pt x="369" y="683"/>
                  </a:lnTo>
                  <a:lnTo>
                    <a:pt x="375" y="685"/>
                  </a:lnTo>
                  <a:lnTo>
                    <a:pt x="382" y="682"/>
                  </a:lnTo>
                  <a:lnTo>
                    <a:pt x="390" y="678"/>
                  </a:lnTo>
                  <a:lnTo>
                    <a:pt x="390" y="682"/>
                  </a:lnTo>
                  <a:lnTo>
                    <a:pt x="390" y="685"/>
                  </a:lnTo>
                  <a:lnTo>
                    <a:pt x="388" y="689"/>
                  </a:lnTo>
                  <a:lnTo>
                    <a:pt x="384" y="694"/>
                  </a:lnTo>
                  <a:lnTo>
                    <a:pt x="386" y="700"/>
                  </a:lnTo>
                  <a:lnTo>
                    <a:pt x="388" y="707"/>
                  </a:lnTo>
                  <a:lnTo>
                    <a:pt x="388" y="711"/>
                  </a:lnTo>
                  <a:lnTo>
                    <a:pt x="388" y="715"/>
                  </a:lnTo>
                  <a:lnTo>
                    <a:pt x="388" y="717"/>
                  </a:lnTo>
                  <a:lnTo>
                    <a:pt x="386" y="717"/>
                  </a:lnTo>
                  <a:lnTo>
                    <a:pt x="377" y="713"/>
                  </a:lnTo>
                  <a:lnTo>
                    <a:pt x="369" y="709"/>
                  </a:lnTo>
                  <a:lnTo>
                    <a:pt x="366" y="709"/>
                  </a:lnTo>
                  <a:lnTo>
                    <a:pt x="360" y="711"/>
                  </a:lnTo>
                  <a:lnTo>
                    <a:pt x="358" y="709"/>
                  </a:lnTo>
                  <a:lnTo>
                    <a:pt x="358" y="706"/>
                  </a:lnTo>
                  <a:lnTo>
                    <a:pt x="360" y="704"/>
                  </a:lnTo>
                  <a:lnTo>
                    <a:pt x="360" y="691"/>
                  </a:lnTo>
                  <a:lnTo>
                    <a:pt x="362" y="682"/>
                  </a:lnTo>
                  <a:close/>
                  <a:moveTo>
                    <a:pt x="388" y="728"/>
                  </a:moveTo>
                  <a:lnTo>
                    <a:pt x="388" y="730"/>
                  </a:lnTo>
                  <a:lnTo>
                    <a:pt x="390" y="731"/>
                  </a:lnTo>
                  <a:lnTo>
                    <a:pt x="388" y="735"/>
                  </a:lnTo>
                  <a:lnTo>
                    <a:pt x="386" y="735"/>
                  </a:lnTo>
                  <a:lnTo>
                    <a:pt x="386" y="731"/>
                  </a:lnTo>
                  <a:lnTo>
                    <a:pt x="386" y="730"/>
                  </a:lnTo>
                  <a:lnTo>
                    <a:pt x="388" y="728"/>
                  </a:lnTo>
                  <a:close/>
                  <a:moveTo>
                    <a:pt x="401" y="728"/>
                  </a:moveTo>
                  <a:lnTo>
                    <a:pt x="403" y="728"/>
                  </a:lnTo>
                  <a:lnTo>
                    <a:pt x="405" y="730"/>
                  </a:lnTo>
                  <a:lnTo>
                    <a:pt x="403" y="730"/>
                  </a:lnTo>
                  <a:lnTo>
                    <a:pt x="401" y="731"/>
                  </a:lnTo>
                  <a:lnTo>
                    <a:pt x="397" y="730"/>
                  </a:lnTo>
                  <a:lnTo>
                    <a:pt x="397" y="728"/>
                  </a:lnTo>
                  <a:lnTo>
                    <a:pt x="401" y="728"/>
                  </a:lnTo>
                  <a:close/>
                  <a:moveTo>
                    <a:pt x="395" y="667"/>
                  </a:moveTo>
                  <a:lnTo>
                    <a:pt x="395" y="667"/>
                  </a:lnTo>
                  <a:lnTo>
                    <a:pt x="395" y="669"/>
                  </a:lnTo>
                  <a:lnTo>
                    <a:pt x="395" y="670"/>
                  </a:lnTo>
                  <a:lnTo>
                    <a:pt x="393" y="669"/>
                  </a:lnTo>
                  <a:lnTo>
                    <a:pt x="393" y="667"/>
                  </a:lnTo>
                  <a:lnTo>
                    <a:pt x="395" y="667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8162914" y="4977253"/>
              <a:ext cx="1370065" cy="1029430"/>
            </a:xfrm>
            <a:custGeom>
              <a:avLst/>
              <a:gdLst>
                <a:gd name="T0" fmla="*/ 335431 w 789"/>
                <a:gd name="T1" fmla="*/ 561975 h 547"/>
                <a:gd name="T2" fmla="*/ 457007 w 789"/>
                <a:gd name="T3" fmla="*/ 542925 h 547"/>
                <a:gd name="T4" fmla="*/ 484837 w 789"/>
                <a:gd name="T5" fmla="*/ 527050 h 547"/>
                <a:gd name="T6" fmla="*/ 615202 w 789"/>
                <a:gd name="T7" fmla="*/ 595312 h 547"/>
                <a:gd name="T8" fmla="*/ 663539 w 789"/>
                <a:gd name="T9" fmla="*/ 654050 h 547"/>
                <a:gd name="T10" fmla="*/ 708946 w 789"/>
                <a:gd name="T11" fmla="*/ 703262 h 547"/>
                <a:gd name="T12" fmla="*/ 760213 w 789"/>
                <a:gd name="T13" fmla="*/ 761999 h 547"/>
                <a:gd name="T14" fmla="*/ 830522 w 789"/>
                <a:gd name="T15" fmla="*/ 852487 h 547"/>
                <a:gd name="T16" fmla="*/ 919873 w 789"/>
                <a:gd name="T17" fmla="*/ 847725 h 547"/>
                <a:gd name="T18" fmla="*/ 1009223 w 789"/>
                <a:gd name="T19" fmla="*/ 852487 h 547"/>
                <a:gd name="T20" fmla="*/ 1091250 w 789"/>
                <a:gd name="T21" fmla="*/ 868362 h 547"/>
                <a:gd name="T22" fmla="*/ 1114687 w 789"/>
                <a:gd name="T23" fmla="*/ 785812 h 547"/>
                <a:gd name="T24" fmla="*/ 1123475 w 789"/>
                <a:gd name="T25" fmla="*/ 755649 h 547"/>
                <a:gd name="T26" fmla="*/ 1095645 w 789"/>
                <a:gd name="T27" fmla="*/ 682624 h 547"/>
                <a:gd name="T28" fmla="*/ 1006294 w 789"/>
                <a:gd name="T29" fmla="*/ 644525 h 547"/>
                <a:gd name="T30" fmla="*/ 985787 w 789"/>
                <a:gd name="T31" fmla="*/ 582612 h 547"/>
                <a:gd name="T32" fmla="*/ 993111 w 789"/>
                <a:gd name="T33" fmla="*/ 495300 h 547"/>
                <a:gd name="T34" fmla="*/ 1047307 w 789"/>
                <a:gd name="T35" fmla="*/ 427037 h 547"/>
                <a:gd name="T36" fmla="*/ 1088321 w 789"/>
                <a:gd name="T37" fmla="*/ 350837 h 547"/>
                <a:gd name="T38" fmla="*/ 1056096 w 789"/>
                <a:gd name="T39" fmla="*/ 319087 h 547"/>
                <a:gd name="T40" fmla="*/ 1104433 w 789"/>
                <a:gd name="T41" fmla="*/ 298450 h 547"/>
                <a:gd name="T42" fmla="*/ 1155700 w 789"/>
                <a:gd name="T43" fmla="*/ 274637 h 547"/>
                <a:gd name="T44" fmla="*/ 1145447 w 789"/>
                <a:gd name="T45" fmla="*/ 236537 h 547"/>
                <a:gd name="T46" fmla="*/ 1120546 w 789"/>
                <a:gd name="T47" fmla="*/ 173037 h 547"/>
                <a:gd name="T48" fmla="*/ 1085391 w 789"/>
                <a:gd name="T49" fmla="*/ 157162 h 547"/>
                <a:gd name="T50" fmla="*/ 1039984 w 789"/>
                <a:gd name="T51" fmla="*/ 193675 h 547"/>
                <a:gd name="T52" fmla="*/ 955027 w 789"/>
                <a:gd name="T53" fmla="*/ 273050 h 547"/>
                <a:gd name="T54" fmla="*/ 944774 w 789"/>
                <a:gd name="T55" fmla="*/ 307975 h 547"/>
                <a:gd name="T56" fmla="*/ 906690 w 789"/>
                <a:gd name="T57" fmla="*/ 315912 h 547"/>
                <a:gd name="T58" fmla="*/ 899366 w 789"/>
                <a:gd name="T59" fmla="*/ 269875 h 547"/>
                <a:gd name="T60" fmla="*/ 845170 w 789"/>
                <a:gd name="T61" fmla="*/ 254000 h 547"/>
                <a:gd name="T62" fmla="*/ 807086 w 789"/>
                <a:gd name="T63" fmla="*/ 254000 h 547"/>
                <a:gd name="T64" fmla="*/ 804156 w 789"/>
                <a:gd name="T65" fmla="*/ 219075 h 547"/>
                <a:gd name="T66" fmla="*/ 830522 w 789"/>
                <a:gd name="T67" fmla="*/ 117475 h 547"/>
                <a:gd name="T68" fmla="*/ 864212 w 789"/>
                <a:gd name="T69" fmla="*/ 55562 h 547"/>
                <a:gd name="T70" fmla="*/ 874465 w 789"/>
                <a:gd name="T71" fmla="*/ 20637 h 547"/>
                <a:gd name="T72" fmla="*/ 871536 w 789"/>
                <a:gd name="T73" fmla="*/ 3175 h 547"/>
                <a:gd name="T74" fmla="*/ 766072 w 789"/>
                <a:gd name="T75" fmla="*/ 25400 h 547"/>
                <a:gd name="T76" fmla="*/ 682581 w 789"/>
                <a:gd name="T77" fmla="*/ 66675 h 547"/>
                <a:gd name="T78" fmla="*/ 638638 w 789"/>
                <a:gd name="T79" fmla="*/ 134937 h 547"/>
                <a:gd name="T80" fmla="*/ 539034 w 789"/>
                <a:gd name="T81" fmla="*/ 155575 h 547"/>
                <a:gd name="T82" fmla="*/ 481908 w 789"/>
                <a:gd name="T83" fmla="*/ 180975 h 547"/>
                <a:gd name="T84" fmla="*/ 341290 w 789"/>
                <a:gd name="T85" fmla="*/ 201612 h 547"/>
                <a:gd name="T86" fmla="*/ 300277 w 789"/>
                <a:gd name="T87" fmla="*/ 173037 h 547"/>
                <a:gd name="T88" fmla="*/ 184560 w 789"/>
                <a:gd name="T89" fmla="*/ 169862 h 547"/>
                <a:gd name="T90" fmla="*/ 73238 w 789"/>
                <a:gd name="T91" fmla="*/ 146050 h 547"/>
                <a:gd name="T92" fmla="*/ 2930 w 789"/>
                <a:gd name="T93" fmla="*/ 187325 h 547"/>
                <a:gd name="T94" fmla="*/ 57126 w 789"/>
                <a:gd name="T95" fmla="*/ 242887 h 547"/>
                <a:gd name="T96" fmla="*/ 51267 w 789"/>
                <a:gd name="T97" fmla="*/ 277812 h 547"/>
                <a:gd name="T98" fmla="*/ 92280 w 789"/>
                <a:gd name="T99" fmla="*/ 257175 h 547"/>
                <a:gd name="T100" fmla="*/ 130364 w 789"/>
                <a:gd name="T101" fmla="*/ 266700 h 547"/>
                <a:gd name="T102" fmla="*/ 140617 w 789"/>
                <a:gd name="T103" fmla="*/ 315912 h 547"/>
                <a:gd name="T104" fmla="*/ 187490 w 789"/>
                <a:gd name="T105" fmla="*/ 301625 h 547"/>
                <a:gd name="T106" fmla="*/ 187490 w 789"/>
                <a:gd name="T107" fmla="*/ 384175 h 547"/>
                <a:gd name="T108" fmla="*/ 222644 w 789"/>
                <a:gd name="T109" fmla="*/ 409575 h 547"/>
                <a:gd name="T110" fmla="*/ 216785 w 789"/>
                <a:gd name="T111" fmla="*/ 471487 h 547"/>
                <a:gd name="T112" fmla="*/ 260728 w 789"/>
                <a:gd name="T113" fmla="*/ 519112 h 54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9"/>
                <a:gd name="T172" fmla="*/ 0 h 547"/>
                <a:gd name="T173" fmla="*/ 789 w 789"/>
                <a:gd name="T174" fmla="*/ 547 h 54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9" h="547">
                  <a:moveTo>
                    <a:pt x="192" y="360"/>
                  </a:moveTo>
                  <a:lnTo>
                    <a:pt x="194" y="358"/>
                  </a:lnTo>
                  <a:lnTo>
                    <a:pt x="196" y="358"/>
                  </a:lnTo>
                  <a:lnTo>
                    <a:pt x="211" y="356"/>
                  </a:lnTo>
                  <a:lnTo>
                    <a:pt x="229" y="354"/>
                  </a:lnTo>
                  <a:lnTo>
                    <a:pt x="244" y="342"/>
                  </a:lnTo>
                  <a:lnTo>
                    <a:pt x="259" y="332"/>
                  </a:lnTo>
                  <a:lnTo>
                    <a:pt x="279" y="334"/>
                  </a:lnTo>
                  <a:lnTo>
                    <a:pt x="299" y="340"/>
                  </a:lnTo>
                  <a:lnTo>
                    <a:pt x="312" y="342"/>
                  </a:lnTo>
                  <a:lnTo>
                    <a:pt x="322" y="343"/>
                  </a:lnTo>
                  <a:lnTo>
                    <a:pt x="324" y="342"/>
                  </a:lnTo>
                  <a:lnTo>
                    <a:pt x="327" y="340"/>
                  </a:lnTo>
                  <a:lnTo>
                    <a:pt x="329" y="338"/>
                  </a:lnTo>
                  <a:lnTo>
                    <a:pt x="331" y="332"/>
                  </a:lnTo>
                  <a:lnTo>
                    <a:pt x="355" y="336"/>
                  </a:lnTo>
                  <a:lnTo>
                    <a:pt x="375" y="336"/>
                  </a:lnTo>
                  <a:lnTo>
                    <a:pt x="392" y="351"/>
                  </a:lnTo>
                  <a:lnTo>
                    <a:pt x="414" y="366"/>
                  </a:lnTo>
                  <a:lnTo>
                    <a:pt x="420" y="375"/>
                  </a:lnTo>
                  <a:lnTo>
                    <a:pt x="425" y="384"/>
                  </a:lnTo>
                  <a:lnTo>
                    <a:pt x="434" y="386"/>
                  </a:lnTo>
                  <a:lnTo>
                    <a:pt x="442" y="390"/>
                  </a:lnTo>
                  <a:lnTo>
                    <a:pt x="447" y="401"/>
                  </a:lnTo>
                  <a:lnTo>
                    <a:pt x="453" y="412"/>
                  </a:lnTo>
                  <a:lnTo>
                    <a:pt x="458" y="415"/>
                  </a:lnTo>
                  <a:lnTo>
                    <a:pt x="464" y="423"/>
                  </a:lnTo>
                  <a:lnTo>
                    <a:pt x="469" y="430"/>
                  </a:lnTo>
                  <a:lnTo>
                    <a:pt x="471" y="439"/>
                  </a:lnTo>
                  <a:lnTo>
                    <a:pt x="484" y="443"/>
                  </a:lnTo>
                  <a:lnTo>
                    <a:pt x="492" y="445"/>
                  </a:lnTo>
                  <a:lnTo>
                    <a:pt x="495" y="452"/>
                  </a:lnTo>
                  <a:lnTo>
                    <a:pt x="501" y="467"/>
                  </a:lnTo>
                  <a:lnTo>
                    <a:pt x="514" y="476"/>
                  </a:lnTo>
                  <a:lnTo>
                    <a:pt x="519" y="480"/>
                  </a:lnTo>
                  <a:lnTo>
                    <a:pt x="521" y="488"/>
                  </a:lnTo>
                  <a:lnTo>
                    <a:pt x="521" y="500"/>
                  </a:lnTo>
                  <a:lnTo>
                    <a:pt x="536" y="515"/>
                  </a:lnTo>
                  <a:lnTo>
                    <a:pt x="553" y="526"/>
                  </a:lnTo>
                  <a:lnTo>
                    <a:pt x="567" y="537"/>
                  </a:lnTo>
                  <a:lnTo>
                    <a:pt x="580" y="543"/>
                  </a:lnTo>
                  <a:lnTo>
                    <a:pt x="595" y="545"/>
                  </a:lnTo>
                  <a:lnTo>
                    <a:pt x="608" y="545"/>
                  </a:lnTo>
                  <a:lnTo>
                    <a:pt x="617" y="541"/>
                  </a:lnTo>
                  <a:lnTo>
                    <a:pt x="628" y="534"/>
                  </a:lnTo>
                  <a:lnTo>
                    <a:pt x="641" y="536"/>
                  </a:lnTo>
                  <a:lnTo>
                    <a:pt x="654" y="537"/>
                  </a:lnTo>
                  <a:lnTo>
                    <a:pt x="665" y="532"/>
                  </a:lnTo>
                  <a:lnTo>
                    <a:pt x="678" y="530"/>
                  </a:lnTo>
                  <a:lnTo>
                    <a:pt x="689" y="537"/>
                  </a:lnTo>
                  <a:lnTo>
                    <a:pt x="700" y="543"/>
                  </a:lnTo>
                  <a:lnTo>
                    <a:pt x="726" y="543"/>
                  </a:lnTo>
                  <a:lnTo>
                    <a:pt x="745" y="545"/>
                  </a:lnTo>
                  <a:lnTo>
                    <a:pt x="745" y="547"/>
                  </a:lnTo>
                  <a:lnTo>
                    <a:pt x="750" y="539"/>
                  </a:lnTo>
                  <a:lnTo>
                    <a:pt x="754" y="532"/>
                  </a:lnTo>
                  <a:lnTo>
                    <a:pt x="756" y="524"/>
                  </a:lnTo>
                  <a:lnTo>
                    <a:pt x="758" y="515"/>
                  </a:lnTo>
                  <a:lnTo>
                    <a:pt x="761" y="495"/>
                  </a:lnTo>
                  <a:lnTo>
                    <a:pt x="767" y="476"/>
                  </a:lnTo>
                  <a:lnTo>
                    <a:pt x="759" y="471"/>
                  </a:lnTo>
                  <a:lnTo>
                    <a:pt x="756" y="463"/>
                  </a:lnTo>
                  <a:lnTo>
                    <a:pt x="752" y="454"/>
                  </a:lnTo>
                  <a:lnTo>
                    <a:pt x="750" y="445"/>
                  </a:lnTo>
                  <a:lnTo>
                    <a:pt x="748" y="430"/>
                  </a:lnTo>
                  <a:lnTo>
                    <a:pt x="747" y="421"/>
                  </a:lnTo>
                  <a:lnTo>
                    <a:pt x="723" y="417"/>
                  </a:lnTo>
                  <a:lnTo>
                    <a:pt x="704" y="414"/>
                  </a:lnTo>
                  <a:lnTo>
                    <a:pt x="695" y="410"/>
                  </a:lnTo>
                  <a:lnTo>
                    <a:pt x="687" y="406"/>
                  </a:lnTo>
                  <a:lnTo>
                    <a:pt x="680" y="401"/>
                  </a:lnTo>
                  <a:lnTo>
                    <a:pt x="671" y="393"/>
                  </a:lnTo>
                  <a:lnTo>
                    <a:pt x="669" y="384"/>
                  </a:lnTo>
                  <a:lnTo>
                    <a:pt x="671" y="375"/>
                  </a:lnTo>
                  <a:lnTo>
                    <a:pt x="673" y="367"/>
                  </a:lnTo>
                  <a:lnTo>
                    <a:pt x="676" y="362"/>
                  </a:lnTo>
                  <a:lnTo>
                    <a:pt x="684" y="351"/>
                  </a:lnTo>
                  <a:lnTo>
                    <a:pt x="691" y="338"/>
                  </a:lnTo>
                  <a:lnTo>
                    <a:pt x="684" y="325"/>
                  </a:lnTo>
                  <a:lnTo>
                    <a:pt x="678" y="312"/>
                  </a:lnTo>
                  <a:lnTo>
                    <a:pt x="693" y="303"/>
                  </a:lnTo>
                  <a:lnTo>
                    <a:pt x="710" y="295"/>
                  </a:lnTo>
                  <a:lnTo>
                    <a:pt x="711" y="286"/>
                  </a:lnTo>
                  <a:lnTo>
                    <a:pt x="713" y="279"/>
                  </a:lnTo>
                  <a:lnTo>
                    <a:pt x="715" y="269"/>
                  </a:lnTo>
                  <a:lnTo>
                    <a:pt x="721" y="258"/>
                  </a:lnTo>
                  <a:lnTo>
                    <a:pt x="739" y="238"/>
                  </a:lnTo>
                  <a:lnTo>
                    <a:pt x="748" y="229"/>
                  </a:lnTo>
                  <a:lnTo>
                    <a:pt x="747" y="225"/>
                  </a:lnTo>
                  <a:lnTo>
                    <a:pt x="743" y="221"/>
                  </a:lnTo>
                  <a:lnTo>
                    <a:pt x="739" y="218"/>
                  </a:lnTo>
                  <a:lnTo>
                    <a:pt x="734" y="214"/>
                  </a:lnTo>
                  <a:lnTo>
                    <a:pt x="728" y="210"/>
                  </a:lnTo>
                  <a:lnTo>
                    <a:pt x="724" y="207"/>
                  </a:lnTo>
                  <a:lnTo>
                    <a:pt x="721" y="201"/>
                  </a:lnTo>
                  <a:lnTo>
                    <a:pt x="721" y="196"/>
                  </a:lnTo>
                  <a:lnTo>
                    <a:pt x="724" y="194"/>
                  </a:lnTo>
                  <a:lnTo>
                    <a:pt x="732" y="192"/>
                  </a:lnTo>
                  <a:lnTo>
                    <a:pt x="743" y="190"/>
                  </a:lnTo>
                  <a:lnTo>
                    <a:pt x="754" y="188"/>
                  </a:lnTo>
                  <a:lnTo>
                    <a:pt x="767" y="184"/>
                  </a:lnTo>
                  <a:lnTo>
                    <a:pt x="778" y="181"/>
                  </a:lnTo>
                  <a:lnTo>
                    <a:pt x="782" y="179"/>
                  </a:lnTo>
                  <a:lnTo>
                    <a:pt x="785" y="177"/>
                  </a:lnTo>
                  <a:lnTo>
                    <a:pt x="789" y="173"/>
                  </a:lnTo>
                  <a:lnTo>
                    <a:pt x="789" y="170"/>
                  </a:lnTo>
                  <a:lnTo>
                    <a:pt x="789" y="162"/>
                  </a:lnTo>
                  <a:lnTo>
                    <a:pt x="787" y="157"/>
                  </a:lnTo>
                  <a:lnTo>
                    <a:pt x="785" y="153"/>
                  </a:lnTo>
                  <a:lnTo>
                    <a:pt x="782" y="149"/>
                  </a:lnTo>
                  <a:lnTo>
                    <a:pt x="774" y="146"/>
                  </a:lnTo>
                  <a:lnTo>
                    <a:pt x="769" y="140"/>
                  </a:lnTo>
                  <a:lnTo>
                    <a:pt x="769" y="127"/>
                  </a:lnTo>
                  <a:lnTo>
                    <a:pt x="767" y="114"/>
                  </a:lnTo>
                  <a:lnTo>
                    <a:pt x="765" y="109"/>
                  </a:lnTo>
                  <a:lnTo>
                    <a:pt x="763" y="103"/>
                  </a:lnTo>
                  <a:lnTo>
                    <a:pt x="759" y="99"/>
                  </a:lnTo>
                  <a:lnTo>
                    <a:pt x="754" y="98"/>
                  </a:lnTo>
                  <a:lnTo>
                    <a:pt x="747" y="98"/>
                  </a:lnTo>
                  <a:lnTo>
                    <a:pt x="741" y="99"/>
                  </a:lnTo>
                  <a:lnTo>
                    <a:pt x="737" y="101"/>
                  </a:lnTo>
                  <a:lnTo>
                    <a:pt x="734" y="105"/>
                  </a:lnTo>
                  <a:lnTo>
                    <a:pt x="726" y="114"/>
                  </a:lnTo>
                  <a:lnTo>
                    <a:pt x="721" y="122"/>
                  </a:lnTo>
                  <a:lnTo>
                    <a:pt x="710" y="122"/>
                  </a:lnTo>
                  <a:lnTo>
                    <a:pt x="695" y="123"/>
                  </a:lnTo>
                  <a:lnTo>
                    <a:pt x="684" y="144"/>
                  </a:lnTo>
                  <a:lnTo>
                    <a:pt x="676" y="164"/>
                  </a:lnTo>
                  <a:lnTo>
                    <a:pt x="663" y="170"/>
                  </a:lnTo>
                  <a:lnTo>
                    <a:pt x="652" y="172"/>
                  </a:lnTo>
                  <a:lnTo>
                    <a:pt x="649" y="175"/>
                  </a:lnTo>
                  <a:lnTo>
                    <a:pt x="647" y="179"/>
                  </a:lnTo>
                  <a:lnTo>
                    <a:pt x="647" y="184"/>
                  </a:lnTo>
                  <a:lnTo>
                    <a:pt x="647" y="188"/>
                  </a:lnTo>
                  <a:lnTo>
                    <a:pt x="645" y="194"/>
                  </a:lnTo>
                  <a:lnTo>
                    <a:pt x="643" y="197"/>
                  </a:lnTo>
                  <a:lnTo>
                    <a:pt x="639" y="201"/>
                  </a:lnTo>
                  <a:lnTo>
                    <a:pt x="632" y="201"/>
                  </a:lnTo>
                  <a:lnTo>
                    <a:pt x="625" y="201"/>
                  </a:lnTo>
                  <a:lnTo>
                    <a:pt x="619" y="199"/>
                  </a:lnTo>
                  <a:lnTo>
                    <a:pt x="617" y="196"/>
                  </a:lnTo>
                  <a:lnTo>
                    <a:pt x="615" y="190"/>
                  </a:lnTo>
                  <a:lnTo>
                    <a:pt x="615" y="184"/>
                  </a:lnTo>
                  <a:lnTo>
                    <a:pt x="615" y="177"/>
                  </a:lnTo>
                  <a:lnTo>
                    <a:pt x="614" y="170"/>
                  </a:lnTo>
                  <a:lnTo>
                    <a:pt x="612" y="164"/>
                  </a:lnTo>
                  <a:lnTo>
                    <a:pt x="602" y="159"/>
                  </a:lnTo>
                  <a:lnTo>
                    <a:pt x="593" y="159"/>
                  </a:lnTo>
                  <a:lnTo>
                    <a:pt x="584" y="159"/>
                  </a:lnTo>
                  <a:lnTo>
                    <a:pt x="577" y="160"/>
                  </a:lnTo>
                  <a:lnTo>
                    <a:pt x="567" y="164"/>
                  </a:lnTo>
                  <a:lnTo>
                    <a:pt x="560" y="164"/>
                  </a:lnTo>
                  <a:lnTo>
                    <a:pt x="556" y="164"/>
                  </a:lnTo>
                  <a:lnTo>
                    <a:pt x="553" y="162"/>
                  </a:lnTo>
                  <a:lnTo>
                    <a:pt x="551" y="160"/>
                  </a:lnTo>
                  <a:lnTo>
                    <a:pt x="547" y="157"/>
                  </a:lnTo>
                  <a:lnTo>
                    <a:pt x="545" y="151"/>
                  </a:lnTo>
                  <a:lnTo>
                    <a:pt x="545" y="146"/>
                  </a:lnTo>
                  <a:lnTo>
                    <a:pt x="547" y="142"/>
                  </a:lnTo>
                  <a:lnTo>
                    <a:pt x="549" y="138"/>
                  </a:lnTo>
                  <a:lnTo>
                    <a:pt x="554" y="129"/>
                  </a:lnTo>
                  <a:lnTo>
                    <a:pt x="560" y="120"/>
                  </a:lnTo>
                  <a:lnTo>
                    <a:pt x="560" y="101"/>
                  </a:lnTo>
                  <a:lnTo>
                    <a:pt x="560" y="85"/>
                  </a:lnTo>
                  <a:lnTo>
                    <a:pt x="567" y="74"/>
                  </a:lnTo>
                  <a:lnTo>
                    <a:pt x="580" y="61"/>
                  </a:lnTo>
                  <a:lnTo>
                    <a:pt x="582" y="50"/>
                  </a:lnTo>
                  <a:lnTo>
                    <a:pt x="584" y="42"/>
                  </a:lnTo>
                  <a:lnTo>
                    <a:pt x="588" y="38"/>
                  </a:lnTo>
                  <a:lnTo>
                    <a:pt x="590" y="35"/>
                  </a:lnTo>
                  <a:lnTo>
                    <a:pt x="595" y="33"/>
                  </a:lnTo>
                  <a:lnTo>
                    <a:pt x="599" y="29"/>
                  </a:lnTo>
                  <a:lnTo>
                    <a:pt x="597" y="24"/>
                  </a:lnTo>
                  <a:lnTo>
                    <a:pt x="595" y="18"/>
                  </a:lnTo>
                  <a:lnTo>
                    <a:pt x="597" y="13"/>
                  </a:lnTo>
                  <a:lnTo>
                    <a:pt x="599" y="9"/>
                  </a:lnTo>
                  <a:lnTo>
                    <a:pt x="599" y="7"/>
                  </a:lnTo>
                  <a:lnTo>
                    <a:pt x="599" y="5"/>
                  </a:lnTo>
                  <a:lnTo>
                    <a:pt x="597" y="3"/>
                  </a:lnTo>
                  <a:lnTo>
                    <a:pt x="595" y="2"/>
                  </a:lnTo>
                  <a:lnTo>
                    <a:pt x="588" y="0"/>
                  </a:lnTo>
                  <a:lnTo>
                    <a:pt x="577" y="0"/>
                  </a:lnTo>
                  <a:lnTo>
                    <a:pt x="562" y="3"/>
                  </a:lnTo>
                  <a:lnTo>
                    <a:pt x="549" y="7"/>
                  </a:lnTo>
                  <a:lnTo>
                    <a:pt x="523" y="16"/>
                  </a:lnTo>
                  <a:lnTo>
                    <a:pt x="510" y="22"/>
                  </a:lnTo>
                  <a:lnTo>
                    <a:pt x="488" y="31"/>
                  </a:lnTo>
                  <a:lnTo>
                    <a:pt x="466" y="42"/>
                  </a:lnTo>
                  <a:lnTo>
                    <a:pt x="447" y="51"/>
                  </a:lnTo>
                  <a:lnTo>
                    <a:pt x="442" y="59"/>
                  </a:lnTo>
                  <a:lnTo>
                    <a:pt x="445" y="70"/>
                  </a:lnTo>
                  <a:lnTo>
                    <a:pt x="445" y="81"/>
                  </a:lnTo>
                  <a:lnTo>
                    <a:pt x="436" y="85"/>
                  </a:lnTo>
                  <a:lnTo>
                    <a:pt x="427" y="85"/>
                  </a:lnTo>
                  <a:lnTo>
                    <a:pt x="416" y="83"/>
                  </a:lnTo>
                  <a:lnTo>
                    <a:pt x="401" y="83"/>
                  </a:lnTo>
                  <a:lnTo>
                    <a:pt x="386" y="90"/>
                  </a:lnTo>
                  <a:lnTo>
                    <a:pt x="368" y="98"/>
                  </a:lnTo>
                  <a:lnTo>
                    <a:pt x="357" y="96"/>
                  </a:lnTo>
                  <a:lnTo>
                    <a:pt x="348" y="98"/>
                  </a:lnTo>
                  <a:lnTo>
                    <a:pt x="342" y="99"/>
                  </a:lnTo>
                  <a:lnTo>
                    <a:pt x="336" y="103"/>
                  </a:lnTo>
                  <a:lnTo>
                    <a:pt x="329" y="114"/>
                  </a:lnTo>
                  <a:lnTo>
                    <a:pt x="316" y="123"/>
                  </a:lnTo>
                  <a:lnTo>
                    <a:pt x="298" y="118"/>
                  </a:lnTo>
                  <a:lnTo>
                    <a:pt x="279" y="112"/>
                  </a:lnTo>
                  <a:lnTo>
                    <a:pt x="255" y="120"/>
                  </a:lnTo>
                  <a:lnTo>
                    <a:pt x="233" y="127"/>
                  </a:lnTo>
                  <a:lnTo>
                    <a:pt x="227" y="125"/>
                  </a:lnTo>
                  <a:lnTo>
                    <a:pt x="222" y="123"/>
                  </a:lnTo>
                  <a:lnTo>
                    <a:pt x="218" y="118"/>
                  </a:lnTo>
                  <a:lnTo>
                    <a:pt x="211" y="114"/>
                  </a:lnTo>
                  <a:lnTo>
                    <a:pt x="205" y="109"/>
                  </a:lnTo>
                  <a:lnTo>
                    <a:pt x="196" y="105"/>
                  </a:lnTo>
                  <a:lnTo>
                    <a:pt x="187" y="101"/>
                  </a:lnTo>
                  <a:lnTo>
                    <a:pt x="172" y="101"/>
                  </a:lnTo>
                  <a:lnTo>
                    <a:pt x="146" y="105"/>
                  </a:lnTo>
                  <a:lnTo>
                    <a:pt x="126" y="107"/>
                  </a:lnTo>
                  <a:lnTo>
                    <a:pt x="113" y="99"/>
                  </a:lnTo>
                  <a:lnTo>
                    <a:pt x="100" y="92"/>
                  </a:lnTo>
                  <a:lnTo>
                    <a:pt x="76" y="88"/>
                  </a:lnTo>
                  <a:lnTo>
                    <a:pt x="65" y="85"/>
                  </a:lnTo>
                  <a:lnTo>
                    <a:pt x="50" y="92"/>
                  </a:lnTo>
                  <a:lnTo>
                    <a:pt x="39" y="96"/>
                  </a:lnTo>
                  <a:lnTo>
                    <a:pt x="26" y="98"/>
                  </a:lnTo>
                  <a:lnTo>
                    <a:pt x="9" y="99"/>
                  </a:lnTo>
                  <a:lnTo>
                    <a:pt x="6" y="109"/>
                  </a:lnTo>
                  <a:lnTo>
                    <a:pt x="2" y="118"/>
                  </a:lnTo>
                  <a:lnTo>
                    <a:pt x="0" y="123"/>
                  </a:lnTo>
                  <a:lnTo>
                    <a:pt x="2" y="129"/>
                  </a:lnTo>
                  <a:lnTo>
                    <a:pt x="19" y="136"/>
                  </a:lnTo>
                  <a:lnTo>
                    <a:pt x="39" y="146"/>
                  </a:lnTo>
                  <a:lnTo>
                    <a:pt x="39" y="153"/>
                  </a:lnTo>
                  <a:lnTo>
                    <a:pt x="35" y="160"/>
                  </a:lnTo>
                  <a:lnTo>
                    <a:pt x="33" y="164"/>
                  </a:lnTo>
                  <a:lnTo>
                    <a:pt x="32" y="168"/>
                  </a:lnTo>
                  <a:lnTo>
                    <a:pt x="33" y="172"/>
                  </a:lnTo>
                  <a:lnTo>
                    <a:pt x="35" y="175"/>
                  </a:lnTo>
                  <a:lnTo>
                    <a:pt x="43" y="177"/>
                  </a:lnTo>
                  <a:lnTo>
                    <a:pt x="48" y="177"/>
                  </a:lnTo>
                  <a:lnTo>
                    <a:pt x="54" y="173"/>
                  </a:lnTo>
                  <a:lnTo>
                    <a:pt x="59" y="168"/>
                  </a:lnTo>
                  <a:lnTo>
                    <a:pt x="63" y="162"/>
                  </a:lnTo>
                  <a:lnTo>
                    <a:pt x="70" y="159"/>
                  </a:lnTo>
                  <a:lnTo>
                    <a:pt x="76" y="157"/>
                  </a:lnTo>
                  <a:lnTo>
                    <a:pt x="82" y="159"/>
                  </a:lnTo>
                  <a:lnTo>
                    <a:pt x="87" y="162"/>
                  </a:lnTo>
                  <a:lnTo>
                    <a:pt x="89" y="168"/>
                  </a:lnTo>
                  <a:lnTo>
                    <a:pt x="89" y="175"/>
                  </a:lnTo>
                  <a:lnTo>
                    <a:pt x="91" y="183"/>
                  </a:lnTo>
                  <a:lnTo>
                    <a:pt x="91" y="190"/>
                  </a:lnTo>
                  <a:lnTo>
                    <a:pt x="93" y="196"/>
                  </a:lnTo>
                  <a:lnTo>
                    <a:pt x="96" y="199"/>
                  </a:lnTo>
                  <a:lnTo>
                    <a:pt x="102" y="201"/>
                  </a:lnTo>
                  <a:lnTo>
                    <a:pt x="111" y="194"/>
                  </a:lnTo>
                  <a:lnTo>
                    <a:pt x="118" y="184"/>
                  </a:lnTo>
                  <a:lnTo>
                    <a:pt x="124" y="186"/>
                  </a:lnTo>
                  <a:lnTo>
                    <a:pt x="128" y="190"/>
                  </a:lnTo>
                  <a:lnTo>
                    <a:pt x="130" y="194"/>
                  </a:lnTo>
                  <a:lnTo>
                    <a:pt x="133" y="197"/>
                  </a:lnTo>
                  <a:lnTo>
                    <a:pt x="135" y="208"/>
                  </a:lnTo>
                  <a:lnTo>
                    <a:pt x="135" y="221"/>
                  </a:lnTo>
                  <a:lnTo>
                    <a:pt x="128" y="242"/>
                  </a:lnTo>
                  <a:lnTo>
                    <a:pt x="124" y="258"/>
                  </a:lnTo>
                  <a:lnTo>
                    <a:pt x="131" y="258"/>
                  </a:lnTo>
                  <a:lnTo>
                    <a:pt x="141" y="257"/>
                  </a:lnTo>
                  <a:lnTo>
                    <a:pt x="146" y="257"/>
                  </a:lnTo>
                  <a:lnTo>
                    <a:pt x="152" y="258"/>
                  </a:lnTo>
                  <a:lnTo>
                    <a:pt x="157" y="262"/>
                  </a:lnTo>
                  <a:lnTo>
                    <a:pt x="161" y="271"/>
                  </a:lnTo>
                  <a:lnTo>
                    <a:pt x="157" y="281"/>
                  </a:lnTo>
                  <a:lnTo>
                    <a:pt x="152" y="292"/>
                  </a:lnTo>
                  <a:lnTo>
                    <a:pt x="148" y="297"/>
                  </a:lnTo>
                  <a:lnTo>
                    <a:pt x="146" y="303"/>
                  </a:lnTo>
                  <a:lnTo>
                    <a:pt x="146" y="308"/>
                  </a:lnTo>
                  <a:lnTo>
                    <a:pt x="148" y="316"/>
                  </a:lnTo>
                  <a:lnTo>
                    <a:pt x="161" y="323"/>
                  </a:lnTo>
                  <a:lnTo>
                    <a:pt x="178" y="327"/>
                  </a:lnTo>
                  <a:lnTo>
                    <a:pt x="192" y="360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10639570" y="2993671"/>
              <a:ext cx="749019" cy="1179986"/>
            </a:xfrm>
            <a:custGeom>
              <a:avLst/>
              <a:gdLst>
                <a:gd name="T0" fmla="*/ 49842 w 431"/>
                <a:gd name="T1" fmla="*/ 666750 h 627"/>
                <a:gd name="T2" fmla="*/ 175914 w 431"/>
                <a:gd name="T3" fmla="*/ 777875 h 627"/>
                <a:gd name="T4" fmla="*/ 263871 w 431"/>
                <a:gd name="T5" fmla="*/ 842962 h 627"/>
                <a:gd name="T6" fmla="*/ 316645 w 431"/>
                <a:gd name="T7" fmla="*/ 871537 h 627"/>
                <a:gd name="T8" fmla="*/ 344499 w 431"/>
                <a:gd name="T9" fmla="*/ 898525 h 627"/>
                <a:gd name="T10" fmla="*/ 392875 w 431"/>
                <a:gd name="T11" fmla="*/ 933450 h 627"/>
                <a:gd name="T12" fmla="*/ 444183 w 431"/>
                <a:gd name="T13" fmla="*/ 981075 h 627"/>
                <a:gd name="T14" fmla="*/ 494026 w 431"/>
                <a:gd name="T15" fmla="*/ 992187 h 627"/>
                <a:gd name="T16" fmla="*/ 482298 w 431"/>
                <a:gd name="T17" fmla="*/ 960437 h 627"/>
                <a:gd name="T18" fmla="*/ 482298 w 431"/>
                <a:gd name="T19" fmla="*/ 919162 h 627"/>
                <a:gd name="T20" fmla="*/ 476434 w 431"/>
                <a:gd name="T21" fmla="*/ 860425 h 627"/>
                <a:gd name="T22" fmla="*/ 463241 w 431"/>
                <a:gd name="T23" fmla="*/ 809624 h 627"/>
                <a:gd name="T24" fmla="*/ 439785 w 431"/>
                <a:gd name="T25" fmla="*/ 766762 h 627"/>
                <a:gd name="T26" fmla="*/ 417796 w 431"/>
                <a:gd name="T27" fmla="*/ 728662 h 627"/>
                <a:gd name="T28" fmla="*/ 389943 w 431"/>
                <a:gd name="T29" fmla="*/ 712787 h 627"/>
                <a:gd name="T30" fmla="*/ 395807 w 431"/>
                <a:gd name="T31" fmla="*/ 695325 h 627"/>
                <a:gd name="T32" fmla="*/ 425126 w 431"/>
                <a:gd name="T33" fmla="*/ 614362 h 627"/>
                <a:gd name="T34" fmla="*/ 425126 w 431"/>
                <a:gd name="T35" fmla="*/ 596900 h 627"/>
                <a:gd name="T36" fmla="*/ 392875 w 431"/>
                <a:gd name="T37" fmla="*/ 563562 h 627"/>
                <a:gd name="T38" fmla="*/ 357692 w 431"/>
                <a:gd name="T39" fmla="*/ 534987 h 627"/>
                <a:gd name="T40" fmla="*/ 344499 w 431"/>
                <a:gd name="T41" fmla="*/ 458787 h 627"/>
                <a:gd name="T42" fmla="*/ 366488 w 431"/>
                <a:gd name="T43" fmla="*/ 414337 h 627"/>
                <a:gd name="T44" fmla="*/ 382613 w 431"/>
                <a:gd name="T45" fmla="*/ 355600 h 627"/>
                <a:gd name="T46" fmla="*/ 316645 w 431"/>
                <a:gd name="T47" fmla="*/ 323850 h 627"/>
                <a:gd name="T48" fmla="*/ 260939 w 431"/>
                <a:gd name="T49" fmla="*/ 258762 h 627"/>
                <a:gd name="T50" fmla="*/ 271201 w 431"/>
                <a:gd name="T51" fmla="*/ 200025 h 627"/>
                <a:gd name="T52" fmla="*/ 296122 w 431"/>
                <a:gd name="T53" fmla="*/ 179387 h 627"/>
                <a:gd name="T54" fmla="*/ 293190 w 431"/>
                <a:gd name="T55" fmla="*/ 153987 h 627"/>
                <a:gd name="T56" fmla="*/ 246280 w 431"/>
                <a:gd name="T57" fmla="*/ 127000 h 627"/>
                <a:gd name="T58" fmla="*/ 219893 w 431"/>
                <a:gd name="T59" fmla="*/ 134937 h 627"/>
                <a:gd name="T60" fmla="*/ 184710 w 431"/>
                <a:gd name="T61" fmla="*/ 117475 h 627"/>
                <a:gd name="T62" fmla="*/ 155391 w 431"/>
                <a:gd name="T63" fmla="*/ 100012 h 627"/>
                <a:gd name="T64" fmla="*/ 98219 w 431"/>
                <a:gd name="T65" fmla="*/ 155575 h 627"/>
                <a:gd name="T66" fmla="*/ 60104 w 431"/>
                <a:gd name="T67" fmla="*/ 176212 h 627"/>
                <a:gd name="T68" fmla="*/ 68900 w 431"/>
                <a:gd name="T69" fmla="*/ 234950 h 627"/>
                <a:gd name="T70" fmla="*/ 92355 w 431"/>
                <a:gd name="T71" fmla="*/ 306387 h 627"/>
                <a:gd name="T72" fmla="*/ 82093 w 431"/>
                <a:gd name="T73" fmla="*/ 365125 h 627"/>
                <a:gd name="T74" fmla="*/ 30785 w 431"/>
                <a:gd name="T75" fmla="*/ 393700 h 627"/>
                <a:gd name="T76" fmla="*/ 16125 w 431"/>
                <a:gd name="T77" fmla="*/ 420687 h 627"/>
                <a:gd name="T78" fmla="*/ 27853 w 431"/>
                <a:gd name="T79" fmla="*/ 449262 h 627"/>
                <a:gd name="T80" fmla="*/ 76229 w 431"/>
                <a:gd name="T81" fmla="*/ 449262 h 627"/>
                <a:gd name="T82" fmla="*/ 101151 w 431"/>
                <a:gd name="T83" fmla="*/ 452437 h 627"/>
                <a:gd name="T84" fmla="*/ 85025 w 431"/>
                <a:gd name="T85" fmla="*/ 534987 h 627"/>
                <a:gd name="T86" fmla="*/ 57172 w 431"/>
                <a:gd name="T87" fmla="*/ 581025 h 627"/>
                <a:gd name="T88" fmla="*/ 19057 w 431"/>
                <a:gd name="T89" fmla="*/ 619125 h 627"/>
                <a:gd name="T90" fmla="*/ 603972 w 431"/>
                <a:gd name="T91" fmla="*/ 0 h 627"/>
                <a:gd name="T92" fmla="*/ 609836 w 431"/>
                <a:gd name="T93" fmla="*/ 12700 h 627"/>
                <a:gd name="T94" fmla="*/ 494026 w 431"/>
                <a:gd name="T95" fmla="*/ 58737 h 627"/>
                <a:gd name="T96" fmla="*/ 529208 w 431"/>
                <a:gd name="T97" fmla="*/ 58737 h 627"/>
                <a:gd name="T98" fmla="*/ 555596 w 431"/>
                <a:gd name="T99" fmla="*/ 68262 h 627"/>
                <a:gd name="T100" fmla="*/ 498423 w 431"/>
                <a:gd name="T101" fmla="*/ 71437 h 627"/>
                <a:gd name="T102" fmla="*/ 485230 w 431"/>
                <a:gd name="T103" fmla="*/ 57150 h 6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31"/>
                <a:gd name="T157" fmla="*/ 0 h 627"/>
                <a:gd name="T158" fmla="*/ 431 w 431"/>
                <a:gd name="T159" fmla="*/ 627 h 62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31" h="627">
                  <a:moveTo>
                    <a:pt x="0" y="394"/>
                  </a:moveTo>
                  <a:lnTo>
                    <a:pt x="8" y="400"/>
                  </a:lnTo>
                  <a:lnTo>
                    <a:pt x="19" y="407"/>
                  </a:lnTo>
                  <a:lnTo>
                    <a:pt x="34" y="420"/>
                  </a:lnTo>
                  <a:lnTo>
                    <a:pt x="52" y="442"/>
                  </a:lnTo>
                  <a:lnTo>
                    <a:pt x="76" y="457"/>
                  </a:lnTo>
                  <a:lnTo>
                    <a:pt x="100" y="470"/>
                  </a:lnTo>
                  <a:lnTo>
                    <a:pt x="120" y="490"/>
                  </a:lnTo>
                  <a:lnTo>
                    <a:pt x="137" y="503"/>
                  </a:lnTo>
                  <a:lnTo>
                    <a:pt x="152" y="514"/>
                  </a:lnTo>
                  <a:lnTo>
                    <a:pt x="168" y="522"/>
                  </a:lnTo>
                  <a:lnTo>
                    <a:pt x="180" y="531"/>
                  </a:lnTo>
                  <a:lnTo>
                    <a:pt x="191" y="538"/>
                  </a:lnTo>
                  <a:lnTo>
                    <a:pt x="198" y="544"/>
                  </a:lnTo>
                  <a:lnTo>
                    <a:pt x="205" y="546"/>
                  </a:lnTo>
                  <a:lnTo>
                    <a:pt x="216" y="549"/>
                  </a:lnTo>
                  <a:lnTo>
                    <a:pt x="220" y="549"/>
                  </a:lnTo>
                  <a:lnTo>
                    <a:pt x="226" y="557"/>
                  </a:lnTo>
                  <a:lnTo>
                    <a:pt x="229" y="562"/>
                  </a:lnTo>
                  <a:lnTo>
                    <a:pt x="235" y="566"/>
                  </a:lnTo>
                  <a:lnTo>
                    <a:pt x="239" y="568"/>
                  </a:lnTo>
                  <a:lnTo>
                    <a:pt x="248" y="571"/>
                  </a:lnTo>
                  <a:lnTo>
                    <a:pt x="257" y="577"/>
                  </a:lnTo>
                  <a:lnTo>
                    <a:pt x="268" y="588"/>
                  </a:lnTo>
                  <a:lnTo>
                    <a:pt x="277" y="601"/>
                  </a:lnTo>
                  <a:lnTo>
                    <a:pt x="283" y="608"/>
                  </a:lnTo>
                  <a:lnTo>
                    <a:pt x="290" y="612"/>
                  </a:lnTo>
                  <a:lnTo>
                    <a:pt x="303" y="618"/>
                  </a:lnTo>
                  <a:lnTo>
                    <a:pt x="318" y="621"/>
                  </a:lnTo>
                  <a:lnTo>
                    <a:pt x="327" y="625"/>
                  </a:lnTo>
                  <a:lnTo>
                    <a:pt x="335" y="627"/>
                  </a:lnTo>
                  <a:lnTo>
                    <a:pt x="337" y="625"/>
                  </a:lnTo>
                  <a:lnTo>
                    <a:pt x="337" y="621"/>
                  </a:lnTo>
                  <a:lnTo>
                    <a:pt x="335" y="618"/>
                  </a:lnTo>
                  <a:lnTo>
                    <a:pt x="333" y="614"/>
                  </a:lnTo>
                  <a:lnTo>
                    <a:pt x="329" y="605"/>
                  </a:lnTo>
                  <a:lnTo>
                    <a:pt x="327" y="599"/>
                  </a:lnTo>
                  <a:lnTo>
                    <a:pt x="329" y="590"/>
                  </a:lnTo>
                  <a:lnTo>
                    <a:pt x="331" y="584"/>
                  </a:lnTo>
                  <a:lnTo>
                    <a:pt x="329" y="579"/>
                  </a:lnTo>
                  <a:lnTo>
                    <a:pt x="322" y="568"/>
                  </a:lnTo>
                  <a:lnTo>
                    <a:pt x="327" y="555"/>
                  </a:lnTo>
                  <a:lnTo>
                    <a:pt x="327" y="549"/>
                  </a:lnTo>
                  <a:lnTo>
                    <a:pt x="325" y="542"/>
                  </a:lnTo>
                  <a:lnTo>
                    <a:pt x="320" y="531"/>
                  </a:lnTo>
                  <a:lnTo>
                    <a:pt x="322" y="522"/>
                  </a:lnTo>
                  <a:lnTo>
                    <a:pt x="322" y="516"/>
                  </a:lnTo>
                  <a:lnTo>
                    <a:pt x="316" y="510"/>
                  </a:lnTo>
                  <a:lnTo>
                    <a:pt x="309" y="503"/>
                  </a:lnTo>
                  <a:lnTo>
                    <a:pt x="307" y="494"/>
                  </a:lnTo>
                  <a:lnTo>
                    <a:pt x="303" y="488"/>
                  </a:lnTo>
                  <a:lnTo>
                    <a:pt x="300" y="483"/>
                  </a:lnTo>
                  <a:lnTo>
                    <a:pt x="296" y="477"/>
                  </a:lnTo>
                  <a:lnTo>
                    <a:pt x="287" y="470"/>
                  </a:lnTo>
                  <a:lnTo>
                    <a:pt x="283" y="464"/>
                  </a:lnTo>
                  <a:lnTo>
                    <a:pt x="285" y="459"/>
                  </a:lnTo>
                  <a:lnTo>
                    <a:pt x="285" y="453"/>
                  </a:lnTo>
                  <a:lnTo>
                    <a:pt x="285" y="449"/>
                  </a:lnTo>
                  <a:lnTo>
                    <a:pt x="281" y="449"/>
                  </a:lnTo>
                  <a:lnTo>
                    <a:pt x="266" y="449"/>
                  </a:lnTo>
                  <a:lnTo>
                    <a:pt x="261" y="449"/>
                  </a:lnTo>
                  <a:lnTo>
                    <a:pt x="259" y="444"/>
                  </a:lnTo>
                  <a:lnTo>
                    <a:pt x="261" y="440"/>
                  </a:lnTo>
                  <a:lnTo>
                    <a:pt x="270" y="438"/>
                  </a:lnTo>
                  <a:lnTo>
                    <a:pt x="276" y="433"/>
                  </a:lnTo>
                  <a:lnTo>
                    <a:pt x="279" y="411"/>
                  </a:lnTo>
                  <a:lnTo>
                    <a:pt x="287" y="388"/>
                  </a:lnTo>
                  <a:lnTo>
                    <a:pt x="290" y="387"/>
                  </a:lnTo>
                  <a:lnTo>
                    <a:pt x="296" y="387"/>
                  </a:lnTo>
                  <a:lnTo>
                    <a:pt x="298" y="383"/>
                  </a:lnTo>
                  <a:lnTo>
                    <a:pt x="301" y="379"/>
                  </a:lnTo>
                  <a:lnTo>
                    <a:pt x="290" y="376"/>
                  </a:lnTo>
                  <a:lnTo>
                    <a:pt x="279" y="370"/>
                  </a:lnTo>
                  <a:lnTo>
                    <a:pt x="276" y="363"/>
                  </a:lnTo>
                  <a:lnTo>
                    <a:pt x="272" y="359"/>
                  </a:lnTo>
                  <a:lnTo>
                    <a:pt x="268" y="355"/>
                  </a:lnTo>
                  <a:lnTo>
                    <a:pt x="265" y="353"/>
                  </a:lnTo>
                  <a:lnTo>
                    <a:pt x="255" y="352"/>
                  </a:lnTo>
                  <a:lnTo>
                    <a:pt x="250" y="348"/>
                  </a:lnTo>
                  <a:lnTo>
                    <a:pt x="244" y="337"/>
                  </a:lnTo>
                  <a:lnTo>
                    <a:pt x="242" y="326"/>
                  </a:lnTo>
                  <a:lnTo>
                    <a:pt x="240" y="313"/>
                  </a:lnTo>
                  <a:lnTo>
                    <a:pt x="240" y="302"/>
                  </a:lnTo>
                  <a:lnTo>
                    <a:pt x="235" y="289"/>
                  </a:lnTo>
                  <a:lnTo>
                    <a:pt x="235" y="278"/>
                  </a:lnTo>
                  <a:lnTo>
                    <a:pt x="237" y="272"/>
                  </a:lnTo>
                  <a:lnTo>
                    <a:pt x="240" y="268"/>
                  </a:lnTo>
                  <a:lnTo>
                    <a:pt x="250" y="261"/>
                  </a:lnTo>
                  <a:lnTo>
                    <a:pt x="261" y="252"/>
                  </a:lnTo>
                  <a:lnTo>
                    <a:pt x="263" y="244"/>
                  </a:lnTo>
                  <a:lnTo>
                    <a:pt x="263" y="233"/>
                  </a:lnTo>
                  <a:lnTo>
                    <a:pt x="261" y="224"/>
                  </a:lnTo>
                  <a:lnTo>
                    <a:pt x="255" y="218"/>
                  </a:lnTo>
                  <a:lnTo>
                    <a:pt x="242" y="213"/>
                  </a:lnTo>
                  <a:lnTo>
                    <a:pt x="226" y="207"/>
                  </a:lnTo>
                  <a:lnTo>
                    <a:pt x="216" y="204"/>
                  </a:lnTo>
                  <a:lnTo>
                    <a:pt x="207" y="200"/>
                  </a:lnTo>
                  <a:lnTo>
                    <a:pt x="196" y="191"/>
                  </a:lnTo>
                  <a:lnTo>
                    <a:pt x="187" y="180"/>
                  </a:lnTo>
                  <a:lnTo>
                    <a:pt x="178" y="163"/>
                  </a:lnTo>
                  <a:lnTo>
                    <a:pt x="172" y="148"/>
                  </a:lnTo>
                  <a:lnTo>
                    <a:pt x="170" y="135"/>
                  </a:lnTo>
                  <a:lnTo>
                    <a:pt x="172" y="126"/>
                  </a:lnTo>
                  <a:lnTo>
                    <a:pt x="185" y="126"/>
                  </a:lnTo>
                  <a:lnTo>
                    <a:pt x="194" y="122"/>
                  </a:lnTo>
                  <a:lnTo>
                    <a:pt x="198" y="121"/>
                  </a:lnTo>
                  <a:lnTo>
                    <a:pt x="200" y="119"/>
                  </a:lnTo>
                  <a:lnTo>
                    <a:pt x="202" y="113"/>
                  </a:lnTo>
                  <a:lnTo>
                    <a:pt x="204" y="108"/>
                  </a:lnTo>
                  <a:lnTo>
                    <a:pt x="204" y="104"/>
                  </a:lnTo>
                  <a:lnTo>
                    <a:pt x="202" y="100"/>
                  </a:lnTo>
                  <a:lnTo>
                    <a:pt x="200" y="97"/>
                  </a:lnTo>
                  <a:lnTo>
                    <a:pt x="194" y="95"/>
                  </a:lnTo>
                  <a:lnTo>
                    <a:pt x="185" y="89"/>
                  </a:lnTo>
                  <a:lnTo>
                    <a:pt x="174" y="84"/>
                  </a:lnTo>
                  <a:lnTo>
                    <a:pt x="168" y="80"/>
                  </a:lnTo>
                  <a:lnTo>
                    <a:pt x="163" y="78"/>
                  </a:lnTo>
                  <a:lnTo>
                    <a:pt x="159" y="78"/>
                  </a:lnTo>
                  <a:lnTo>
                    <a:pt x="156" y="80"/>
                  </a:lnTo>
                  <a:lnTo>
                    <a:pt x="150" y="85"/>
                  </a:lnTo>
                  <a:lnTo>
                    <a:pt x="144" y="89"/>
                  </a:lnTo>
                  <a:lnTo>
                    <a:pt x="139" y="82"/>
                  </a:lnTo>
                  <a:lnTo>
                    <a:pt x="135" y="76"/>
                  </a:lnTo>
                  <a:lnTo>
                    <a:pt x="126" y="74"/>
                  </a:lnTo>
                  <a:lnTo>
                    <a:pt x="117" y="72"/>
                  </a:lnTo>
                  <a:lnTo>
                    <a:pt x="111" y="71"/>
                  </a:lnTo>
                  <a:lnTo>
                    <a:pt x="107" y="69"/>
                  </a:lnTo>
                  <a:lnTo>
                    <a:pt x="106" y="63"/>
                  </a:lnTo>
                  <a:lnTo>
                    <a:pt x="104" y="58"/>
                  </a:lnTo>
                  <a:lnTo>
                    <a:pt x="83" y="84"/>
                  </a:lnTo>
                  <a:lnTo>
                    <a:pt x="76" y="93"/>
                  </a:lnTo>
                  <a:lnTo>
                    <a:pt x="67" y="98"/>
                  </a:lnTo>
                  <a:lnTo>
                    <a:pt x="54" y="104"/>
                  </a:lnTo>
                  <a:lnTo>
                    <a:pt x="48" y="106"/>
                  </a:lnTo>
                  <a:lnTo>
                    <a:pt x="45" y="108"/>
                  </a:lnTo>
                  <a:lnTo>
                    <a:pt x="41" y="111"/>
                  </a:lnTo>
                  <a:lnTo>
                    <a:pt x="39" y="115"/>
                  </a:lnTo>
                  <a:lnTo>
                    <a:pt x="39" y="126"/>
                  </a:lnTo>
                  <a:lnTo>
                    <a:pt x="43" y="137"/>
                  </a:lnTo>
                  <a:lnTo>
                    <a:pt x="47" y="148"/>
                  </a:lnTo>
                  <a:lnTo>
                    <a:pt x="54" y="159"/>
                  </a:lnTo>
                  <a:lnTo>
                    <a:pt x="58" y="172"/>
                  </a:lnTo>
                  <a:lnTo>
                    <a:pt x="63" y="185"/>
                  </a:lnTo>
                  <a:lnTo>
                    <a:pt x="63" y="193"/>
                  </a:lnTo>
                  <a:lnTo>
                    <a:pt x="63" y="202"/>
                  </a:lnTo>
                  <a:lnTo>
                    <a:pt x="63" y="211"/>
                  </a:lnTo>
                  <a:lnTo>
                    <a:pt x="61" y="220"/>
                  </a:lnTo>
                  <a:lnTo>
                    <a:pt x="56" y="230"/>
                  </a:lnTo>
                  <a:lnTo>
                    <a:pt x="48" y="235"/>
                  </a:lnTo>
                  <a:lnTo>
                    <a:pt x="39" y="239"/>
                  </a:lnTo>
                  <a:lnTo>
                    <a:pt x="30" y="242"/>
                  </a:lnTo>
                  <a:lnTo>
                    <a:pt x="21" y="248"/>
                  </a:lnTo>
                  <a:lnTo>
                    <a:pt x="15" y="254"/>
                  </a:lnTo>
                  <a:lnTo>
                    <a:pt x="13" y="255"/>
                  </a:lnTo>
                  <a:lnTo>
                    <a:pt x="11" y="259"/>
                  </a:lnTo>
                  <a:lnTo>
                    <a:pt x="11" y="265"/>
                  </a:lnTo>
                  <a:lnTo>
                    <a:pt x="11" y="270"/>
                  </a:lnTo>
                  <a:lnTo>
                    <a:pt x="13" y="276"/>
                  </a:lnTo>
                  <a:lnTo>
                    <a:pt x="15" y="279"/>
                  </a:lnTo>
                  <a:lnTo>
                    <a:pt x="19" y="283"/>
                  </a:lnTo>
                  <a:lnTo>
                    <a:pt x="23" y="285"/>
                  </a:lnTo>
                  <a:lnTo>
                    <a:pt x="32" y="285"/>
                  </a:lnTo>
                  <a:lnTo>
                    <a:pt x="43" y="285"/>
                  </a:lnTo>
                  <a:lnTo>
                    <a:pt x="52" y="283"/>
                  </a:lnTo>
                  <a:lnTo>
                    <a:pt x="61" y="283"/>
                  </a:lnTo>
                  <a:lnTo>
                    <a:pt x="65" y="283"/>
                  </a:lnTo>
                  <a:lnTo>
                    <a:pt x="67" y="283"/>
                  </a:lnTo>
                  <a:lnTo>
                    <a:pt x="69" y="285"/>
                  </a:lnTo>
                  <a:lnTo>
                    <a:pt x="69" y="289"/>
                  </a:lnTo>
                  <a:lnTo>
                    <a:pt x="67" y="311"/>
                  </a:lnTo>
                  <a:lnTo>
                    <a:pt x="65" y="333"/>
                  </a:lnTo>
                  <a:lnTo>
                    <a:pt x="58" y="337"/>
                  </a:lnTo>
                  <a:lnTo>
                    <a:pt x="52" y="342"/>
                  </a:lnTo>
                  <a:lnTo>
                    <a:pt x="47" y="350"/>
                  </a:lnTo>
                  <a:lnTo>
                    <a:pt x="43" y="357"/>
                  </a:lnTo>
                  <a:lnTo>
                    <a:pt x="39" y="366"/>
                  </a:lnTo>
                  <a:lnTo>
                    <a:pt x="34" y="374"/>
                  </a:lnTo>
                  <a:lnTo>
                    <a:pt x="30" y="379"/>
                  </a:lnTo>
                  <a:lnTo>
                    <a:pt x="24" y="383"/>
                  </a:lnTo>
                  <a:lnTo>
                    <a:pt x="13" y="390"/>
                  </a:lnTo>
                  <a:lnTo>
                    <a:pt x="0" y="394"/>
                  </a:lnTo>
                  <a:close/>
                  <a:moveTo>
                    <a:pt x="399" y="10"/>
                  </a:moveTo>
                  <a:lnTo>
                    <a:pt x="405" y="4"/>
                  </a:lnTo>
                  <a:lnTo>
                    <a:pt x="412" y="0"/>
                  </a:lnTo>
                  <a:lnTo>
                    <a:pt x="422" y="0"/>
                  </a:lnTo>
                  <a:lnTo>
                    <a:pt x="431" y="0"/>
                  </a:lnTo>
                  <a:lnTo>
                    <a:pt x="423" y="6"/>
                  </a:lnTo>
                  <a:lnTo>
                    <a:pt x="416" y="8"/>
                  </a:lnTo>
                  <a:lnTo>
                    <a:pt x="409" y="10"/>
                  </a:lnTo>
                  <a:lnTo>
                    <a:pt x="399" y="10"/>
                  </a:lnTo>
                  <a:close/>
                  <a:moveTo>
                    <a:pt x="335" y="32"/>
                  </a:moveTo>
                  <a:lnTo>
                    <a:pt x="337" y="37"/>
                  </a:lnTo>
                  <a:lnTo>
                    <a:pt x="342" y="39"/>
                  </a:lnTo>
                  <a:lnTo>
                    <a:pt x="348" y="39"/>
                  </a:lnTo>
                  <a:lnTo>
                    <a:pt x="353" y="39"/>
                  </a:lnTo>
                  <a:lnTo>
                    <a:pt x="361" y="37"/>
                  </a:lnTo>
                  <a:lnTo>
                    <a:pt x="368" y="37"/>
                  </a:lnTo>
                  <a:lnTo>
                    <a:pt x="375" y="39"/>
                  </a:lnTo>
                  <a:lnTo>
                    <a:pt x="381" y="41"/>
                  </a:lnTo>
                  <a:lnTo>
                    <a:pt x="379" y="43"/>
                  </a:lnTo>
                  <a:lnTo>
                    <a:pt x="379" y="47"/>
                  </a:lnTo>
                  <a:lnTo>
                    <a:pt x="364" y="47"/>
                  </a:lnTo>
                  <a:lnTo>
                    <a:pt x="348" y="47"/>
                  </a:lnTo>
                  <a:lnTo>
                    <a:pt x="340" y="45"/>
                  </a:lnTo>
                  <a:lnTo>
                    <a:pt x="335" y="45"/>
                  </a:lnTo>
                  <a:lnTo>
                    <a:pt x="329" y="43"/>
                  </a:lnTo>
                  <a:lnTo>
                    <a:pt x="325" y="39"/>
                  </a:lnTo>
                  <a:lnTo>
                    <a:pt x="331" y="36"/>
                  </a:lnTo>
                  <a:lnTo>
                    <a:pt x="335" y="32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/>
          </p:nvSpPr>
          <p:spPr bwMode="auto">
            <a:xfrm>
              <a:off x="9982766" y="1926601"/>
              <a:ext cx="837471" cy="1808561"/>
            </a:xfrm>
            <a:custGeom>
              <a:avLst/>
              <a:gdLst>
                <a:gd name="T0" fmla="*/ 297525 w 482"/>
                <a:gd name="T1" fmla="*/ 649288 h 961"/>
                <a:gd name="T2" fmla="*/ 285800 w 482"/>
                <a:gd name="T3" fmla="*/ 636588 h 961"/>
                <a:gd name="T4" fmla="*/ 227174 w 482"/>
                <a:gd name="T5" fmla="*/ 574675 h 961"/>
                <a:gd name="T6" fmla="*/ 281403 w 482"/>
                <a:gd name="T7" fmla="*/ 477838 h 961"/>
                <a:gd name="T8" fmla="*/ 275540 w 482"/>
                <a:gd name="T9" fmla="*/ 536575 h 961"/>
                <a:gd name="T10" fmla="*/ 326838 w 482"/>
                <a:gd name="T11" fmla="*/ 609600 h 961"/>
                <a:gd name="T12" fmla="*/ 373738 w 482"/>
                <a:gd name="T13" fmla="*/ 671513 h 961"/>
                <a:gd name="T14" fmla="*/ 397188 w 482"/>
                <a:gd name="T15" fmla="*/ 687388 h 961"/>
                <a:gd name="T16" fmla="*/ 375204 w 482"/>
                <a:gd name="T17" fmla="*/ 806450 h 961"/>
                <a:gd name="T18" fmla="*/ 410379 w 482"/>
                <a:gd name="T19" fmla="*/ 974725 h 961"/>
                <a:gd name="T20" fmla="*/ 467539 w 482"/>
                <a:gd name="T21" fmla="*/ 1190625 h 961"/>
                <a:gd name="T22" fmla="*/ 422104 w 482"/>
                <a:gd name="T23" fmla="*/ 1276350 h 961"/>
                <a:gd name="T24" fmla="*/ 467539 w 482"/>
                <a:gd name="T25" fmla="*/ 1325563 h 961"/>
                <a:gd name="T26" fmla="*/ 480730 w 482"/>
                <a:gd name="T27" fmla="*/ 1381125 h 961"/>
                <a:gd name="T28" fmla="*/ 540821 w 482"/>
                <a:gd name="T29" fmla="*/ 1511300 h 961"/>
                <a:gd name="T30" fmla="*/ 611171 w 482"/>
                <a:gd name="T31" fmla="*/ 1481138 h 961"/>
                <a:gd name="T32" fmla="*/ 655141 w 482"/>
                <a:gd name="T33" fmla="*/ 1358900 h 961"/>
                <a:gd name="T34" fmla="*/ 600912 w 482"/>
                <a:gd name="T35" fmla="*/ 1352550 h 961"/>
                <a:gd name="T36" fmla="*/ 570134 w 482"/>
                <a:gd name="T37" fmla="*/ 1311275 h 961"/>
                <a:gd name="T38" fmla="*/ 636087 w 482"/>
                <a:gd name="T39" fmla="*/ 1265238 h 961"/>
                <a:gd name="T40" fmla="*/ 633156 w 482"/>
                <a:gd name="T41" fmla="*/ 1152525 h 961"/>
                <a:gd name="T42" fmla="*/ 624362 w 482"/>
                <a:gd name="T43" fmla="*/ 1068388 h 961"/>
                <a:gd name="T44" fmla="*/ 703507 w 482"/>
                <a:gd name="T45" fmla="*/ 974725 h 961"/>
                <a:gd name="T46" fmla="*/ 659538 w 482"/>
                <a:gd name="T47" fmla="*/ 950913 h 961"/>
                <a:gd name="T48" fmla="*/ 652209 w 482"/>
                <a:gd name="T49" fmla="*/ 989013 h 961"/>
                <a:gd name="T50" fmla="*/ 578927 w 482"/>
                <a:gd name="T51" fmla="*/ 923925 h 961"/>
                <a:gd name="T52" fmla="*/ 549615 w 482"/>
                <a:gd name="T53" fmla="*/ 841375 h 961"/>
                <a:gd name="T54" fmla="*/ 530561 w 482"/>
                <a:gd name="T55" fmla="*/ 812800 h 961"/>
                <a:gd name="T56" fmla="*/ 480730 w 482"/>
                <a:gd name="T57" fmla="*/ 742950 h 961"/>
                <a:gd name="T58" fmla="*/ 515905 w 482"/>
                <a:gd name="T59" fmla="*/ 695325 h 961"/>
                <a:gd name="T60" fmla="*/ 546683 w 482"/>
                <a:gd name="T61" fmla="*/ 674688 h 961"/>
                <a:gd name="T62" fmla="*/ 527630 w 482"/>
                <a:gd name="T63" fmla="*/ 612775 h 961"/>
                <a:gd name="T64" fmla="*/ 546683 w 482"/>
                <a:gd name="T65" fmla="*/ 595313 h 961"/>
                <a:gd name="T66" fmla="*/ 570134 w 482"/>
                <a:gd name="T67" fmla="*/ 498475 h 961"/>
                <a:gd name="T68" fmla="*/ 608240 w 482"/>
                <a:gd name="T69" fmla="*/ 398463 h 961"/>
                <a:gd name="T70" fmla="*/ 703507 w 482"/>
                <a:gd name="T71" fmla="*/ 373063 h 961"/>
                <a:gd name="T72" fmla="*/ 662469 w 482"/>
                <a:gd name="T73" fmla="*/ 269875 h 961"/>
                <a:gd name="T74" fmla="*/ 652209 w 482"/>
                <a:gd name="T75" fmla="*/ 203200 h 961"/>
                <a:gd name="T76" fmla="*/ 622897 w 482"/>
                <a:gd name="T77" fmla="*/ 155575 h 961"/>
                <a:gd name="T78" fmla="*/ 614103 w 482"/>
                <a:gd name="T79" fmla="*/ 88900 h 961"/>
                <a:gd name="T80" fmla="*/ 614103 w 482"/>
                <a:gd name="T81" fmla="*/ 30163 h 961"/>
                <a:gd name="T82" fmla="*/ 543752 w 482"/>
                <a:gd name="T83" fmla="*/ 3175 h 961"/>
                <a:gd name="T84" fmla="*/ 514439 w 482"/>
                <a:gd name="T85" fmla="*/ 82550 h 961"/>
                <a:gd name="T86" fmla="*/ 480730 w 482"/>
                <a:gd name="T87" fmla="*/ 185738 h 961"/>
                <a:gd name="T88" fmla="*/ 403051 w 482"/>
                <a:gd name="T89" fmla="*/ 211138 h 961"/>
                <a:gd name="T90" fmla="*/ 313647 w 482"/>
                <a:gd name="T91" fmla="*/ 263525 h 961"/>
                <a:gd name="T92" fmla="*/ 294593 w 482"/>
                <a:gd name="T93" fmla="*/ 152400 h 961"/>
                <a:gd name="T94" fmla="*/ 208121 w 482"/>
                <a:gd name="T95" fmla="*/ 166688 h 961"/>
                <a:gd name="T96" fmla="*/ 124579 w 482"/>
                <a:gd name="T97" fmla="*/ 214313 h 961"/>
                <a:gd name="T98" fmla="*/ 80610 w 482"/>
                <a:gd name="T99" fmla="*/ 282575 h 961"/>
                <a:gd name="T100" fmla="*/ 26382 w 482"/>
                <a:gd name="T101" fmla="*/ 317500 h 961"/>
                <a:gd name="T102" fmla="*/ 0 w 482"/>
                <a:gd name="T103" fmla="*/ 363538 h 961"/>
                <a:gd name="T104" fmla="*/ 32244 w 482"/>
                <a:gd name="T105" fmla="*/ 407988 h 961"/>
                <a:gd name="T106" fmla="*/ 39572 w 482"/>
                <a:gd name="T107" fmla="*/ 449263 h 961"/>
                <a:gd name="T108" fmla="*/ 109923 w 482"/>
                <a:gd name="T109" fmla="*/ 495300 h 961"/>
                <a:gd name="T110" fmla="*/ 140701 w 482"/>
                <a:gd name="T111" fmla="*/ 549275 h 961"/>
                <a:gd name="T112" fmla="*/ 215449 w 482"/>
                <a:gd name="T113" fmla="*/ 615950 h 961"/>
                <a:gd name="T114" fmla="*/ 622897 w 482"/>
                <a:gd name="T115" fmla="*/ 777875 h 961"/>
                <a:gd name="T116" fmla="*/ 614103 w 482"/>
                <a:gd name="T117" fmla="*/ 877888 h 961"/>
                <a:gd name="T118" fmla="*/ 589187 w 482"/>
                <a:gd name="T119" fmla="*/ 819150 h 961"/>
                <a:gd name="T120" fmla="*/ 608240 w 482"/>
                <a:gd name="T121" fmla="*/ 768350 h 9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82"/>
                <a:gd name="T184" fmla="*/ 0 h 961"/>
                <a:gd name="T185" fmla="*/ 482 w 482"/>
                <a:gd name="T186" fmla="*/ 961 h 96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82" h="961">
                  <a:moveTo>
                    <a:pt x="190" y="423"/>
                  </a:moveTo>
                  <a:lnTo>
                    <a:pt x="190" y="418"/>
                  </a:lnTo>
                  <a:lnTo>
                    <a:pt x="192" y="412"/>
                  </a:lnTo>
                  <a:lnTo>
                    <a:pt x="194" y="410"/>
                  </a:lnTo>
                  <a:lnTo>
                    <a:pt x="197" y="409"/>
                  </a:lnTo>
                  <a:lnTo>
                    <a:pt x="201" y="409"/>
                  </a:lnTo>
                  <a:lnTo>
                    <a:pt x="203" y="409"/>
                  </a:lnTo>
                  <a:lnTo>
                    <a:pt x="207" y="410"/>
                  </a:lnTo>
                  <a:lnTo>
                    <a:pt x="208" y="414"/>
                  </a:lnTo>
                  <a:lnTo>
                    <a:pt x="212" y="410"/>
                  </a:lnTo>
                  <a:lnTo>
                    <a:pt x="212" y="407"/>
                  </a:lnTo>
                  <a:lnTo>
                    <a:pt x="210" y="405"/>
                  </a:lnTo>
                  <a:lnTo>
                    <a:pt x="207" y="403"/>
                  </a:lnTo>
                  <a:lnTo>
                    <a:pt x="195" y="401"/>
                  </a:lnTo>
                  <a:lnTo>
                    <a:pt x="190" y="401"/>
                  </a:lnTo>
                  <a:lnTo>
                    <a:pt x="177" y="388"/>
                  </a:lnTo>
                  <a:lnTo>
                    <a:pt x="171" y="381"/>
                  </a:lnTo>
                  <a:lnTo>
                    <a:pt x="170" y="373"/>
                  </a:lnTo>
                  <a:lnTo>
                    <a:pt x="168" y="370"/>
                  </a:lnTo>
                  <a:lnTo>
                    <a:pt x="160" y="364"/>
                  </a:lnTo>
                  <a:lnTo>
                    <a:pt x="155" y="362"/>
                  </a:lnTo>
                  <a:lnTo>
                    <a:pt x="151" y="359"/>
                  </a:lnTo>
                  <a:lnTo>
                    <a:pt x="146" y="349"/>
                  </a:lnTo>
                  <a:lnTo>
                    <a:pt x="153" y="336"/>
                  </a:lnTo>
                  <a:lnTo>
                    <a:pt x="170" y="303"/>
                  </a:lnTo>
                  <a:lnTo>
                    <a:pt x="175" y="303"/>
                  </a:lnTo>
                  <a:lnTo>
                    <a:pt x="183" y="305"/>
                  </a:lnTo>
                  <a:lnTo>
                    <a:pt x="192" y="301"/>
                  </a:lnTo>
                  <a:lnTo>
                    <a:pt x="195" y="301"/>
                  </a:lnTo>
                  <a:lnTo>
                    <a:pt x="195" y="307"/>
                  </a:lnTo>
                  <a:lnTo>
                    <a:pt x="192" y="312"/>
                  </a:lnTo>
                  <a:lnTo>
                    <a:pt x="190" y="316"/>
                  </a:lnTo>
                  <a:lnTo>
                    <a:pt x="186" y="318"/>
                  </a:lnTo>
                  <a:lnTo>
                    <a:pt x="186" y="327"/>
                  </a:lnTo>
                  <a:lnTo>
                    <a:pt x="188" y="338"/>
                  </a:lnTo>
                  <a:lnTo>
                    <a:pt x="190" y="349"/>
                  </a:lnTo>
                  <a:lnTo>
                    <a:pt x="195" y="357"/>
                  </a:lnTo>
                  <a:lnTo>
                    <a:pt x="201" y="364"/>
                  </a:lnTo>
                  <a:lnTo>
                    <a:pt x="205" y="370"/>
                  </a:lnTo>
                  <a:lnTo>
                    <a:pt x="210" y="372"/>
                  </a:lnTo>
                  <a:lnTo>
                    <a:pt x="218" y="375"/>
                  </a:lnTo>
                  <a:lnTo>
                    <a:pt x="223" y="384"/>
                  </a:lnTo>
                  <a:lnTo>
                    <a:pt x="231" y="392"/>
                  </a:lnTo>
                  <a:lnTo>
                    <a:pt x="240" y="397"/>
                  </a:lnTo>
                  <a:lnTo>
                    <a:pt x="251" y="401"/>
                  </a:lnTo>
                  <a:lnTo>
                    <a:pt x="255" y="407"/>
                  </a:lnTo>
                  <a:lnTo>
                    <a:pt x="255" y="412"/>
                  </a:lnTo>
                  <a:lnTo>
                    <a:pt x="255" y="420"/>
                  </a:lnTo>
                  <a:lnTo>
                    <a:pt x="255" y="423"/>
                  </a:lnTo>
                  <a:lnTo>
                    <a:pt x="256" y="425"/>
                  </a:lnTo>
                  <a:lnTo>
                    <a:pt x="262" y="423"/>
                  </a:lnTo>
                  <a:lnTo>
                    <a:pt x="264" y="421"/>
                  </a:lnTo>
                  <a:lnTo>
                    <a:pt x="266" y="423"/>
                  </a:lnTo>
                  <a:lnTo>
                    <a:pt x="268" y="423"/>
                  </a:lnTo>
                  <a:lnTo>
                    <a:pt x="269" y="427"/>
                  </a:lnTo>
                  <a:lnTo>
                    <a:pt x="271" y="433"/>
                  </a:lnTo>
                  <a:lnTo>
                    <a:pt x="271" y="436"/>
                  </a:lnTo>
                  <a:lnTo>
                    <a:pt x="269" y="440"/>
                  </a:lnTo>
                  <a:lnTo>
                    <a:pt x="269" y="444"/>
                  </a:lnTo>
                  <a:lnTo>
                    <a:pt x="264" y="451"/>
                  </a:lnTo>
                  <a:lnTo>
                    <a:pt x="258" y="458"/>
                  </a:lnTo>
                  <a:lnTo>
                    <a:pt x="256" y="482"/>
                  </a:lnTo>
                  <a:lnTo>
                    <a:pt x="256" y="508"/>
                  </a:lnTo>
                  <a:lnTo>
                    <a:pt x="262" y="518"/>
                  </a:lnTo>
                  <a:lnTo>
                    <a:pt x="268" y="527"/>
                  </a:lnTo>
                  <a:lnTo>
                    <a:pt x="271" y="534"/>
                  </a:lnTo>
                  <a:lnTo>
                    <a:pt x="273" y="543"/>
                  </a:lnTo>
                  <a:lnTo>
                    <a:pt x="279" y="566"/>
                  </a:lnTo>
                  <a:lnTo>
                    <a:pt x="280" y="590"/>
                  </a:lnTo>
                  <a:lnTo>
                    <a:pt x="280" y="614"/>
                  </a:lnTo>
                  <a:lnTo>
                    <a:pt x="282" y="636"/>
                  </a:lnTo>
                  <a:lnTo>
                    <a:pt x="295" y="656"/>
                  </a:lnTo>
                  <a:lnTo>
                    <a:pt x="306" y="676"/>
                  </a:lnTo>
                  <a:lnTo>
                    <a:pt x="310" y="708"/>
                  </a:lnTo>
                  <a:lnTo>
                    <a:pt x="314" y="726"/>
                  </a:lnTo>
                  <a:lnTo>
                    <a:pt x="317" y="737"/>
                  </a:lnTo>
                  <a:lnTo>
                    <a:pt x="319" y="750"/>
                  </a:lnTo>
                  <a:lnTo>
                    <a:pt x="312" y="763"/>
                  </a:lnTo>
                  <a:lnTo>
                    <a:pt x="308" y="776"/>
                  </a:lnTo>
                  <a:lnTo>
                    <a:pt x="308" y="785"/>
                  </a:lnTo>
                  <a:lnTo>
                    <a:pt x="306" y="795"/>
                  </a:lnTo>
                  <a:lnTo>
                    <a:pt x="299" y="798"/>
                  </a:lnTo>
                  <a:lnTo>
                    <a:pt x="290" y="800"/>
                  </a:lnTo>
                  <a:lnTo>
                    <a:pt x="288" y="804"/>
                  </a:lnTo>
                  <a:lnTo>
                    <a:pt x="290" y="808"/>
                  </a:lnTo>
                  <a:lnTo>
                    <a:pt x="292" y="811"/>
                  </a:lnTo>
                  <a:lnTo>
                    <a:pt x="295" y="815"/>
                  </a:lnTo>
                  <a:lnTo>
                    <a:pt x="304" y="819"/>
                  </a:lnTo>
                  <a:lnTo>
                    <a:pt x="317" y="822"/>
                  </a:lnTo>
                  <a:lnTo>
                    <a:pt x="319" y="828"/>
                  </a:lnTo>
                  <a:lnTo>
                    <a:pt x="319" y="835"/>
                  </a:lnTo>
                  <a:lnTo>
                    <a:pt x="321" y="839"/>
                  </a:lnTo>
                  <a:lnTo>
                    <a:pt x="321" y="843"/>
                  </a:lnTo>
                  <a:lnTo>
                    <a:pt x="325" y="846"/>
                  </a:lnTo>
                  <a:lnTo>
                    <a:pt x="328" y="850"/>
                  </a:lnTo>
                  <a:lnTo>
                    <a:pt x="327" y="858"/>
                  </a:lnTo>
                  <a:lnTo>
                    <a:pt x="327" y="863"/>
                  </a:lnTo>
                  <a:lnTo>
                    <a:pt x="328" y="870"/>
                  </a:lnTo>
                  <a:lnTo>
                    <a:pt x="332" y="876"/>
                  </a:lnTo>
                  <a:lnTo>
                    <a:pt x="332" y="882"/>
                  </a:lnTo>
                  <a:lnTo>
                    <a:pt x="332" y="889"/>
                  </a:lnTo>
                  <a:lnTo>
                    <a:pt x="334" y="896"/>
                  </a:lnTo>
                  <a:lnTo>
                    <a:pt x="338" y="904"/>
                  </a:lnTo>
                  <a:lnTo>
                    <a:pt x="354" y="926"/>
                  </a:lnTo>
                  <a:lnTo>
                    <a:pt x="369" y="952"/>
                  </a:lnTo>
                  <a:lnTo>
                    <a:pt x="375" y="957"/>
                  </a:lnTo>
                  <a:lnTo>
                    <a:pt x="378" y="961"/>
                  </a:lnTo>
                  <a:lnTo>
                    <a:pt x="391" y="957"/>
                  </a:lnTo>
                  <a:lnTo>
                    <a:pt x="402" y="950"/>
                  </a:lnTo>
                  <a:lnTo>
                    <a:pt x="408" y="946"/>
                  </a:lnTo>
                  <a:lnTo>
                    <a:pt x="412" y="941"/>
                  </a:lnTo>
                  <a:lnTo>
                    <a:pt x="417" y="933"/>
                  </a:lnTo>
                  <a:lnTo>
                    <a:pt x="421" y="924"/>
                  </a:lnTo>
                  <a:lnTo>
                    <a:pt x="425" y="917"/>
                  </a:lnTo>
                  <a:lnTo>
                    <a:pt x="430" y="909"/>
                  </a:lnTo>
                  <a:lnTo>
                    <a:pt x="436" y="904"/>
                  </a:lnTo>
                  <a:lnTo>
                    <a:pt x="443" y="900"/>
                  </a:lnTo>
                  <a:lnTo>
                    <a:pt x="445" y="878"/>
                  </a:lnTo>
                  <a:lnTo>
                    <a:pt x="447" y="856"/>
                  </a:lnTo>
                  <a:lnTo>
                    <a:pt x="447" y="852"/>
                  </a:lnTo>
                  <a:lnTo>
                    <a:pt x="445" y="850"/>
                  </a:lnTo>
                  <a:lnTo>
                    <a:pt x="443" y="850"/>
                  </a:lnTo>
                  <a:lnTo>
                    <a:pt x="439" y="850"/>
                  </a:lnTo>
                  <a:lnTo>
                    <a:pt x="430" y="850"/>
                  </a:lnTo>
                  <a:lnTo>
                    <a:pt x="421" y="852"/>
                  </a:lnTo>
                  <a:lnTo>
                    <a:pt x="410" y="852"/>
                  </a:lnTo>
                  <a:lnTo>
                    <a:pt x="401" y="852"/>
                  </a:lnTo>
                  <a:lnTo>
                    <a:pt x="397" y="850"/>
                  </a:lnTo>
                  <a:lnTo>
                    <a:pt x="393" y="846"/>
                  </a:lnTo>
                  <a:lnTo>
                    <a:pt x="391" y="843"/>
                  </a:lnTo>
                  <a:lnTo>
                    <a:pt x="389" y="837"/>
                  </a:lnTo>
                  <a:lnTo>
                    <a:pt x="389" y="832"/>
                  </a:lnTo>
                  <a:lnTo>
                    <a:pt x="389" y="826"/>
                  </a:lnTo>
                  <a:lnTo>
                    <a:pt x="391" y="822"/>
                  </a:lnTo>
                  <a:lnTo>
                    <a:pt x="393" y="821"/>
                  </a:lnTo>
                  <a:lnTo>
                    <a:pt x="399" y="815"/>
                  </a:lnTo>
                  <a:lnTo>
                    <a:pt x="408" y="809"/>
                  </a:lnTo>
                  <a:lnTo>
                    <a:pt x="417" y="806"/>
                  </a:lnTo>
                  <a:lnTo>
                    <a:pt x="426" y="802"/>
                  </a:lnTo>
                  <a:lnTo>
                    <a:pt x="434" y="797"/>
                  </a:lnTo>
                  <a:lnTo>
                    <a:pt x="439" y="787"/>
                  </a:lnTo>
                  <a:lnTo>
                    <a:pt x="441" y="778"/>
                  </a:lnTo>
                  <a:lnTo>
                    <a:pt x="441" y="769"/>
                  </a:lnTo>
                  <a:lnTo>
                    <a:pt x="441" y="760"/>
                  </a:lnTo>
                  <a:lnTo>
                    <a:pt x="441" y="752"/>
                  </a:lnTo>
                  <a:lnTo>
                    <a:pt x="436" y="739"/>
                  </a:lnTo>
                  <a:lnTo>
                    <a:pt x="432" y="726"/>
                  </a:lnTo>
                  <a:lnTo>
                    <a:pt x="425" y="715"/>
                  </a:lnTo>
                  <a:lnTo>
                    <a:pt x="421" y="704"/>
                  </a:lnTo>
                  <a:lnTo>
                    <a:pt x="417" y="693"/>
                  </a:lnTo>
                  <a:lnTo>
                    <a:pt x="417" y="682"/>
                  </a:lnTo>
                  <a:lnTo>
                    <a:pt x="419" y="678"/>
                  </a:lnTo>
                  <a:lnTo>
                    <a:pt x="423" y="675"/>
                  </a:lnTo>
                  <a:lnTo>
                    <a:pt x="426" y="673"/>
                  </a:lnTo>
                  <a:lnTo>
                    <a:pt x="432" y="671"/>
                  </a:lnTo>
                  <a:lnTo>
                    <a:pt x="445" y="665"/>
                  </a:lnTo>
                  <a:lnTo>
                    <a:pt x="454" y="660"/>
                  </a:lnTo>
                  <a:lnTo>
                    <a:pt x="461" y="651"/>
                  </a:lnTo>
                  <a:lnTo>
                    <a:pt x="482" y="625"/>
                  </a:lnTo>
                  <a:lnTo>
                    <a:pt x="480" y="619"/>
                  </a:lnTo>
                  <a:lnTo>
                    <a:pt x="480" y="614"/>
                  </a:lnTo>
                  <a:lnTo>
                    <a:pt x="480" y="604"/>
                  </a:lnTo>
                  <a:lnTo>
                    <a:pt x="478" y="597"/>
                  </a:lnTo>
                  <a:lnTo>
                    <a:pt x="474" y="593"/>
                  </a:lnTo>
                  <a:lnTo>
                    <a:pt x="471" y="591"/>
                  </a:lnTo>
                  <a:lnTo>
                    <a:pt x="463" y="591"/>
                  </a:lnTo>
                  <a:lnTo>
                    <a:pt x="458" y="593"/>
                  </a:lnTo>
                  <a:lnTo>
                    <a:pt x="450" y="599"/>
                  </a:lnTo>
                  <a:lnTo>
                    <a:pt x="445" y="604"/>
                  </a:lnTo>
                  <a:lnTo>
                    <a:pt x="441" y="606"/>
                  </a:lnTo>
                  <a:lnTo>
                    <a:pt x="441" y="608"/>
                  </a:lnTo>
                  <a:lnTo>
                    <a:pt x="441" y="610"/>
                  </a:lnTo>
                  <a:lnTo>
                    <a:pt x="443" y="614"/>
                  </a:lnTo>
                  <a:lnTo>
                    <a:pt x="445" y="619"/>
                  </a:lnTo>
                  <a:lnTo>
                    <a:pt x="445" y="623"/>
                  </a:lnTo>
                  <a:lnTo>
                    <a:pt x="437" y="627"/>
                  </a:lnTo>
                  <a:lnTo>
                    <a:pt x="432" y="627"/>
                  </a:lnTo>
                  <a:lnTo>
                    <a:pt x="426" y="627"/>
                  </a:lnTo>
                  <a:lnTo>
                    <a:pt x="421" y="625"/>
                  </a:lnTo>
                  <a:lnTo>
                    <a:pt x="413" y="617"/>
                  </a:lnTo>
                  <a:lnTo>
                    <a:pt x="406" y="608"/>
                  </a:lnTo>
                  <a:lnTo>
                    <a:pt x="395" y="582"/>
                  </a:lnTo>
                  <a:lnTo>
                    <a:pt x="384" y="556"/>
                  </a:lnTo>
                  <a:lnTo>
                    <a:pt x="384" y="551"/>
                  </a:lnTo>
                  <a:lnTo>
                    <a:pt x="384" y="547"/>
                  </a:lnTo>
                  <a:lnTo>
                    <a:pt x="380" y="545"/>
                  </a:lnTo>
                  <a:lnTo>
                    <a:pt x="375" y="538"/>
                  </a:lnTo>
                  <a:lnTo>
                    <a:pt x="373" y="534"/>
                  </a:lnTo>
                  <a:lnTo>
                    <a:pt x="375" y="530"/>
                  </a:lnTo>
                  <a:lnTo>
                    <a:pt x="375" y="529"/>
                  </a:lnTo>
                  <a:lnTo>
                    <a:pt x="373" y="527"/>
                  </a:lnTo>
                  <a:lnTo>
                    <a:pt x="371" y="525"/>
                  </a:lnTo>
                  <a:lnTo>
                    <a:pt x="364" y="523"/>
                  </a:lnTo>
                  <a:lnTo>
                    <a:pt x="362" y="518"/>
                  </a:lnTo>
                  <a:lnTo>
                    <a:pt x="362" y="514"/>
                  </a:lnTo>
                  <a:lnTo>
                    <a:pt x="362" y="512"/>
                  </a:lnTo>
                  <a:lnTo>
                    <a:pt x="360" y="512"/>
                  </a:lnTo>
                  <a:lnTo>
                    <a:pt x="356" y="512"/>
                  </a:lnTo>
                  <a:lnTo>
                    <a:pt x="349" y="514"/>
                  </a:lnTo>
                  <a:lnTo>
                    <a:pt x="341" y="501"/>
                  </a:lnTo>
                  <a:lnTo>
                    <a:pt x="336" y="490"/>
                  </a:lnTo>
                  <a:lnTo>
                    <a:pt x="330" y="477"/>
                  </a:lnTo>
                  <a:lnTo>
                    <a:pt x="328" y="468"/>
                  </a:lnTo>
                  <a:lnTo>
                    <a:pt x="338" y="464"/>
                  </a:lnTo>
                  <a:lnTo>
                    <a:pt x="343" y="460"/>
                  </a:lnTo>
                  <a:lnTo>
                    <a:pt x="345" y="455"/>
                  </a:lnTo>
                  <a:lnTo>
                    <a:pt x="345" y="449"/>
                  </a:lnTo>
                  <a:lnTo>
                    <a:pt x="343" y="440"/>
                  </a:lnTo>
                  <a:lnTo>
                    <a:pt x="343" y="436"/>
                  </a:lnTo>
                  <a:lnTo>
                    <a:pt x="352" y="438"/>
                  </a:lnTo>
                  <a:lnTo>
                    <a:pt x="360" y="442"/>
                  </a:lnTo>
                  <a:lnTo>
                    <a:pt x="362" y="442"/>
                  </a:lnTo>
                  <a:lnTo>
                    <a:pt x="365" y="442"/>
                  </a:lnTo>
                  <a:lnTo>
                    <a:pt x="369" y="440"/>
                  </a:lnTo>
                  <a:lnTo>
                    <a:pt x="371" y="434"/>
                  </a:lnTo>
                  <a:lnTo>
                    <a:pt x="373" y="429"/>
                  </a:lnTo>
                  <a:lnTo>
                    <a:pt x="373" y="425"/>
                  </a:lnTo>
                  <a:lnTo>
                    <a:pt x="371" y="421"/>
                  </a:lnTo>
                  <a:lnTo>
                    <a:pt x="367" y="418"/>
                  </a:lnTo>
                  <a:lnTo>
                    <a:pt x="360" y="414"/>
                  </a:lnTo>
                  <a:lnTo>
                    <a:pt x="358" y="410"/>
                  </a:lnTo>
                  <a:lnTo>
                    <a:pt x="360" y="407"/>
                  </a:lnTo>
                  <a:lnTo>
                    <a:pt x="360" y="405"/>
                  </a:lnTo>
                  <a:lnTo>
                    <a:pt x="360" y="386"/>
                  </a:lnTo>
                  <a:lnTo>
                    <a:pt x="358" y="366"/>
                  </a:lnTo>
                  <a:lnTo>
                    <a:pt x="360" y="364"/>
                  </a:lnTo>
                  <a:lnTo>
                    <a:pt x="362" y="364"/>
                  </a:lnTo>
                  <a:lnTo>
                    <a:pt x="364" y="364"/>
                  </a:lnTo>
                  <a:lnTo>
                    <a:pt x="365" y="366"/>
                  </a:lnTo>
                  <a:lnTo>
                    <a:pt x="369" y="370"/>
                  </a:lnTo>
                  <a:lnTo>
                    <a:pt x="373" y="375"/>
                  </a:lnTo>
                  <a:lnTo>
                    <a:pt x="384" y="383"/>
                  </a:lnTo>
                  <a:lnTo>
                    <a:pt x="401" y="390"/>
                  </a:lnTo>
                  <a:lnTo>
                    <a:pt x="395" y="375"/>
                  </a:lnTo>
                  <a:lnTo>
                    <a:pt x="386" y="349"/>
                  </a:lnTo>
                  <a:lnTo>
                    <a:pt x="388" y="340"/>
                  </a:lnTo>
                  <a:lnTo>
                    <a:pt x="391" y="329"/>
                  </a:lnTo>
                  <a:lnTo>
                    <a:pt x="389" y="314"/>
                  </a:lnTo>
                  <a:lnTo>
                    <a:pt x="388" y="303"/>
                  </a:lnTo>
                  <a:lnTo>
                    <a:pt x="389" y="298"/>
                  </a:lnTo>
                  <a:lnTo>
                    <a:pt x="393" y="290"/>
                  </a:lnTo>
                  <a:lnTo>
                    <a:pt x="399" y="281"/>
                  </a:lnTo>
                  <a:lnTo>
                    <a:pt x="406" y="270"/>
                  </a:lnTo>
                  <a:lnTo>
                    <a:pt x="410" y="259"/>
                  </a:lnTo>
                  <a:lnTo>
                    <a:pt x="415" y="251"/>
                  </a:lnTo>
                  <a:lnTo>
                    <a:pt x="432" y="246"/>
                  </a:lnTo>
                  <a:lnTo>
                    <a:pt x="447" y="244"/>
                  </a:lnTo>
                  <a:lnTo>
                    <a:pt x="463" y="244"/>
                  </a:lnTo>
                  <a:lnTo>
                    <a:pt x="480" y="242"/>
                  </a:lnTo>
                  <a:lnTo>
                    <a:pt x="482" y="240"/>
                  </a:lnTo>
                  <a:lnTo>
                    <a:pt x="482" y="237"/>
                  </a:lnTo>
                  <a:lnTo>
                    <a:pt x="480" y="235"/>
                  </a:lnTo>
                  <a:lnTo>
                    <a:pt x="476" y="231"/>
                  </a:lnTo>
                  <a:lnTo>
                    <a:pt x="469" y="226"/>
                  </a:lnTo>
                  <a:lnTo>
                    <a:pt x="463" y="218"/>
                  </a:lnTo>
                  <a:lnTo>
                    <a:pt x="458" y="207"/>
                  </a:lnTo>
                  <a:lnTo>
                    <a:pt x="456" y="194"/>
                  </a:lnTo>
                  <a:lnTo>
                    <a:pt x="454" y="183"/>
                  </a:lnTo>
                  <a:lnTo>
                    <a:pt x="452" y="170"/>
                  </a:lnTo>
                  <a:lnTo>
                    <a:pt x="449" y="161"/>
                  </a:lnTo>
                  <a:lnTo>
                    <a:pt x="447" y="152"/>
                  </a:lnTo>
                  <a:lnTo>
                    <a:pt x="450" y="144"/>
                  </a:lnTo>
                  <a:lnTo>
                    <a:pt x="452" y="141"/>
                  </a:lnTo>
                  <a:lnTo>
                    <a:pt x="452" y="137"/>
                  </a:lnTo>
                  <a:lnTo>
                    <a:pt x="450" y="133"/>
                  </a:lnTo>
                  <a:lnTo>
                    <a:pt x="445" y="128"/>
                  </a:lnTo>
                  <a:lnTo>
                    <a:pt x="432" y="126"/>
                  </a:lnTo>
                  <a:lnTo>
                    <a:pt x="436" y="113"/>
                  </a:lnTo>
                  <a:lnTo>
                    <a:pt x="437" y="100"/>
                  </a:lnTo>
                  <a:lnTo>
                    <a:pt x="434" y="98"/>
                  </a:lnTo>
                  <a:lnTo>
                    <a:pt x="430" y="98"/>
                  </a:lnTo>
                  <a:lnTo>
                    <a:pt x="426" y="98"/>
                  </a:lnTo>
                  <a:lnTo>
                    <a:pt x="425" y="98"/>
                  </a:lnTo>
                  <a:lnTo>
                    <a:pt x="425" y="96"/>
                  </a:lnTo>
                  <a:lnTo>
                    <a:pt x="425" y="94"/>
                  </a:lnTo>
                  <a:lnTo>
                    <a:pt x="430" y="85"/>
                  </a:lnTo>
                  <a:lnTo>
                    <a:pt x="432" y="78"/>
                  </a:lnTo>
                  <a:lnTo>
                    <a:pt x="426" y="72"/>
                  </a:lnTo>
                  <a:lnTo>
                    <a:pt x="417" y="61"/>
                  </a:lnTo>
                  <a:lnTo>
                    <a:pt x="419" y="56"/>
                  </a:lnTo>
                  <a:lnTo>
                    <a:pt x="421" y="48"/>
                  </a:lnTo>
                  <a:lnTo>
                    <a:pt x="423" y="44"/>
                  </a:lnTo>
                  <a:lnTo>
                    <a:pt x="423" y="39"/>
                  </a:lnTo>
                  <a:lnTo>
                    <a:pt x="421" y="32"/>
                  </a:lnTo>
                  <a:lnTo>
                    <a:pt x="419" y="24"/>
                  </a:lnTo>
                  <a:lnTo>
                    <a:pt x="419" y="20"/>
                  </a:lnTo>
                  <a:lnTo>
                    <a:pt x="419" y="19"/>
                  </a:lnTo>
                  <a:lnTo>
                    <a:pt x="410" y="15"/>
                  </a:lnTo>
                  <a:lnTo>
                    <a:pt x="401" y="11"/>
                  </a:lnTo>
                  <a:lnTo>
                    <a:pt x="386" y="13"/>
                  </a:lnTo>
                  <a:lnTo>
                    <a:pt x="376" y="13"/>
                  </a:lnTo>
                  <a:lnTo>
                    <a:pt x="375" y="9"/>
                  </a:lnTo>
                  <a:lnTo>
                    <a:pt x="373" y="4"/>
                  </a:lnTo>
                  <a:lnTo>
                    <a:pt x="371" y="2"/>
                  </a:lnTo>
                  <a:lnTo>
                    <a:pt x="367" y="0"/>
                  </a:lnTo>
                  <a:lnTo>
                    <a:pt x="358" y="9"/>
                  </a:lnTo>
                  <a:lnTo>
                    <a:pt x="349" y="17"/>
                  </a:lnTo>
                  <a:lnTo>
                    <a:pt x="347" y="24"/>
                  </a:lnTo>
                  <a:lnTo>
                    <a:pt x="347" y="32"/>
                  </a:lnTo>
                  <a:lnTo>
                    <a:pt x="349" y="41"/>
                  </a:lnTo>
                  <a:lnTo>
                    <a:pt x="351" y="52"/>
                  </a:lnTo>
                  <a:lnTo>
                    <a:pt x="341" y="67"/>
                  </a:lnTo>
                  <a:lnTo>
                    <a:pt x="338" y="81"/>
                  </a:lnTo>
                  <a:lnTo>
                    <a:pt x="334" y="87"/>
                  </a:lnTo>
                  <a:lnTo>
                    <a:pt x="330" y="93"/>
                  </a:lnTo>
                  <a:lnTo>
                    <a:pt x="328" y="100"/>
                  </a:lnTo>
                  <a:lnTo>
                    <a:pt x="328" y="109"/>
                  </a:lnTo>
                  <a:lnTo>
                    <a:pt x="328" y="117"/>
                  </a:lnTo>
                  <a:lnTo>
                    <a:pt x="327" y="124"/>
                  </a:lnTo>
                  <a:lnTo>
                    <a:pt x="327" y="129"/>
                  </a:lnTo>
                  <a:lnTo>
                    <a:pt x="325" y="133"/>
                  </a:lnTo>
                  <a:lnTo>
                    <a:pt x="323" y="137"/>
                  </a:lnTo>
                  <a:lnTo>
                    <a:pt x="319" y="142"/>
                  </a:lnTo>
                  <a:lnTo>
                    <a:pt x="297" y="137"/>
                  </a:lnTo>
                  <a:lnTo>
                    <a:pt x="275" y="133"/>
                  </a:lnTo>
                  <a:lnTo>
                    <a:pt x="255" y="141"/>
                  </a:lnTo>
                  <a:lnTo>
                    <a:pt x="234" y="150"/>
                  </a:lnTo>
                  <a:lnTo>
                    <a:pt x="229" y="155"/>
                  </a:lnTo>
                  <a:lnTo>
                    <a:pt x="223" y="163"/>
                  </a:lnTo>
                  <a:lnTo>
                    <a:pt x="219" y="165"/>
                  </a:lnTo>
                  <a:lnTo>
                    <a:pt x="216" y="166"/>
                  </a:lnTo>
                  <a:lnTo>
                    <a:pt x="214" y="166"/>
                  </a:lnTo>
                  <a:lnTo>
                    <a:pt x="210" y="165"/>
                  </a:lnTo>
                  <a:lnTo>
                    <a:pt x="205" y="152"/>
                  </a:lnTo>
                  <a:lnTo>
                    <a:pt x="201" y="141"/>
                  </a:lnTo>
                  <a:lnTo>
                    <a:pt x="199" y="131"/>
                  </a:lnTo>
                  <a:lnTo>
                    <a:pt x="199" y="122"/>
                  </a:lnTo>
                  <a:lnTo>
                    <a:pt x="203" y="107"/>
                  </a:lnTo>
                  <a:lnTo>
                    <a:pt x="201" y="96"/>
                  </a:lnTo>
                  <a:lnTo>
                    <a:pt x="195" y="94"/>
                  </a:lnTo>
                  <a:lnTo>
                    <a:pt x="190" y="96"/>
                  </a:lnTo>
                  <a:lnTo>
                    <a:pt x="184" y="96"/>
                  </a:lnTo>
                  <a:lnTo>
                    <a:pt x="179" y="98"/>
                  </a:lnTo>
                  <a:lnTo>
                    <a:pt x="170" y="104"/>
                  </a:lnTo>
                  <a:lnTo>
                    <a:pt x="159" y="109"/>
                  </a:lnTo>
                  <a:lnTo>
                    <a:pt x="142" y="105"/>
                  </a:lnTo>
                  <a:lnTo>
                    <a:pt x="123" y="104"/>
                  </a:lnTo>
                  <a:lnTo>
                    <a:pt x="114" y="113"/>
                  </a:lnTo>
                  <a:lnTo>
                    <a:pt x="103" y="126"/>
                  </a:lnTo>
                  <a:lnTo>
                    <a:pt x="96" y="128"/>
                  </a:lnTo>
                  <a:lnTo>
                    <a:pt x="90" y="129"/>
                  </a:lnTo>
                  <a:lnTo>
                    <a:pt x="86" y="131"/>
                  </a:lnTo>
                  <a:lnTo>
                    <a:pt x="85" y="135"/>
                  </a:lnTo>
                  <a:lnTo>
                    <a:pt x="81" y="144"/>
                  </a:lnTo>
                  <a:lnTo>
                    <a:pt x="79" y="152"/>
                  </a:lnTo>
                  <a:lnTo>
                    <a:pt x="75" y="157"/>
                  </a:lnTo>
                  <a:lnTo>
                    <a:pt x="66" y="163"/>
                  </a:lnTo>
                  <a:lnTo>
                    <a:pt x="62" y="170"/>
                  </a:lnTo>
                  <a:lnTo>
                    <a:pt x="59" y="176"/>
                  </a:lnTo>
                  <a:lnTo>
                    <a:pt x="55" y="178"/>
                  </a:lnTo>
                  <a:lnTo>
                    <a:pt x="51" y="179"/>
                  </a:lnTo>
                  <a:lnTo>
                    <a:pt x="44" y="179"/>
                  </a:lnTo>
                  <a:lnTo>
                    <a:pt x="38" y="181"/>
                  </a:lnTo>
                  <a:lnTo>
                    <a:pt x="35" y="192"/>
                  </a:lnTo>
                  <a:lnTo>
                    <a:pt x="33" y="203"/>
                  </a:lnTo>
                  <a:lnTo>
                    <a:pt x="26" y="202"/>
                  </a:lnTo>
                  <a:lnTo>
                    <a:pt x="18" y="200"/>
                  </a:lnTo>
                  <a:lnTo>
                    <a:pt x="14" y="202"/>
                  </a:lnTo>
                  <a:lnTo>
                    <a:pt x="11" y="203"/>
                  </a:lnTo>
                  <a:lnTo>
                    <a:pt x="9" y="207"/>
                  </a:lnTo>
                  <a:lnTo>
                    <a:pt x="7" y="211"/>
                  </a:lnTo>
                  <a:lnTo>
                    <a:pt x="3" y="220"/>
                  </a:lnTo>
                  <a:lnTo>
                    <a:pt x="1" y="229"/>
                  </a:lnTo>
                  <a:lnTo>
                    <a:pt x="0" y="229"/>
                  </a:lnTo>
                  <a:lnTo>
                    <a:pt x="0" y="239"/>
                  </a:lnTo>
                  <a:lnTo>
                    <a:pt x="1" y="248"/>
                  </a:lnTo>
                  <a:lnTo>
                    <a:pt x="5" y="250"/>
                  </a:lnTo>
                  <a:lnTo>
                    <a:pt x="9" y="253"/>
                  </a:lnTo>
                  <a:lnTo>
                    <a:pt x="14" y="255"/>
                  </a:lnTo>
                  <a:lnTo>
                    <a:pt x="22" y="257"/>
                  </a:lnTo>
                  <a:lnTo>
                    <a:pt x="27" y="261"/>
                  </a:lnTo>
                  <a:lnTo>
                    <a:pt x="29" y="264"/>
                  </a:lnTo>
                  <a:lnTo>
                    <a:pt x="29" y="268"/>
                  </a:lnTo>
                  <a:lnTo>
                    <a:pt x="29" y="272"/>
                  </a:lnTo>
                  <a:lnTo>
                    <a:pt x="27" y="275"/>
                  </a:lnTo>
                  <a:lnTo>
                    <a:pt x="27" y="279"/>
                  </a:lnTo>
                  <a:lnTo>
                    <a:pt x="27" y="283"/>
                  </a:lnTo>
                  <a:lnTo>
                    <a:pt x="29" y="285"/>
                  </a:lnTo>
                  <a:lnTo>
                    <a:pt x="40" y="294"/>
                  </a:lnTo>
                  <a:lnTo>
                    <a:pt x="51" y="298"/>
                  </a:lnTo>
                  <a:lnTo>
                    <a:pt x="62" y="301"/>
                  </a:lnTo>
                  <a:lnTo>
                    <a:pt x="74" y="305"/>
                  </a:lnTo>
                  <a:lnTo>
                    <a:pt x="75" y="309"/>
                  </a:lnTo>
                  <a:lnTo>
                    <a:pt x="75" y="312"/>
                  </a:lnTo>
                  <a:lnTo>
                    <a:pt x="75" y="316"/>
                  </a:lnTo>
                  <a:lnTo>
                    <a:pt x="81" y="322"/>
                  </a:lnTo>
                  <a:lnTo>
                    <a:pt x="85" y="324"/>
                  </a:lnTo>
                  <a:lnTo>
                    <a:pt x="90" y="327"/>
                  </a:lnTo>
                  <a:lnTo>
                    <a:pt x="96" y="331"/>
                  </a:lnTo>
                  <a:lnTo>
                    <a:pt x="99" y="336"/>
                  </a:lnTo>
                  <a:lnTo>
                    <a:pt x="96" y="346"/>
                  </a:lnTo>
                  <a:lnTo>
                    <a:pt x="92" y="357"/>
                  </a:lnTo>
                  <a:lnTo>
                    <a:pt x="110" y="359"/>
                  </a:lnTo>
                  <a:lnTo>
                    <a:pt x="133" y="359"/>
                  </a:lnTo>
                  <a:lnTo>
                    <a:pt x="138" y="364"/>
                  </a:lnTo>
                  <a:lnTo>
                    <a:pt x="142" y="373"/>
                  </a:lnTo>
                  <a:lnTo>
                    <a:pt x="146" y="381"/>
                  </a:lnTo>
                  <a:lnTo>
                    <a:pt x="147" y="388"/>
                  </a:lnTo>
                  <a:lnTo>
                    <a:pt x="160" y="396"/>
                  </a:lnTo>
                  <a:lnTo>
                    <a:pt x="170" y="401"/>
                  </a:lnTo>
                  <a:lnTo>
                    <a:pt x="170" y="405"/>
                  </a:lnTo>
                  <a:lnTo>
                    <a:pt x="171" y="409"/>
                  </a:lnTo>
                  <a:lnTo>
                    <a:pt x="177" y="414"/>
                  </a:lnTo>
                  <a:lnTo>
                    <a:pt x="190" y="423"/>
                  </a:lnTo>
                  <a:close/>
                  <a:moveTo>
                    <a:pt x="425" y="490"/>
                  </a:moveTo>
                  <a:lnTo>
                    <a:pt x="423" y="505"/>
                  </a:lnTo>
                  <a:lnTo>
                    <a:pt x="421" y="519"/>
                  </a:lnTo>
                  <a:lnTo>
                    <a:pt x="423" y="536"/>
                  </a:lnTo>
                  <a:lnTo>
                    <a:pt x="425" y="553"/>
                  </a:lnTo>
                  <a:lnTo>
                    <a:pt x="423" y="554"/>
                  </a:lnTo>
                  <a:lnTo>
                    <a:pt x="421" y="554"/>
                  </a:lnTo>
                  <a:lnTo>
                    <a:pt x="419" y="553"/>
                  </a:lnTo>
                  <a:lnTo>
                    <a:pt x="417" y="551"/>
                  </a:lnTo>
                  <a:lnTo>
                    <a:pt x="413" y="543"/>
                  </a:lnTo>
                  <a:lnTo>
                    <a:pt x="412" y="530"/>
                  </a:lnTo>
                  <a:lnTo>
                    <a:pt x="408" y="527"/>
                  </a:lnTo>
                  <a:lnTo>
                    <a:pt x="404" y="523"/>
                  </a:lnTo>
                  <a:lnTo>
                    <a:pt x="402" y="519"/>
                  </a:lnTo>
                  <a:lnTo>
                    <a:pt x="402" y="516"/>
                  </a:lnTo>
                  <a:lnTo>
                    <a:pt x="404" y="510"/>
                  </a:lnTo>
                  <a:lnTo>
                    <a:pt x="410" y="505"/>
                  </a:lnTo>
                  <a:lnTo>
                    <a:pt x="406" y="497"/>
                  </a:lnTo>
                  <a:lnTo>
                    <a:pt x="404" y="490"/>
                  </a:lnTo>
                  <a:lnTo>
                    <a:pt x="404" y="484"/>
                  </a:lnTo>
                  <a:lnTo>
                    <a:pt x="406" y="481"/>
                  </a:lnTo>
                  <a:lnTo>
                    <a:pt x="415" y="484"/>
                  </a:lnTo>
                  <a:lnTo>
                    <a:pt x="425" y="490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9835974" y="6413186"/>
              <a:ext cx="79042" cy="99744"/>
            </a:xfrm>
            <a:custGeom>
              <a:avLst/>
              <a:gdLst>
                <a:gd name="T0" fmla="*/ 57978 w 46"/>
                <a:gd name="T1" fmla="*/ 0 h 53"/>
                <a:gd name="T2" fmla="*/ 37686 w 46"/>
                <a:gd name="T3" fmla="*/ 3175 h 53"/>
                <a:gd name="T4" fmla="*/ 20292 w 46"/>
                <a:gd name="T5" fmla="*/ 7938 h 53"/>
                <a:gd name="T6" fmla="*/ 13045 w 46"/>
                <a:gd name="T7" fmla="*/ 7938 h 53"/>
                <a:gd name="T8" fmla="*/ 7247 w 46"/>
                <a:gd name="T9" fmla="*/ 6350 h 53"/>
                <a:gd name="T10" fmla="*/ 2899 w 46"/>
                <a:gd name="T11" fmla="*/ 17463 h 53"/>
                <a:gd name="T12" fmla="*/ 0 w 46"/>
                <a:gd name="T13" fmla="*/ 25400 h 53"/>
                <a:gd name="T14" fmla="*/ 7247 w 46"/>
                <a:gd name="T15" fmla="*/ 38100 h 53"/>
                <a:gd name="T16" fmla="*/ 18843 w 46"/>
                <a:gd name="T17" fmla="*/ 46038 h 53"/>
                <a:gd name="T18" fmla="*/ 23191 w 46"/>
                <a:gd name="T19" fmla="*/ 66675 h 53"/>
                <a:gd name="T20" fmla="*/ 34787 w 46"/>
                <a:gd name="T21" fmla="*/ 82550 h 53"/>
                <a:gd name="T22" fmla="*/ 44933 w 46"/>
                <a:gd name="T23" fmla="*/ 84138 h 53"/>
                <a:gd name="T24" fmla="*/ 55079 w 46"/>
                <a:gd name="T25" fmla="*/ 82550 h 53"/>
                <a:gd name="T26" fmla="*/ 60877 w 46"/>
                <a:gd name="T27" fmla="*/ 76200 h 53"/>
                <a:gd name="T28" fmla="*/ 66675 w 46"/>
                <a:gd name="T29" fmla="*/ 66675 h 53"/>
                <a:gd name="T30" fmla="*/ 66675 w 46"/>
                <a:gd name="T31" fmla="*/ 49213 h 53"/>
                <a:gd name="T32" fmla="*/ 63776 w 46"/>
                <a:gd name="T33" fmla="*/ 31750 h 53"/>
                <a:gd name="T34" fmla="*/ 60877 w 46"/>
                <a:gd name="T35" fmla="*/ 17463 h 53"/>
                <a:gd name="T36" fmla="*/ 57978 w 46"/>
                <a:gd name="T37" fmla="*/ 0 h 5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6"/>
                <a:gd name="T58" fmla="*/ 0 h 53"/>
                <a:gd name="T59" fmla="*/ 46 w 46"/>
                <a:gd name="T60" fmla="*/ 53 h 5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6" h="53">
                  <a:moveTo>
                    <a:pt x="40" y="0"/>
                  </a:moveTo>
                  <a:lnTo>
                    <a:pt x="26" y="2"/>
                  </a:lnTo>
                  <a:lnTo>
                    <a:pt x="14" y="5"/>
                  </a:lnTo>
                  <a:lnTo>
                    <a:pt x="9" y="5"/>
                  </a:lnTo>
                  <a:lnTo>
                    <a:pt x="5" y="4"/>
                  </a:lnTo>
                  <a:lnTo>
                    <a:pt x="2" y="11"/>
                  </a:lnTo>
                  <a:lnTo>
                    <a:pt x="0" y="16"/>
                  </a:lnTo>
                  <a:lnTo>
                    <a:pt x="5" y="24"/>
                  </a:lnTo>
                  <a:lnTo>
                    <a:pt x="13" y="29"/>
                  </a:lnTo>
                  <a:lnTo>
                    <a:pt x="16" y="42"/>
                  </a:lnTo>
                  <a:lnTo>
                    <a:pt x="24" y="52"/>
                  </a:lnTo>
                  <a:lnTo>
                    <a:pt x="31" y="53"/>
                  </a:lnTo>
                  <a:lnTo>
                    <a:pt x="38" y="52"/>
                  </a:lnTo>
                  <a:lnTo>
                    <a:pt x="42" y="48"/>
                  </a:lnTo>
                  <a:lnTo>
                    <a:pt x="46" y="42"/>
                  </a:lnTo>
                  <a:lnTo>
                    <a:pt x="46" y="31"/>
                  </a:lnTo>
                  <a:lnTo>
                    <a:pt x="44" y="20"/>
                  </a:lnTo>
                  <a:lnTo>
                    <a:pt x="42" y="1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bg1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auto">
            <a:xfrm>
              <a:off x="5597806" y="2180666"/>
              <a:ext cx="1642949" cy="1562024"/>
            </a:xfrm>
            <a:custGeom>
              <a:avLst/>
              <a:gdLst>
                <a:gd name="T0" fmla="*/ 1232063 w 946"/>
                <a:gd name="T1" fmla="*/ 474663 h 830"/>
                <a:gd name="T2" fmla="*/ 1264293 w 946"/>
                <a:gd name="T3" fmla="*/ 492125 h 830"/>
                <a:gd name="T4" fmla="*/ 1191043 w 946"/>
                <a:gd name="T5" fmla="*/ 566738 h 830"/>
                <a:gd name="T6" fmla="*/ 1085564 w 946"/>
                <a:gd name="T7" fmla="*/ 647700 h 830"/>
                <a:gd name="T8" fmla="*/ 1111933 w 946"/>
                <a:gd name="T9" fmla="*/ 577850 h 830"/>
                <a:gd name="T10" fmla="*/ 1215948 w 946"/>
                <a:gd name="T11" fmla="*/ 449263 h 830"/>
                <a:gd name="T12" fmla="*/ 1264293 w 946"/>
                <a:gd name="T13" fmla="*/ 384175 h 830"/>
                <a:gd name="T14" fmla="*/ 1305313 w 946"/>
                <a:gd name="T15" fmla="*/ 328613 h 830"/>
                <a:gd name="T16" fmla="*/ 1305313 w 946"/>
                <a:gd name="T17" fmla="*/ 258763 h 830"/>
                <a:gd name="T18" fmla="*/ 1299453 w 946"/>
                <a:gd name="T19" fmla="*/ 231775 h 830"/>
                <a:gd name="T20" fmla="*/ 1293593 w 946"/>
                <a:gd name="T21" fmla="*/ 161925 h 830"/>
                <a:gd name="T22" fmla="*/ 1264293 w 946"/>
                <a:gd name="T23" fmla="*/ 146050 h 830"/>
                <a:gd name="T24" fmla="*/ 1213018 w 946"/>
                <a:gd name="T25" fmla="*/ 103188 h 830"/>
                <a:gd name="T26" fmla="*/ 1120723 w 946"/>
                <a:gd name="T27" fmla="*/ 146050 h 830"/>
                <a:gd name="T28" fmla="*/ 1094353 w 946"/>
                <a:gd name="T29" fmla="*/ 87312 h 830"/>
                <a:gd name="T30" fmla="*/ 1021104 w 946"/>
                <a:gd name="T31" fmla="*/ 85725 h 830"/>
                <a:gd name="T32" fmla="*/ 1031359 w 946"/>
                <a:gd name="T33" fmla="*/ 23812 h 830"/>
                <a:gd name="T34" fmla="*/ 980084 w 946"/>
                <a:gd name="T35" fmla="*/ 14288 h 830"/>
                <a:gd name="T36" fmla="*/ 934669 w 946"/>
                <a:gd name="T37" fmla="*/ 52388 h 830"/>
                <a:gd name="T38" fmla="*/ 912694 w 946"/>
                <a:gd name="T39" fmla="*/ 149225 h 830"/>
                <a:gd name="T40" fmla="*/ 900974 w 946"/>
                <a:gd name="T41" fmla="*/ 173037 h 830"/>
                <a:gd name="T42" fmla="*/ 861419 w 946"/>
                <a:gd name="T43" fmla="*/ 217488 h 830"/>
                <a:gd name="T44" fmla="*/ 753009 w 946"/>
                <a:gd name="T45" fmla="*/ 238125 h 830"/>
                <a:gd name="T46" fmla="*/ 663644 w 946"/>
                <a:gd name="T47" fmla="*/ 214313 h 830"/>
                <a:gd name="T48" fmla="*/ 625554 w 946"/>
                <a:gd name="T49" fmla="*/ 255588 h 830"/>
                <a:gd name="T50" fmla="*/ 544979 w 946"/>
                <a:gd name="T51" fmla="*/ 276225 h 830"/>
                <a:gd name="T52" fmla="*/ 476124 w 946"/>
                <a:gd name="T53" fmla="*/ 342900 h 830"/>
                <a:gd name="T54" fmla="*/ 449754 w 946"/>
                <a:gd name="T55" fmla="*/ 377825 h 830"/>
                <a:gd name="T56" fmla="*/ 449754 w 946"/>
                <a:gd name="T57" fmla="*/ 487363 h 830"/>
                <a:gd name="T58" fmla="*/ 417524 w 946"/>
                <a:gd name="T59" fmla="*/ 473075 h 830"/>
                <a:gd name="T60" fmla="*/ 241725 w 946"/>
                <a:gd name="T61" fmla="*/ 454025 h 830"/>
                <a:gd name="T62" fmla="*/ 184590 w 946"/>
                <a:gd name="T63" fmla="*/ 554038 h 830"/>
                <a:gd name="T64" fmla="*/ 232935 w 946"/>
                <a:gd name="T65" fmla="*/ 677862 h 830"/>
                <a:gd name="T66" fmla="*/ 230005 w 946"/>
                <a:gd name="T67" fmla="*/ 833438 h 830"/>
                <a:gd name="T68" fmla="*/ 230005 w 946"/>
                <a:gd name="T69" fmla="*/ 992188 h 830"/>
                <a:gd name="T70" fmla="*/ 178730 w 946"/>
                <a:gd name="T71" fmla="*/ 912813 h 830"/>
                <a:gd name="T72" fmla="*/ 208030 w 946"/>
                <a:gd name="T73" fmla="*/ 806450 h 830"/>
                <a:gd name="T74" fmla="*/ 172870 w 946"/>
                <a:gd name="T75" fmla="*/ 788987 h 830"/>
                <a:gd name="T76" fmla="*/ 219750 w 946"/>
                <a:gd name="T77" fmla="*/ 701675 h 830"/>
                <a:gd name="T78" fmla="*/ 84970 w 946"/>
                <a:gd name="T79" fmla="*/ 577850 h 830"/>
                <a:gd name="T80" fmla="*/ 92295 w 946"/>
                <a:gd name="T81" fmla="*/ 665162 h 830"/>
                <a:gd name="T82" fmla="*/ 108410 w 946"/>
                <a:gd name="T83" fmla="*/ 762000 h 830"/>
                <a:gd name="T84" fmla="*/ 41020 w 946"/>
                <a:gd name="T85" fmla="*/ 868363 h 830"/>
                <a:gd name="T86" fmla="*/ 19045 w 946"/>
                <a:gd name="T87" fmla="*/ 954088 h 830"/>
                <a:gd name="T88" fmla="*/ 120130 w 946"/>
                <a:gd name="T89" fmla="*/ 1012825 h 830"/>
                <a:gd name="T90" fmla="*/ 124525 w 946"/>
                <a:gd name="T91" fmla="*/ 1144588 h 830"/>
                <a:gd name="T92" fmla="*/ 187520 w 946"/>
                <a:gd name="T93" fmla="*/ 1293813 h 830"/>
                <a:gd name="T94" fmla="*/ 279815 w 946"/>
                <a:gd name="T95" fmla="*/ 1203325 h 830"/>
                <a:gd name="T96" fmla="*/ 351599 w 946"/>
                <a:gd name="T97" fmla="*/ 1311275 h 830"/>
                <a:gd name="T98" fmla="*/ 587464 w 946"/>
                <a:gd name="T99" fmla="*/ 1204913 h 830"/>
                <a:gd name="T100" fmla="*/ 650459 w 946"/>
                <a:gd name="T101" fmla="*/ 1111250 h 830"/>
                <a:gd name="T102" fmla="*/ 864349 w 946"/>
                <a:gd name="T103" fmla="*/ 1012825 h 830"/>
                <a:gd name="T104" fmla="*/ 1021104 w 946"/>
                <a:gd name="T105" fmla="*/ 1096963 h 830"/>
                <a:gd name="T106" fmla="*/ 1110468 w 946"/>
                <a:gd name="T107" fmla="*/ 1085850 h 830"/>
                <a:gd name="T108" fmla="*/ 1201298 w 946"/>
                <a:gd name="T109" fmla="*/ 1031875 h 830"/>
                <a:gd name="T110" fmla="*/ 1318498 w 946"/>
                <a:gd name="T111" fmla="*/ 909638 h 830"/>
                <a:gd name="T112" fmla="*/ 1350728 w 946"/>
                <a:gd name="T113" fmla="*/ 747712 h 830"/>
                <a:gd name="T114" fmla="*/ 1271618 w 946"/>
                <a:gd name="T115" fmla="*/ 609600 h 830"/>
                <a:gd name="T116" fmla="*/ 1267223 w 946"/>
                <a:gd name="T117" fmla="*/ 504825 h 8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6"/>
                <a:gd name="T178" fmla="*/ 0 h 830"/>
                <a:gd name="T179" fmla="*/ 946 w 946"/>
                <a:gd name="T180" fmla="*/ 830 h 8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6" h="830">
                  <a:moveTo>
                    <a:pt x="874" y="303"/>
                  </a:moveTo>
                  <a:lnTo>
                    <a:pt x="874" y="303"/>
                  </a:lnTo>
                  <a:lnTo>
                    <a:pt x="872" y="301"/>
                  </a:lnTo>
                  <a:lnTo>
                    <a:pt x="872" y="294"/>
                  </a:lnTo>
                  <a:lnTo>
                    <a:pt x="867" y="286"/>
                  </a:lnTo>
                  <a:lnTo>
                    <a:pt x="861" y="294"/>
                  </a:lnTo>
                  <a:lnTo>
                    <a:pt x="854" y="299"/>
                  </a:lnTo>
                  <a:lnTo>
                    <a:pt x="850" y="296"/>
                  </a:lnTo>
                  <a:lnTo>
                    <a:pt x="844" y="294"/>
                  </a:lnTo>
                  <a:lnTo>
                    <a:pt x="841" y="299"/>
                  </a:lnTo>
                  <a:lnTo>
                    <a:pt x="833" y="305"/>
                  </a:lnTo>
                  <a:lnTo>
                    <a:pt x="830" y="312"/>
                  </a:lnTo>
                  <a:lnTo>
                    <a:pt x="828" y="318"/>
                  </a:lnTo>
                  <a:lnTo>
                    <a:pt x="833" y="320"/>
                  </a:lnTo>
                  <a:lnTo>
                    <a:pt x="839" y="318"/>
                  </a:lnTo>
                  <a:lnTo>
                    <a:pt x="846" y="314"/>
                  </a:lnTo>
                  <a:lnTo>
                    <a:pt x="854" y="309"/>
                  </a:lnTo>
                  <a:lnTo>
                    <a:pt x="859" y="309"/>
                  </a:lnTo>
                  <a:lnTo>
                    <a:pt x="863" y="309"/>
                  </a:lnTo>
                  <a:lnTo>
                    <a:pt x="863" y="310"/>
                  </a:lnTo>
                  <a:lnTo>
                    <a:pt x="865" y="312"/>
                  </a:lnTo>
                  <a:lnTo>
                    <a:pt x="861" y="320"/>
                  </a:lnTo>
                  <a:lnTo>
                    <a:pt x="856" y="329"/>
                  </a:lnTo>
                  <a:lnTo>
                    <a:pt x="850" y="334"/>
                  </a:lnTo>
                  <a:lnTo>
                    <a:pt x="844" y="344"/>
                  </a:lnTo>
                  <a:lnTo>
                    <a:pt x="832" y="338"/>
                  </a:lnTo>
                  <a:lnTo>
                    <a:pt x="822" y="333"/>
                  </a:lnTo>
                  <a:lnTo>
                    <a:pt x="820" y="344"/>
                  </a:lnTo>
                  <a:lnTo>
                    <a:pt x="820" y="355"/>
                  </a:lnTo>
                  <a:lnTo>
                    <a:pt x="813" y="357"/>
                  </a:lnTo>
                  <a:lnTo>
                    <a:pt x="806" y="357"/>
                  </a:lnTo>
                  <a:lnTo>
                    <a:pt x="804" y="366"/>
                  </a:lnTo>
                  <a:lnTo>
                    <a:pt x="800" y="375"/>
                  </a:lnTo>
                  <a:lnTo>
                    <a:pt x="780" y="375"/>
                  </a:lnTo>
                  <a:lnTo>
                    <a:pt x="765" y="375"/>
                  </a:lnTo>
                  <a:lnTo>
                    <a:pt x="759" y="384"/>
                  </a:lnTo>
                  <a:lnTo>
                    <a:pt x="754" y="395"/>
                  </a:lnTo>
                  <a:lnTo>
                    <a:pt x="752" y="401"/>
                  </a:lnTo>
                  <a:lnTo>
                    <a:pt x="747" y="405"/>
                  </a:lnTo>
                  <a:lnTo>
                    <a:pt x="741" y="408"/>
                  </a:lnTo>
                  <a:lnTo>
                    <a:pt x="734" y="410"/>
                  </a:lnTo>
                  <a:lnTo>
                    <a:pt x="732" y="408"/>
                  </a:lnTo>
                  <a:lnTo>
                    <a:pt x="730" y="407"/>
                  </a:lnTo>
                  <a:lnTo>
                    <a:pt x="732" y="403"/>
                  </a:lnTo>
                  <a:lnTo>
                    <a:pt x="735" y="399"/>
                  </a:lnTo>
                  <a:lnTo>
                    <a:pt x="743" y="390"/>
                  </a:lnTo>
                  <a:lnTo>
                    <a:pt x="748" y="386"/>
                  </a:lnTo>
                  <a:lnTo>
                    <a:pt x="748" y="381"/>
                  </a:lnTo>
                  <a:lnTo>
                    <a:pt x="747" y="375"/>
                  </a:lnTo>
                  <a:lnTo>
                    <a:pt x="759" y="364"/>
                  </a:lnTo>
                  <a:lnTo>
                    <a:pt x="774" y="355"/>
                  </a:lnTo>
                  <a:lnTo>
                    <a:pt x="774" y="346"/>
                  </a:lnTo>
                  <a:lnTo>
                    <a:pt x="774" y="336"/>
                  </a:lnTo>
                  <a:lnTo>
                    <a:pt x="787" y="333"/>
                  </a:lnTo>
                  <a:lnTo>
                    <a:pt x="802" y="329"/>
                  </a:lnTo>
                  <a:lnTo>
                    <a:pt x="806" y="318"/>
                  </a:lnTo>
                  <a:lnTo>
                    <a:pt x="809" y="307"/>
                  </a:lnTo>
                  <a:lnTo>
                    <a:pt x="820" y="299"/>
                  </a:lnTo>
                  <a:lnTo>
                    <a:pt x="832" y="292"/>
                  </a:lnTo>
                  <a:lnTo>
                    <a:pt x="830" y="283"/>
                  </a:lnTo>
                  <a:lnTo>
                    <a:pt x="826" y="270"/>
                  </a:lnTo>
                  <a:lnTo>
                    <a:pt x="830" y="266"/>
                  </a:lnTo>
                  <a:lnTo>
                    <a:pt x="835" y="266"/>
                  </a:lnTo>
                  <a:lnTo>
                    <a:pt x="841" y="262"/>
                  </a:lnTo>
                  <a:lnTo>
                    <a:pt x="846" y="253"/>
                  </a:lnTo>
                  <a:lnTo>
                    <a:pt x="850" y="251"/>
                  </a:lnTo>
                  <a:lnTo>
                    <a:pt x="856" y="251"/>
                  </a:lnTo>
                  <a:lnTo>
                    <a:pt x="857" y="249"/>
                  </a:lnTo>
                  <a:lnTo>
                    <a:pt x="859" y="248"/>
                  </a:lnTo>
                  <a:lnTo>
                    <a:pt x="863" y="242"/>
                  </a:lnTo>
                  <a:lnTo>
                    <a:pt x="863" y="233"/>
                  </a:lnTo>
                  <a:lnTo>
                    <a:pt x="868" y="231"/>
                  </a:lnTo>
                  <a:lnTo>
                    <a:pt x="874" y="229"/>
                  </a:lnTo>
                  <a:lnTo>
                    <a:pt x="878" y="227"/>
                  </a:lnTo>
                  <a:lnTo>
                    <a:pt x="880" y="225"/>
                  </a:lnTo>
                  <a:lnTo>
                    <a:pt x="881" y="222"/>
                  </a:lnTo>
                  <a:lnTo>
                    <a:pt x="881" y="214"/>
                  </a:lnTo>
                  <a:lnTo>
                    <a:pt x="883" y="211"/>
                  </a:lnTo>
                  <a:lnTo>
                    <a:pt x="887" y="209"/>
                  </a:lnTo>
                  <a:lnTo>
                    <a:pt x="891" y="207"/>
                  </a:lnTo>
                  <a:lnTo>
                    <a:pt x="894" y="207"/>
                  </a:lnTo>
                  <a:lnTo>
                    <a:pt x="896" y="205"/>
                  </a:lnTo>
                  <a:lnTo>
                    <a:pt x="900" y="200"/>
                  </a:lnTo>
                  <a:lnTo>
                    <a:pt x="902" y="192"/>
                  </a:lnTo>
                  <a:lnTo>
                    <a:pt x="904" y="179"/>
                  </a:lnTo>
                  <a:lnTo>
                    <a:pt x="904" y="174"/>
                  </a:lnTo>
                  <a:lnTo>
                    <a:pt x="902" y="168"/>
                  </a:lnTo>
                  <a:lnTo>
                    <a:pt x="900" y="164"/>
                  </a:lnTo>
                  <a:lnTo>
                    <a:pt x="896" y="163"/>
                  </a:lnTo>
                  <a:lnTo>
                    <a:pt x="891" y="163"/>
                  </a:lnTo>
                  <a:lnTo>
                    <a:pt x="883" y="161"/>
                  </a:lnTo>
                  <a:lnTo>
                    <a:pt x="876" y="155"/>
                  </a:lnTo>
                  <a:lnTo>
                    <a:pt x="870" y="148"/>
                  </a:lnTo>
                  <a:lnTo>
                    <a:pt x="870" y="144"/>
                  </a:lnTo>
                  <a:lnTo>
                    <a:pt x="868" y="142"/>
                  </a:lnTo>
                  <a:lnTo>
                    <a:pt x="868" y="139"/>
                  </a:lnTo>
                  <a:lnTo>
                    <a:pt x="870" y="137"/>
                  </a:lnTo>
                  <a:lnTo>
                    <a:pt x="878" y="139"/>
                  </a:lnTo>
                  <a:lnTo>
                    <a:pt x="885" y="140"/>
                  </a:lnTo>
                  <a:lnTo>
                    <a:pt x="887" y="146"/>
                  </a:lnTo>
                  <a:lnTo>
                    <a:pt x="889" y="150"/>
                  </a:lnTo>
                  <a:lnTo>
                    <a:pt x="891" y="150"/>
                  </a:lnTo>
                  <a:lnTo>
                    <a:pt x="894" y="150"/>
                  </a:lnTo>
                  <a:lnTo>
                    <a:pt x="894" y="139"/>
                  </a:lnTo>
                  <a:lnTo>
                    <a:pt x="894" y="133"/>
                  </a:lnTo>
                  <a:lnTo>
                    <a:pt x="892" y="128"/>
                  </a:lnTo>
                  <a:lnTo>
                    <a:pt x="887" y="124"/>
                  </a:lnTo>
                  <a:lnTo>
                    <a:pt x="887" y="116"/>
                  </a:lnTo>
                  <a:lnTo>
                    <a:pt x="885" y="109"/>
                  </a:lnTo>
                  <a:lnTo>
                    <a:pt x="883" y="102"/>
                  </a:lnTo>
                  <a:lnTo>
                    <a:pt x="878" y="100"/>
                  </a:lnTo>
                  <a:lnTo>
                    <a:pt x="874" y="107"/>
                  </a:lnTo>
                  <a:lnTo>
                    <a:pt x="872" y="115"/>
                  </a:lnTo>
                  <a:lnTo>
                    <a:pt x="867" y="111"/>
                  </a:lnTo>
                  <a:lnTo>
                    <a:pt x="865" y="107"/>
                  </a:lnTo>
                  <a:lnTo>
                    <a:pt x="863" y="105"/>
                  </a:lnTo>
                  <a:lnTo>
                    <a:pt x="865" y="102"/>
                  </a:lnTo>
                  <a:lnTo>
                    <a:pt x="865" y="96"/>
                  </a:lnTo>
                  <a:lnTo>
                    <a:pt x="865" y="92"/>
                  </a:lnTo>
                  <a:lnTo>
                    <a:pt x="863" y="92"/>
                  </a:lnTo>
                  <a:lnTo>
                    <a:pt x="859" y="92"/>
                  </a:lnTo>
                  <a:lnTo>
                    <a:pt x="850" y="96"/>
                  </a:lnTo>
                  <a:lnTo>
                    <a:pt x="844" y="96"/>
                  </a:lnTo>
                  <a:lnTo>
                    <a:pt x="843" y="91"/>
                  </a:lnTo>
                  <a:lnTo>
                    <a:pt x="844" y="83"/>
                  </a:lnTo>
                  <a:lnTo>
                    <a:pt x="839" y="78"/>
                  </a:lnTo>
                  <a:lnTo>
                    <a:pt x="835" y="74"/>
                  </a:lnTo>
                  <a:lnTo>
                    <a:pt x="833" y="70"/>
                  </a:lnTo>
                  <a:lnTo>
                    <a:pt x="832" y="67"/>
                  </a:lnTo>
                  <a:lnTo>
                    <a:pt x="828" y="65"/>
                  </a:lnTo>
                  <a:lnTo>
                    <a:pt x="822" y="67"/>
                  </a:lnTo>
                  <a:lnTo>
                    <a:pt x="809" y="72"/>
                  </a:lnTo>
                  <a:lnTo>
                    <a:pt x="795" y="76"/>
                  </a:lnTo>
                  <a:lnTo>
                    <a:pt x="776" y="72"/>
                  </a:lnTo>
                  <a:lnTo>
                    <a:pt x="761" y="72"/>
                  </a:lnTo>
                  <a:lnTo>
                    <a:pt x="759" y="74"/>
                  </a:lnTo>
                  <a:lnTo>
                    <a:pt x="761" y="78"/>
                  </a:lnTo>
                  <a:lnTo>
                    <a:pt x="763" y="81"/>
                  </a:lnTo>
                  <a:lnTo>
                    <a:pt x="767" y="87"/>
                  </a:lnTo>
                  <a:lnTo>
                    <a:pt x="765" y="92"/>
                  </a:lnTo>
                  <a:lnTo>
                    <a:pt x="761" y="94"/>
                  </a:lnTo>
                  <a:lnTo>
                    <a:pt x="758" y="96"/>
                  </a:lnTo>
                  <a:lnTo>
                    <a:pt x="750" y="98"/>
                  </a:lnTo>
                  <a:lnTo>
                    <a:pt x="745" y="96"/>
                  </a:lnTo>
                  <a:lnTo>
                    <a:pt x="741" y="94"/>
                  </a:lnTo>
                  <a:lnTo>
                    <a:pt x="737" y="92"/>
                  </a:lnTo>
                  <a:lnTo>
                    <a:pt x="735" y="89"/>
                  </a:lnTo>
                  <a:lnTo>
                    <a:pt x="745" y="74"/>
                  </a:lnTo>
                  <a:lnTo>
                    <a:pt x="750" y="57"/>
                  </a:lnTo>
                  <a:lnTo>
                    <a:pt x="747" y="55"/>
                  </a:lnTo>
                  <a:lnTo>
                    <a:pt x="743" y="54"/>
                  </a:lnTo>
                  <a:lnTo>
                    <a:pt x="739" y="55"/>
                  </a:lnTo>
                  <a:lnTo>
                    <a:pt x="735" y="55"/>
                  </a:lnTo>
                  <a:lnTo>
                    <a:pt x="724" y="57"/>
                  </a:lnTo>
                  <a:lnTo>
                    <a:pt x="715" y="59"/>
                  </a:lnTo>
                  <a:lnTo>
                    <a:pt x="711" y="55"/>
                  </a:lnTo>
                  <a:lnTo>
                    <a:pt x="710" y="52"/>
                  </a:lnTo>
                  <a:lnTo>
                    <a:pt x="704" y="52"/>
                  </a:lnTo>
                  <a:lnTo>
                    <a:pt x="700" y="54"/>
                  </a:lnTo>
                  <a:lnTo>
                    <a:pt x="697" y="54"/>
                  </a:lnTo>
                  <a:lnTo>
                    <a:pt x="695" y="52"/>
                  </a:lnTo>
                  <a:lnTo>
                    <a:pt x="693" y="50"/>
                  </a:lnTo>
                  <a:lnTo>
                    <a:pt x="693" y="46"/>
                  </a:lnTo>
                  <a:lnTo>
                    <a:pt x="695" y="41"/>
                  </a:lnTo>
                  <a:lnTo>
                    <a:pt x="702" y="35"/>
                  </a:lnTo>
                  <a:lnTo>
                    <a:pt x="711" y="31"/>
                  </a:lnTo>
                  <a:lnTo>
                    <a:pt x="719" y="28"/>
                  </a:lnTo>
                  <a:lnTo>
                    <a:pt x="715" y="20"/>
                  </a:lnTo>
                  <a:lnTo>
                    <a:pt x="708" y="15"/>
                  </a:lnTo>
                  <a:lnTo>
                    <a:pt x="704" y="15"/>
                  </a:lnTo>
                  <a:lnTo>
                    <a:pt x="702" y="15"/>
                  </a:lnTo>
                  <a:lnTo>
                    <a:pt x="699" y="15"/>
                  </a:lnTo>
                  <a:lnTo>
                    <a:pt x="695" y="11"/>
                  </a:lnTo>
                  <a:lnTo>
                    <a:pt x="693" y="6"/>
                  </a:lnTo>
                  <a:lnTo>
                    <a:pt x="689" y="2"/>
                  </a:lnTo>
                  <a:lnTo>
                    <a:pt x="686" y="0"/>
                  </a:lnTo>
                  <a:lnTo>
                    <a:pt x="680" y="0"/>
                  </a:lnTo>
                  <a:lnTo>
                    <a:pt x="675" y="0"/>
                  </a:lnTo>
                  <a:lnTo>
                    <a:pt x="671" y="4"/>
                  </a:lnTo>
                  <a:lnTo>
                    <a:pt x="669" y="9"/>
                  </a:lnTo>
                  <a:lnTo>
                    <a:pt x="665" y="13"/>
                  </a:lnTo>
                  <a:lnTo>
                    <a:pt x="662" y="15"/>
                  </a:lnTo>
                  <a:lnTo>
                    <a:pt x="658" y="17"/>
                  </a:lnTo>
                  <a:lnTo>
                    <a:pt x="656" y="19"/>
                  </a:lnTo>
                  <a:lnTo>
                    <a:pt x="656" y="20"/>
                  </a:lnTo>
                  <a:lnTo>
                    <a:pt x="654" y="26"/>
                  </a:lnTo>
                  <a:lnTo>
                    <a:pt x="652" y="31"/>
                  </a:lnTo>
                  <a:lnTo>
                    <a:pt x="647" y="33"/>
                  </a:lnTo>
                  <a:lnTo>
                    <a:pt x="641" y="33"/>
                  </a:lnTo>
                  <a:lnTo>
                    <a:pt x="638" y="33"/>
                  </a:lnTo>
                  <a:lnTo>
                    <a:pt x="634" y="37"/>
                  </a:lnTo>
                  <a:lnTo>
                    <a:pt x="632" y="43"/>
                  </a:lnTo>
                  <a:lnTo>
                    <a:pt x="630" y="50"/>
                  </a:lnTo>
                  <a:lnTo>
                    <a:pt x="626" y="61"/>
                  </a:lnTo>
                  <a:lnTo>
                    <a:pt x="625" y="72"/>
                  </a:lnTo>
                  <a:lnTo>
                    <a:pt x="619" y="76"/>
                  </a:lnTo>
                  <a:lnTo>
                    <a:pt x="619" y="79"/>
                  </a:lnTo>
                  <a:lnTo>
                    <a:pt x="623" y="85"/>
                  </a:lnTo>
                  <a:lnTo>
                    <a:pt x="625" y="91"/>
                  </a:lnTo>
                  <a:lnTo>
                    <a:pt x="623" y="94"/>
                  </a:lnTo>
                  <a:lnTo>
                    <a:pt x="623" y="100"/>
                  </a:lnTo>
                  <a:lnTo>
                    <a:pt x="630" y="104"/>
                  </a:lnTo>
                  <a:lnTo>
                    <a:pt x="639" y="109"/>
                  </a:lnTo>
                  <a:lnTo>
                    <a:pt x="641" y="111"/>
                  </a:lnTo>
                  <a:lnTo>
                    <a:pt x="643" y="115"/>
                  </a:lnTo>
                  <a:lnTo>
                    <a:pt x="643" y="116"/>
                  </a:lnTo>
                  <a:lnTo>
                    <a:pt x="641" y="120"/>
                  </a:lnTo>
                  <a:lnTo>
                    <a:pt x="634" y="116"/>
                  </a:lnTo>
                  <a:lnTo>
                    <a:pt x="623" y="111"/>
                  </a:lnTo>
                  <a:lnTo>
                    <a:pt x="615" y="109"/>
                  </a:lnTo>
                  <a:lnTo>
                    <a:pt x="604" y="105"/>
                  </a:lnTo>
                  <a:lnTo>
                    <a:pt x="591" y="105"/>
                  </a:lnTo>
                  <a:lnTo>
                    <a:pt x="575" y="105"/>
                  </a:lnTo>
                  <a:lnTo>
                    <a:pt x="578" y="115"/>
                  </a:lnTo>
                  <a:lnTo>
                    <a:pt x="586" y="122"/>
                  </a:lnTo>
                  <a:lnTo>
                    <a:pt x="590" y="128"/>
                  </a:lnTo>
                  <a:lnTo>
                    <a:pt x="593" y="131"/>
                  </a:lnTo>
                  <a:lnTo>
                    <a:pt x="593" y="137"/>
                  </a:lnTo>
                  <a:lnTo>
                    <a:pt x="593" y="140"/>
                  </a:lnTo>
                  <a:lnTo>
                    <a:pt x="588" y="137"/>
                  </a:lnTo>
                  <a:lnTo>
                    <a:pt x="582" y="131"/>
                  </a:lnTo>
                  <a:lnTo>
                    <a:pt x="575" y="129"/>
                  </a:lnTo>
                  <a:lnTo>
                    <a:pt x="569" y="128"/>
                  </a:lnTo>
                  <a:lnTo>
                    <a:pt x="564" y="128"/>
                  </a:lnTo>
                  <a:lnTo>
                    <a:pt x="558" y="131"/>
                  </a:lnTo>
                  <a:lnTo>
                    <a:pt x="553" y="137"/>
                  </a:lnTo>
                  <a:lnTo>
                    <a:pt x="549" y="144"/>
                  </a:lnTo>
                  <a:lnTo>
                    <a:pt x="540" y="148"/>
                  </a:lnTo>
                  <a:lnTo>
                    <a:pt x="529" y="153"/>
                  </a:lnTo>
                  <a:lnTo>
                    <a:pt x="514" y="150"/>
                  </a:lnTo>
                  <a:lnTo>
                    <a:pt x="505" y="150"/>
                  </a:lnTo>
                  <a:lnTo>
                    <a:pt x="508" y="144"/>
                  </a:lnTo>
                  <a:lnTo>
                    <a:pt x="510" y="137"/>
                  </a:lnTo>
                  <a:lnTo>
                    <a:pt x="490" y="133"/>
                  </a:lnTo>
                  <a:lnTo>
                    <a:pt x="469" y="129"/>
                  </a:lnTo>
                  <a:lnTo>
                    <a:pt x="466" y="135"/>
                  </a:lnTo>
                  <a:lnTo>
                    <a:pt x="462" y="139"/>
                  </a:lnTo>
                  <a:lnTo>
                    <a:pt x="458" y="137"/>
                  </a:lnTo>
                  <a:lnTo>
                    <a:pt x="457" y="135"/>
                  </a:lnTo>
                  <a:lnTo>
                    <a:pt x="453" y="135"/>
                  </a:lnTo>
                  <a:lnTo>
                    <a:pt x="449" y="137"/>
                  </a:lnTo>
                  <a:lnTo>
                    <a:pt x="449" y="140"/>
                  </a:lnTo>
                  <a:lnTo>
                    <a:pt x="449" y="142"/>
                  </a:lnTo>
                  <a:lnTo>
                    <a:pt x="453" y="142"/>
                  </a:lnTo>
                  <a:lnTo>
                    <a:pt x="455" y="144"/>
                  </a:lnTo>
                  <a:lnTo>
                    <a:pt x="460" y="146"/>
                  </a:lnTo>
                  <a:lnTo>
                    <a:pt x="462" y="148"/>
                  </a:lnTo>
                  <a:lnTo>
                    <a:pt x="451" y="155"/>
                  </a:lnTo>
                  <a:lnTo>
                    <a:pt x="433" y="164"/>
                  </a:lnTo>
                  <a:lnTo>
                    <a:pt x="427" y="161"/>
                  </a:lnTo>
                  <a:lnTo>
                    <a:pt x="423" y="161"/>
                  </a:lnTo>
                  <a:lnTo>
                    <a:pt x="418" y="163"/>
                  </a:lnTo>
                  <a:lnTo>
                    <a:pt x="412" y="166"/>
                  </a:lnTo>
                  <a:lnTo>
                    <a:pt x="405" y="166"/>
                  </a:lnTo>
                  <a:lnTo>
                    <a:pt x="399" y="163"/>
                  </a:lnTo>
                  <a:lnTo>
                    <a:pt x="396" y="163"/>
                  </a:lnTo>
                  <a:lnTo>
                    <a:pt x="392" y="163"/>
                  </a:lnTo>
                  <a:lnTo>
                    <a:pt x="386" y="166"/>
                  </a:lnTo>
                  <a:lnTo>
                    <a:pt x="381" y="172"/>
                  </a:lnTo>
                  <a:lnTo>
                    <a:pt x="372" y="174"/>
                  </a:lnTo>
                  <a:lnTo>
                    <a:pt x="362" y="170"/>
                  </a:lnTo>
                  <a:lnTo>
                    <a:pt x="359" y="172"/>
                  </a:lnTo>
                  <a:lnTo>
                    <a:pt x="351" y="174"/>
                  </a:lnTo>
                  <a:lnTo>
                    <a:pt x="346" y="181"/>
                  </a:lnTo>
                  <a:lnTo>
                    <a:pt x="336" y="192"/>
                  </a:lnTo>
                  <a:lnTo>
                    <a:pt x="327" y="192"/>
                  </a:lnTo>
                  <a:lnTo>
                    <a:pt x="322" y="194"/>
                  </a:lnTo>
                  <a:lnTo>
                    <a:pt x="325" y="205"/>
                  </a:lnTo>
                  <a:lnTo>
                    <a:pt x="327" y="214"/>
                  </a:lnTo>
                  <a:lnTo>
                    <a:pt x="325" y="216"/>
                  </a:lnTo>
                  <a:lnTo>
                    <a:pt x="320" y="220"/>
                  </a:lnTo>
                  <a:lnTo>
                    <a:pt x="316" y="224"/>
                  </a:lnTo>
                  <a:lnTo>
                    <a:pt x="311" y="224"/>
                  </a:lnTo>
                  <a:lnTo>
                    <a:pt x="305" y="216"/>
                  </a:lnTo>
                  <a:lnTo>
                    <a:pt x="300" y="211"/>
                  </a:lnTo>
                  <a:lnTo>
                    <a:pt x="298" y="214"/>
                  </a:lnTo>
                  <a:lnTo>
                    <a:pt x="298" y="218"/>
                  </a:lnTo>
                  <a:lnTo>
                    <a:pt x="300" y="224"/>
                  </a:lnTo>
                  <a:lnTo>
                    <a:pt x="301" y="227"/>
                  </a:lnTo>
                  <a:lnTo>
                    <a:pt x="307" y="238"/>
                  </a:lnTo>
                  <a:lnTo>
                    <a:pt x="311" y="249"/>
                  </a:lnTo>
                  <a:lnTo>
                    <a:pt x="307" y="257"/>
                  </a:lnTo>
                  <a:lnTo>
                    <a:pt x="305" y="26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7"/>
                  </a:lnTo>
                  <a:lnTo>
                    <a:pt x="305" y="283"/>
                  </a:lnTo>
                  <a:lnTo>
                    <a:pt x="309" y="292"/>
                  </a:lnTo>
                  <a:lnTo>
                    <a:pt x="312" y="299"/>
                  </a:lnTo>
                  <a:lnTo>
                    <a:pt x="307" y="307"/>
                  </a:lnTo>
                  <a:lnTo>
                    <a:pt x="301" y="312"/>
                  </a:lnTo>
                  <a:lnTo>
                    <a:pt x="294" y="316"/>
                  </a:lnTo>
                  <a:lnTo>
                    <a:pt x="288" y="316"/>
                  </a:lnTo>
                  <a:lnTo>
                    <a:pt x="283" y="316"/>
                  </a:lnTo>
                  <a:lnTo>
                    <a:pt x="281" y="316"/>
                  </a:lnTo>
                  <a:lnTo>
                    <a:pt x="277" y="312"/>
                  </a:lnTo>
                  <a:lnTo>
                    <a:pt x="279" y="309"/>
                  </a:lnTo>
                  <a:lnTo>
                    <a:pt x="283" y="303"/>
                  </a:lnTo>
                  <a:lnTo>
                    <a:pt x="285" y="299"/>
                  </a:lnTo>
                  <a:lnTo>
                    <a:pt x="285" y="298"/>
                  </a:lnTo>
                  <a:lnTo>
                    <a:pt x="281" y="294"/>
                  </a:lnTo>
                  <a:lnTo>
                    <a:pt x="268" y="296"/>
                  </a:lnTo>
                  <a:lnTo>
                    <a:pt x="257" y="299"/>
                  </a:lnTo>
                  <a:lnTo>
                    <a:pt x="242" y="296"/>
                  </a:lnTo>
                  <a:lnTo>
                    <a:pt x="227" y="296"/>
                  </a:lnTo>
                  <a:lnTo>
                    <a:pt x="213" y="294"/>
                  </a:lnTo>
                  <a:lnTo>
                    <a:pt x="196" y="294"/>
                  </a:lnTo>
                  <a:lnTo>
                    <a:pt x="185" y="292"/>
                  </a:lnTo>
                  <a:lnTo>
                    <a:pt x="172" y="288"/>
                  </a:lnTo>
                  <a:lnTo>
                    <a:pt x="165" y="286"/>
                  </a:lnTo>
                  <a:lnTo>
                    <a:pt x="157" y="286"/>
                  </a:lnTo>
                  <a:lnTo>
                    <a:pt x="150" y="286"/>
                  </a:lnTo>
                  <a:lnTo>
                    <a:pt x="142" y="288"/>
                  </a:lnTo>
                  <a:lnTo>
                    <a:pt x="137" y="294"/>
                  </a:lnTo>
                  <a:lnTo>
                    <a:pt x="133" y="298"/>
                  </a:lnTo>
                  <a:lnTo>
                    <a:pt x="130" y="305"/>
                  </a:lnTo>
                  <a:lnTo>
                    <a:pt x="130" y="310"/>
                  </a:lnTo>
                  <a:lnTo>
                    <a:pt x="130" y="323"/>
                  </a:lnTo>
                  <a:lnTo>
                    <a:pt x="130" y="336"/>
                  </a:lnTo>
                  <a:lnTo>
                    <a:pt x="126" y="349"/>
                  </a:lnTo>
                  <a:lnTo>
                    <a:pt x="122" y="360"/>
                  </a:lnTo>
                  <a:lnTo>
                    <a:pt x="122" y="366"/>
                  </a:lnTo>
                  <a:lnTo>
                    <a:pt x="122" y="371"/>
                  </a:lnTo>
                  <a:lnTo>
                    <a:pt x="122" y="375"/>
                  </a:lnTo>
                  <a:lnTo>
                    <a:pt x="124" y="377"/>
                  </a:lnTo>
                  <a:lnTo>
                    <a:pt x="141" y="386"/>
                  </a:lnTo>
                  <a:lnTo>
                    <a:pt x="154" y="397"/>
                  </a:lnTo>
                  <a:lnTo>
                    <a:pt x="154" y="410"/>
                  </a:lnTo>
                  <a:lnTo>
                    <a:pt x="154" y="421"/>
                  </a:lnTo>
                  <a:lnTo>
                    <a:pt x="159" y="427"/>
                  </a:lnTo>
                  <a:lnTo>
                    <a:pt x="165" y="432"/>
                  </a:lnTo>
                  <a:lnTo>
                    <a:pt x="168" y="436"/>
                  </a:lnTo>
                  <a:lnTo>
                    <a:pt x="168" y="442"/>
                  </a:lnTo>
                  <a:lnTo>
                    <a:pt x="168" y="447"/>
                  </a:lnTo>
                  <a:lnTo>
                    <a:pt x="168" y="456"/>
                  </a:lnTo>
                  <a:lnTo>
                    <a:pt x="161" y="469"/>
                  </a:lnTo>
                  <a:lnTo>
                    <a:pt x="155" y="482"/>
                  </a:lnTo>
                  <a:lnTo>
                    <a:pt x="155" y="497"/>
                  </a:lnTo>
                  <a:lnTo>
                    <a:pt x="157" y="510"/>
                  </a:lnTo>
                  <a:lnTo>
                    <a:pt x="157" y="525"/>
                  </a:lnTo>
                  <a:lnTo>
                    <a:pt x="157" y="540"/>
                  </a:lnTo>
                  <a:lnTo>
                    <a:pt x="150" y="553"/>
                  </a:lnTo>
                  <a:lnTo>
                    <a:pt x="141" y="565"/>
                  </a:lnTo>
                  <a:lnTo>
                    <a:pt x="139" y="582"/>
                  </a:lnTo>
                  <a:lnTo>
                    <a:pt x="139" y="595"/>
                  </a:lnTo>
                  <a:lnTo>
                    <a:pt x="144" y="602"/>
                  </a:lnTo>
                  <a:lnTo>
                    <a:pt x="154" y="612"/>
                  </a:lnTo>
                  <a:lnTo>
                    <a:pt x="157" y="615"/>
                  </a:lnTo>
                  <a:lnTo>
                    <a:pt x="159" y="621"/>
                  </a:lnTo>
                  <a:lnTo>
                    <a:pt x="157" y="625"/>
                  </a:lnTo>
                  <a:lnTo>
                    <a:pt x="154" y="628"/>
                  </a:lnTo>
                  <a:lnTo>
                    <a:pt x="148" y="628"/>
                  </a:lnTo>
                  <a:lnTo>
                    <a:pt x="144" y="630"/>
                  </a:lnTo>
                  <a:lnTo>
                    <a:pt x="141" y="628"/>
                  </a:lnTo>
                  <a:lnTo>
                    <a:pt x="139" y="626"/>
                  </a:lnTo>
                  <a:lnTo>
                    <a:pt x="133" y="619"/>
                  </a:lnTo>
                  <a:lnTo>
                    <a:pt x="124" y="604"/>
                  </a:lnTo>
                  <a:lnTo>
                    <a:pt x="124" y="589"/>
                  </a:lnTo>
                  <a:lnTo>
                    <a:pt x="126" y="582"/>
                  </a:lnTo>
                  <a:lnTo>
                    <a:pt x="122" y="575"/>
                  </a:lnTo>
                  <a:lnTo>
                    <a:pt x="111" y="565"/>
                  </a:lnTo>
                  <a:lnTo>
                    <a:pt x="111" y="562"/>
                  </a:lnTo>
                  <a:lnTo>
                    <a:pt x="113" y="558"/>
                  </a:lnTo>
                  <a:lnTo>
                    <a:pt x="117" y="554"/>
                  </a:lnTo>
                  <a:lnTo>
                    <a:pt x="124" y="553"/>
                  </a:lnTo>
                  <a:lnTo>
                    <a:pt x="128" y="540"/>
                  </a:lnTo>
                  <a:lnTo>
                    <a:pt x="133" y="527"/>
                  </a:lnTo>
                  <a:lnTo>
                    <a:pt x="141" y="521"/>
                  </a:lnTo>
                  <a:lnTo>
                    <a:pt x="142" y="514"/>
                  </a:lnTo>
                  <a:lnTo>
                    <a:pt x="142" y="508"/>
                  </a:lnTo>
                  <a:lnTo>
                    <a:pt x="139" y="503"/>
                  </a:lnTo>
                  <a:lnTo>
                    <a:pt x="133" y="508"/>
                  </a:lnTo>
                  <a:lnTo>
                    <a:pt x="130" y="516"/>
                  </a:lnTo>
                  <a:lnTo>
                    <a:pt x="126" y="519"/>
                  </a:lnTo>
                  <a:lnTo>
                    <a:pt x="124" y="521"/>
                  </a:lnTo>
                  <a:lnTo>
                    <a:pt x="118" y="523"/>
                  </a:lnTo>
                  <a:lnTo>
                    <a:pt x="113" y="521"/>
                  </a:lnTo>
                  <a:lnTo>
                    <a:pt x="113" y="514"/>
                  </a:lnTo>
                  <a:lnTo>
                    <a:pt x="115" y="506"/>
                  </a:lnTo>
                  <a:lnTo>
                    <a:pt x="118" y="497"/>
                  </a:lnTo>
                  <a:lnTo>
                    <a:pt x="124" y="490"/>
                  </a:lnTo>
                  <a:lnTo>
                    <a:pt x="124" y="480"/>
                  </a:lnTo>
                  <a:lnTo>
                    <a:pt x="126" y="473"/>
                  </a:lnTo>
                  <a:lnTo>
                    <a:pt x="139" y="471"/>
                  </a:lnTo>
                  <a:lnTo>
                    <a:pt x="155" y="464"/>
                  </a:lnTo>
                  <a:lnTo>
                    <a:pt x="157" y="456"/>
                  </a:lnTo>
                  <a:lnTo>
                    <a:pt x="161" y="449"/>
                  </a:lnTo>
                  <a:lnTo>
                    <a:pt x="159" y="445"/>
                  </a:lnTo>
                  <a:lnTo>
                    <a:pt x="155" y="444"/>
                  </a:lnTo>
                  <a:lnTo>
                    <a:pt x="150" y="442"/>
                  </a:lnTo>
                  <a:lnTo>
                    <a:pt x="142" y="440"/>
                  </a:lnTo>
                  <a:lnTo>
                    <a:pt x="128" y="438"/>
                  </a:lnTo>
                  <a:lnTo>
                    <a:pt x="117" y="434"/>
                  </a:lnTo>
                  <a:lnTo>
                    <a:pt x="109" y="412"/>
                  </a:lnTo>
                  <a:lnTo>
                    <a:pt x="102" y="394"/>
                  </a:lnTo>
                  <a:lnTo>
                    <a:pt x="89" y="377"/>
                  </a:lnTo>
                  <a:lnTo>
                    <a:pt x="74" y="360"/>
                  </a:lnTo>
                  <a:lnTo>
                    <a:pt x="67" y="360"/>
                  </a:lnTo>
                  <a:lnTo>
                    <a:pt x="59" y="360"/>
                  </a:lnTo>
                  <a:lnTo>
                    <a:pt x="58" y="364"/>
                  </a:lnTo>
                  <a:lnTo>
                    <a:pt x="59" y="368"/>
                  </a:lnTo>
                  <a:lnTo>
                    <a:pt x="59" y="371"/>
                  </a:lnTo>
                  <a:lnTo>
                    <a:pt x="63" y="375"/>
                  </a:lnTo>
                  <a:lnTo>
                    <a:pt x="70" y="379"/>
                  </a:lnTo>
                  <a:lnTo>
                    <a:pt x="83" y="381"/>
                  </a:lnTo>
                  <a:lnTo>
                    <a:pt x="83" y="397"/>
                  </a:lnTo>
                  <a:lnTo>
                    <a:pt x="80" y="408"/>
                  </a:lnTo>
                  <a:lnTo>
                    <a:pt x="74" y="414"/>
                  </a:lnTo>
                  <a:lnTo>
                    <a:pt x="69" y="418"/>
                  </a:lnTo>
                  <a:lnTo>
                    <a:pt x="63" y="419"/>
                  </a:lnTo>
                  <a:lnTo>
                    <a:pt x="56" y="421"/>
                  </a:lnTo>
                  <a:lnTo>
                    <a:pt x="52" y="423"/>
                  </a:lnTo>
                  <a:lnTo>
                    <a:pt x="50" y="429"/>
                  </a:lnTo>
                  <a:lnTo>
                    <a:pt x="52" y="436"/>
                  </a:lnTo>
                  <a:lnTo>
                    <a:pt x="56" y="442"/>
                  </a:lnTo>
                  <a:lnTo>
                    <a:pt x="61" y="449"/>
                  </a:lnTo>
                  <a:lnTo>
                    <a:pt x="65" y="455"/>
                  </a:lnTo>
                  <a:lnTo>
                    <a:pt x="70" y="462"/>
                  </a:lnTo>
                  <a:lnTo>
                    <a:pt x="72" y="471"/>
                  </a:lnTo>
                  <a:lnTo>
                    <a:pt x="74" y="480"/>
                  </a:lnTo>
                  <a:lnTo>
                    <a:pt x="74" y="493"/>
                  </a:lnTo>
                  <a:lnTo>
                    <a:pt x="74" y="503"/>
                  </a:lnTo>
                  <a:lnTo>
                    <a:pt x="74" y="512"/>
                  </a:lnTo>
                  <a:lnTo>
                    <a:pt x="72" y="519"/>
                  </a:lnTo>
                  <a:lnTo>
                    <a:pt x="69" y="525"/>
                  </a:lnTo>
                  <a:lnTo>
                    <a:pt x="59" y="525"/>
                  </a:lnTo>
                  <a:lnTo>
                    <a:pt x="48" y="525"/>
                  </a:lnTo>
                  <a:lnTo>
                    <a:pt x="41" y="536"/>
                  </a:lnTo>
                  <a:lnTo>
                    <a:pt x="34" y="543"/>
                  </a:lnTo>
                  <a:lnTo>
                    <a:pt x="28" y="547"/>
                  </a:lnTo>
                  <a:lnTo>
                    <a:pt x="21" y="551"/>
                  </a:lnTo>
                  <a:lnTo>
                    <a:pt x="15" y="553"/>
                  </a:lnTo>
                  <a:lnTo>
                    <a:pt x="9" y="554"/>
                  </a:lnTo>
                  <a:lnTo>
                    <a:pt x="6" y="558"/>
                  </a:lnTo>
                  <a:lnTo>
                    <a:pt x="2" y="564"/>
                  </a:lnTo>
                  <a:lnTo>
                    <a:pt x="0" y="571"/>
                  </a:lnTo>
                  <a:lnTo>
                    <a:pt x="2" y="577"/>
                  </a:lnTo>
                  <a:lnTo>
                    <a:pt x="4" y="580"/>
                  </a:lnTo>
                  <a:lnTo>
                    <a:pt x="6" y="586"/>
                  </a:lnTo>
                  <a:lnTo>
                    <a:pt x="13" y="601"/>
                  </a:lnTo>
                  <a:lnTo>
                    <a:pt x="21" y="625"/>
                  </a:lnTo>
                  <a:lnTo>
                    <a:pt x="26" y="628"/>
                  </a:lnTo>
                  <a:lnTo>
                    <a:pt x="35" y="628"/>
                  </a:lnTo>
                  <a:lnTo>
                    <a:pt x="43" y="628"/>
                  </a:lnTo>
                  <a:lnTo>
                    <a:pt x="52" y="626"/>
                  </a:lnTo>
                  <a:lnTo>
                    <a:pt x="59" y="625"/>
                  </a:lnTo>
                  <a:lnTo>
                    <a:pt x="67" y="623"/>
                  </a:lnTo>
                  <a:lnTo>
                    <a:pt x="72" y="623"/>
                  </a:lnTo>
                  <a:lnTo>
                    <a:pt x="76" y="625"/>
                  </a:lnTo>
                  <a:lnTo>
                    <a:pt x="82" y="638"/>
                  </a:lnTo>
                  <a:lnTo>
                    <a:pt x="82" y="649"/>
                  </a:lnTo>
                  <a:lnTo>
                    <a:pt x="82" y="658"/>
                  </a:lnTo>
                  <a:lnTo>
                    <a:pt x="83" y="667"/>
                  </a:lnTo>
                  <a:lnTo>
                    <a:pt x="85" y="678"/>
                  </a:lnTo>
                  <a:lnTo>
                    <a:pt x="87" y="687"/>
                  </a:lnTo>
                  <a:lnTo>
                    <a:pt x="85" y="697"/>
                  </a:lnTo>
                  <a:lnTo>
                    <a:pt x="83" y="704"/>
                  </a:lnTo>
                  <a:lnTo>
                    <a:pt x="80" y="710"/>
                  </a:lnTo>
                  <a:lnTo>
                    <a:pt x="78" y="711"/>
                  </a:lnTo>
                  <a:lnTo>
                    <a:pt x="85" y="721"/>
                  </a:lnTo>
                  <a:lnTo>
                    <a:pt x="93" y="730"/>
                  </a:lnTo>
                  <a:lnTo>
                    <a:pt x="89" y="739"/>
                  </a:lnTo>
                  <a:lnTo>
                    <a:pt x="83" y="754"/>
                  </a:lnTo>
                  <a:lnTo>
                    <a:pt x="96" y="771"/>
                  </a:lnTo>
                  <a:lnTo>
                    <a:pt x="107" y="787"/>
                  </a:lnTo>
                  <a:lnTo>
                    <a:pt x="111" y="798"/>
                  </a:lnTo>
                  <a:lnTo>
                    <a:pt x="113" y="809"/>
                  </a:lnTo>
                  <a:lnTo>
                    <a:pt x="117" y="819"/>
                  </a:lnTo>
                  <a:lnTo>
                    <a:pt x="122" y="822"/>
                  </a:lnTo>
                  <a:lnTo>
                    <a:pt x="128" y="815"/>
                  </a:lnTo>
                  <a:lnTo>
                    <a:pt x="137" y="800"/>
                  </a:lnTo>
                  <a:lnTo>
                    <a:pt x="148" y="784"/>
                  </a:lnTo>
                  <a:lnTo>
                    <a:pt x="155" y="769"/>
                  </a:lnTo>
                  <a:lnTo>
                    <a:pt x="159" y="761"/>
                  </a:lnTo>
                  <a:lnTo>
                    <a:pt x="167" y="756"/>
                  </a:lnTo>
                  <a:lnTo>
                    <a:pt x="174" y="752"/>
                  </a:lnTo>
                  <a:lnTo>
                    <a:pt x="181" y="750"/>
                  </a:lnTo>
                  <a:lnTo>
                    <a:pt x="185" y="752"/>
                  </a:lnTo>
                  <a:lnTo>
                    <a:pt x="187" y="754"/>
                  </a:lnTo>
                  <a:lnTo>
                    <a:pt x="191" y="758"/>
                  </a:lnTo>
                  <a:lnTo>
                    <a:pt x="192" y="763"/>
                  </a:lnTo>
                  <a:lnTo>
                    <a:pt x="196" y="776"/>
                  </a:lnTo>
                  <a:lnTo>
                    <a:pt x="200" y="789"/>
                  </a:lnTo>
                  <a:lnTo>
                    <a:pt x="202" y="804"/>
                  </a:lnTo>
                  <a:lnTo>
                    <a:pt x="207" y="815"/>
                  </a:lnTo>
                  <a:lnTo>
                    <a:pt x="209" y="820"/>
                  </a:lnTo>
                  <a:lnTo>
                    <a:pt x="213" y="826"/>
                  </a:lnTo>
                  <a:lnTo>
                    <a:pt x="216" y="828"/>
                  </a:lnTo>
                  <a:lnTo>
                    <a:pt x="222" y="830"/>
                  </a:lnTo>
                  <a:lnTo>
                    <a:pt x="240" y="826"/>
                  </a:lnTo>
                  <a:lnTo>
                    <a:pt x="263" y="822"/>
                  </a:lnTo>
                  <a:lnTo>
                    <a:pt x="285" y="826"/>
                  </a:lnTo>
                  <a:lnTo>
                    <a:pt x="309" y="830"/>
                  </a:lnTo>
                  <a:lnTo>
                    <a:pt x="322" y="826"/>
                  </a:lnTo>
                  <a:lnTo>
                    <a:pt x="333" y="819"/>
                  </a:lnTo>
                  <a:lnTo>
                    <a:pt x="342" y="809"/>
                  </a:lnTo>
                  <a:lnTo>
                    <a:pt x="351" y="798"/>
                  </a:lnTo>
                  <a:lnTo>
                    <a:pt x="366" y="780"/>
                  </a:lnTo>
                  <a:lnTo>
                    <a:pt x="379" y="765"/>
                  </a:lnTo>
                  <a:lnTo>
                    <a:pt x="401" y="759"/>
                  </a:lnTo>
                  <a:lnTo>
                    <a:pt x="421" y="756"/>
                  </a:lnTo>
                  <a:lnTo>
                    <a:pt x="423" y="747"/>
                  </a:lnTo>
                  <a:lnTo>
                    <a:pt x="427" y="737"/>
                  </a:lnTo>
                  <a:lnTo>
                    <a:pt x="434" y="735"/>
                  </a:lnTo>
                  <a:lnTo>
                    <a:pt x="442" y="732"/>
                  </a:lnTo>
                  <a:lnTo>
                    <a:pt x="442" y="724"/>
                  </a:lnTo>
                  <a:lnTo>
                    <a:pt x="442" y="713"/>
                  </a:lnTo>
                  <a:lnTo>
                    <a:pt x="440" y="710"/>
                  </a:lnTo>
                  <a:lnTo>
                    <a:pt x="442" y="704"/>
                  </a:lnTo>
                  <a:lnTo>
                    <a:pt x="444" y="700"/>
                  </a:lnTo>
                  <a:lnTo>
                    <a:pt x="445" y="697"/>
                  </a:lnTo>
                  <a:lnTo>
                    <a:pt x="471" y="680"/>
                  </a:lnTo>
                  <a:lnTo>
                    <a:pt x="495" y="665"/>
                  </a:lnTo>
                  <a:lnTo>
                    <a:pt x="508" y="660"/>
                  </a:lnTo>
                  <a:lnTo>
                    <a:pt x="523" y="656"/>
                  </a:lnTo>
                  <a:lnTo>
                    <a:pt x="540" y="654"/>
                  </a:lnTo>
                  <a:lnTo>
                    <a:pt x="556" y="654"/>
                  </a:lnTo>
                  <a:lnTo>
                    <a:pt x="571" y="649"/>
                  </a:lnTo>
                  <a:lnTo>
                    <a:pt x="582" y="639"/>
                  </a:lnTo>
                  <a:lnTo>
                    <a:pt x="590" y="638"/>
                  </a:lnTo>
                  <a:lnTo>
                    <a:pt x="597" y="638"/>
                  </a:lnTo>
                  <a:lnTo>
                    <a:pt x="604" y="639"/>
                  </a:lnTo>
                  <a:lnTo>
                    <a:pt x="614" y="645"/>
                  </a:lnTo>
                  <a:lnTo>
                    <a:pt x="612" y="660"/>
                  </a:lnTo>
                  <a:lnTo>
                    <a:pt x="606" y="673"/>
                  </a:lnTo>
                  <a:lnTo>
                    <a:pt x="625" y="671"/>
                  </a:lnTo>
                  <a:lnTo>
                    <a:pt x="654" y="673"/>
                  </a:lnTo>
                  <a:lnTo>
                    <a:pt x="667" y="678"/>
                  </a:lnTo>
                  <a:lnTo>
                    <a:pt x="686" y="687"/>
                  </a:lnTo>
                  <a:lnTo>
                    <a:pt x="697" y="691"/>
                  </a:lnTo>
                  <a:lnTo>
                    <a:pt x="708" y="693"/>
                  </a:lnTo>
                  <a:lnTo>
                    <a:pt x="719" y="691"/>
                  </a:lnTo>
                  <a:lnTo>
                    <a:pt x="730" y="687"/>
                  </a:lnTo>
                  <a:lnTo>
                    <a:pt x="728" y="684"/>
                  </a:lnTo>
                  <a:lnTo>
                    <a:pt x="726" y="680"/>
                  </a:lnTo>
                  <a:lnTo>
                    <a:pt x="735" y="676"/>
                  </a:lnTo>
                  <a:lnTo>
                    <a:pt x="743" y="674"/>
                  </a:lnTo>
                  <a:lnTo>
                    <a:pt x="748" y="678"/>
                  </a:lnTo>
                  <a:lnTo>
                    <a:pt x="752" y="682"/>
                  </a:lnTo>
                  <a:lnTo>
                    <a:pt x="758" y="684"/>
                  </a:lnTo>
                  <a:lnTo>
                    <a:pt x="761" y="682"/>
                  </a:lnTo>
                  <a:lnTo>
                    <a:pt x="763" y="680"/>
                  </a:lnTo>
                  <a:lnTo>
                    <a:pt x="763" y="678"/>
                  </a:lnTo>
                  <a:lnTo>
                    <a:pt x="763" y="674"/>
                  </a:lnTo>
                  <a:lnTo>
                    <a:pt x="763" y="671"/>
                  </a:lnTo>
                  <a:lnTo>
                    <a:pt x="769" y="667"/>
                  </a:lnTo>
                  <a:lnTo>
                    <a:pt x="774" y="667"/>
                  </a:lnTo>
                  <a:lnTo>
                    <a:pt x="785" y="667"/>
                  </a:lnTo>
                  <a:lnTo>
                    <a:pt x="800" y="667"/>
                  </a:lnTo>
                  <a:lnTo>
                    <a:pt x="820" y="650"/>
                  </a:lnTo>
                  <a:lnTo>
                    <a:pt x="837" y="638"/>
                  </a:lnTo>
                  <a:lnTo>
                    <a:pt x="850" y="639"/>
                  </a:lnTo>
                  <a:lnTo>
                    <a:pt x="865" y="641"/>
                  </a:lnTo>
                  <a:lnTo>
                    <a:pt x="868" y="621"/>
                  </a:lnTo>
                  <a:lnTo>
                    <a:pt x="868" y="601"/>
                  </a:lnTo>
                  <a:lnTo>
                    <a:pt x="872" y="595"/>
                  </a:lnTo>
                  <a:lnTo>
                    <a:pt x="876" y="589"/>
                  </a:lnTo>
                  <a:lnTo>
                    <a:pt x="883" y="586"/>
                  </a:lnTo>
                  <a:lnTo>
                    <a:pt x="894" y="580"/>
                  </a:lnTo>
                  <a:lnTo>
                    <a:pt x="900" y="573"/>
                  </a:lnTo>
                  <a:lnTo>
                    <a:pt x="902" y="562"/>
                  </a:lnTo>
                  <a:lnTo>
                    <a:pt x="924" y="540"/>
                  </a:lnTo>
                  <a:lnTo>
                    <a:pt x="946" y="517"/>
                  </a:lnTo>
                  <a:lnTo>
                    <a:pt x="944" y="512"/>
                  </a:lnTo>
                  <a:lnTo>
                    <a:pt x="942" y="508"/>
                  </a:lnTo>
                  <a:lnTo>
                    <a:pt x="941" y="504"/>
                  </a:lnTo>
                  <a:lnTo>
                    <a:pt x="937" y="501"/>
                  </a:lnTo>
                  <a:lnTo>
                    <a:pt x="929" y="493"/>
                  </a:lnTo>
                  <a:lnTo>
                    <a:pt x="924" y="488"/>
                  </a:lnTo>
                  <a:lnTo>
                    <a:pt x="922" y="471"/>
                  </a:lnTo>
                  <a:lnTo>
                    <a:pt x="920" y="455"/>
                  </a:lnTo>
                  <a:lnTo>
                    <a:pt x="917" y="447"/>
                  </a:lnTo>
                  <a:lnTo>
                    <a:pt x="913" y="442"/>
                  </a:lnTo>
                  <a:lnTo>
                    <a:pt x="909" y="436"/>
                  </a:lnTo>
                  <a:lnTo>
                    <a:pt x="904" y="432"/>
                  </a:lnTo>
                  <a:lnTo>
                    <a:pt x="892" y="425"/>
                  </a:lnTo>
                  <a:lnTo>
                    <a:pt x="883" y="418"/>
                  </a:lnTo>
                  <a:lnTo>
                    <a:pt x="878" y="405"/>
                  </a:lnTo>
                  <a:lnTo>
                    <a:pt x="874" y="390"/>
                  </a:lnTo>
                  <a:lnTo>
                    <a:pt x="868" y="384"/>
                  </a:lnTo>
                  <a:lnTo>
                    <a:pt x="867" y="379"/>
                  </a:lnTo>
                  <a:lnTo>
                    <a:pt x="867" y="373"/>
                  </a:lnTo>
                  <a:lnTo>
                    <a:pt x="868" y="368"/>
                  </a:lnTo>
                  <a:lnTo>
                    <a:pt x="870" y="359"/>
                  </a:lnTo>
                  <a:lnTo>
                    <a:pt x="872" y="351"/>
                  </a:lnTo>
                  <a:lnTo>
                    <a:pt x="865" y="346"/>
                  </a:lnTo>
                  <a:lnTo>
                    <a:pt x="861" y="340"/>
                  </a:lnTo>
                  <a:lnTo>
                    <a:pt x="859" y="334"/>
                  </a:lnTo>
                  <a:lnTo>
                    <a:pt x="859" y="329"/>
                  </a:lnTo>
                  <a:lnTo>
                    <a:pt x="865" y="318"/>
                  </a:lnTo>
                  <a:lnTo>
                    <a:pt x="874" y="303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auto">
            <a:xfrm>
              <a:off x="7116547" y="2636100"/>
              <a:ext cx="71514" cy="62104"/>
            </a:xfrm>
            <a:custGeom>
              <a:avLst/>
              <a:gdLst>
                <a:gd name="T0" fmla="*/ 8828 w 41"/>
                <a:gd name="T1" fmla="*/ 23812 h 33"/>
                <a:gd name="T2" fmla="*/ 5885 w 41"/>
                <a:gd name="T3" fmla="*/ 17462 h 33"/>
                <a:gd name="T4" fmla="*/ 0 w 41"/>
                <a:gd name="T5" fmla="*/ 11112 h 33"/>
                <a:gd name="T6" fmla="*/ 0 w 41"/>
                <a:gd name="T7" fmla="*/ 9525 h 33"/>
                <a:gd name="T8" fmla="*/ 0 w 41"/>
                <a:gd name="T9" fmla="*/ 6350 h 33"/>
                <a:gd name="T10" fmla="*/ 0 w 41"/>
                <a:gd name="T11" fmla="*/ 3175 h 33"/>
                <a:gd name="T12" fmla="*/ 5885 w 41"/>
                <a:gd name="T13" fmla="*/ 3175 h 33"/>
                <a:gd name="T14" fmla="*/ 8828 w 41"/>
                <a:gd name="T15" fmla="*/ 0 h 33"/>
                <a:gd name="T16" fmla="*/ 13242 w 41"/>
                <a:gd name="T17" fmla="*/ 3175 h 33"/>
                <a:gd name="T18" fmla="*/ 19127 w 41"/>
                <a:gd name="T19" fmla="*/ 6350 h 33"/>
                <a:gd name="T20" fmla="*/ 25013 w 41"/>
                <a:gd name="T21" fmla="*/ 9525 h 33"/>
                <a:gd name="T22" fmla="*/ 35312 w 41"/>
                <a:gd name="T23" fmla="*/ 3175 h 33"/>
                <a:gd name="T24" fmla="*/ 44140 w 41"/>
                <a:gd name="T25" fmla="*/ 0 h 33"/>
                <a:gd name="T26" fmla="*/ 48554 w 41"/>
                <a:gd name="T27" fmla="*/ 0 h 33"/>
                <a:gd name="T28" fmla="*/ 54440 w 41"/>
                <a:gd name="T29" fmla="*/ 0 h 33"/>
                <a:gd name="T30" fmla="*/ 60325 w 41"/>
                <a:gd name="T31" fmla="*/ 6350 h 33"/>
                <a:gd name="T32" fmla="*/ 60325 w 41"/>
                <a:gd name="T33" fmla="*/ 11112 h 33"/>
                <a:gd name="T34" fmla="*/ 60325 w 41"/>
                <a:gd name="T35" fmla="*/ 20637 h 33"/>
                <a:gd name="T36" fmla="*/ 54440 w 41"/>
                <a:gd name="T37" fmla="*/ 31750 h 33"/>
                <a:gd name="T38" fmla="*/ 54440 w 41"/>
                <a:gd name="T39" fmla="*/ 41275 h 33"/>
                <a:gd name="T40" fmla="*/ 51497 w 41"/>
                <a:gd name="T41" fmla="*/ 44450 h 33"/>
                <a:gd name="T42" fmla="*/ 48554 w 41"/>
                <a:gd name="T43" fmla="*/ 47625 h 33"/>
                <a:gd name="T44" fmla="*/ 44140 w 41"/>
                <a:gd name="T45" fmla="*/ 50800 h 33"/>
                <a:gd name="T46" fmla="*/ 32370 w 41"/>
                <a:gd name="T47" fmla="*/ 52387 h 33"/>
                <a:gd name="T48" fmla="*/ 22070 w 41"/>
                <a:gd name="T49" fmla="*/ 50800 h 33"/>
                <a:gd name="T50" fmla="*/ 5885 w 41"/>
                <a:gd name="T51" fmla="*/ 44450 h 33"/>
                <a:gd name="T52" fmla="*/ 0 w 41"/>
                <a:gd name="T53" fmla="*/ 41275 h 33"/>
                <a:gd name="T54" fmla="*/ 2943 w 41"/>
                <a:gd name="T55" fmla="*/ 31750 h 33"/>
                <a:gd name="T56" fmla="*/ 8828 w 41"/>
                <a:gd name="T57" fmla="*/ 23812 h 3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1"/>
                <a:gd name="T88" fmla="*/ 0 h 33"/>
                <a:gd name="T89" fmla="*/ 41 w 41"/>
                <a:gd name="T90" fmla="*/ 33 h 3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1" h="33">
                  <a:moveTo>
                    <a:pt x="6" y="15"/>
                  </a:moveTo>
                  <a:lnTo>
                    <a:pt x="4" y="11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9" y="2"/>
                  </a:lnTo>
                  <a:lnTo>
                    <a:pt x="13" y="4"/>
                  </a:lnTo>
                  <a:lnTo>
                    <a:pt x="17" y="6"/>
                  </a:lnTo>
                  <a:lnTo>
                    <a:pt x="24" y="2"/>
                  </a:lnTo>
                  <a:lnTo>
                    <a:pt x="30" y="0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1" y="4"/>
                  </a:lnTo>
                  <a:lnTo>
                    <a:pt x="41" y="7"/>
                  </a:lnTo>
                  <a:lnTo>
                    <a:pt x="41" y="13"/>
                  </a:lnTo>
                  <a:lnTo>
                    <a:pt x="37" y="20"/>
                  </a:lnTo>
                  <a:lnTo>
                    <a:pt x="37" y="26"/>
                  </a:lnTo>
                  <a:lnTo>
                    <a:pt x="35" y="28"/>
                  </a:lnTo>
                  <a:lnTo>
                    <a:pt x="33" y="30"/>
                  </a:lnTo>
                  <a:lnTo>
                    <a:pt x="30" y="32"/>
                  </a:lnTo>
                  <a:lnTo>
                    <a:pt x="22" y="33"/>
                  </a:lnTo>
                  <a:lnTo>
                    <a:pt x="15" y="32"/>
                  </a:lnTo>
                  <a:lnTo>
                    <a:pt x="4" y="28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6" y="15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7344262" y="5001718"/>
              <a:ext cx="1151758" cy="1567671"/>
            </a:xfrm>
            <a:custGeom>
              <a:avLst/>
              <a:gdLst>
                <a:gd name="T0" fmla="*/ 76200 w 663"/>
                <a:gd name="T1" fmla="*/ 1312863 h 833"/>
                <a:gd name="T2" fmla="*/ 165588 w 663"/>
                <a:gd name="T3" fmla="*/ 1319213 h 833"/>
                <a:gd name="T4" fmla="*/ 257908 w 663"/>
                <a:gd name="T5" fmla="*/ 1319213 h 833"/>
                <a:gd name="T6" fmla="*/ 427892 w 663"/>
                <a:gd name="T7" fmla="*/ 1208088 h 833"/>
                <a:gd name="T8" fmla="*/ 507023 w 663"/>
                <a:gd name="T9" fmla="*/ 1122363 h 833"/>
                <a:gd name="T10" fmla="*/ 558312 w 663"/>
                <a:gd name="T11" fmla="*/ 1119188 h 833"/>
                <a:gd name="T12" fmla="*/ 666750 w 663"/>
                <a:gd name="T13" fmla="*/ 1114425 h 833"/>
                <a:gd name="T14" fmla="*/ 750277 w 663"/>
                <a:gd name="T15" fmla="*/ 1146175 h 833"/>
                <a:gd name="T16" fmla="*/ 833804 w 663"/>
                <a:gd name="T17" fmla="*/ 1100138 h 833"/>
                <a:gd name="T18" fmla="*/ 896815 w 663"/>
                <a:gd name="T19" fmla="*/ 1062038 h 833"/>
                <a:gd name="T20" fmla="*/ 893885 w 663"/>
                <a:gd name="T21" fmla="*/ 1020763 h 833"/>
                <a:gd name="T22" fmla="*/ 885092 w 663"/>
                <a:gd name="T23" fmla="*/ 908050 h 833"/>
                <a:gd name="T24" fmla="*/ 915865 w 663"/>
                <a:gd name="T25" fmla="*/ 796925 h 833"/>
                <a:gd name="T26" fmla="*/ 907073 w 663"/>
                <a:gd name="T27" fmla="*/ 712788 h 833"/>
                <a:gd name="T28" fmla="*/ 855785 w 663"/>
                <a:gd name="T29" fmla="*/ 668338 h 833"/>
                <a:gd name="T30" fmla="*/ 920262 w 663"/>
                <a:gd name="T31" fmla="*/ 598488 h 833"/>
                <a:gd name="T32" fmla="*/ 951035 w 663"/>
                <a:gd name="T33" fmla="*/ 498475 h 833"/>
                <a:gd name="T34" fmla="*/ 907073 w 663"/>
                <a:gd name="T35" fmla="*/ 450850 h 833"/>
                <a:gd name="T36" fmla="*/ 912935 w 663"/>
                <a:gd name="T37" fmla="*/ 388938 h 833"/>
                <a:gd name="T38" fmla="*/ 877765 w 663"/>
                <a:gd name="T39" fmla="*/ 363538 h 833"/>
                <a:gd name="T40" fmla="*/ 877765 w 663"/>
                <a:gd name="T41" fmla="*/ 280988 h 833"/>
                <a:gd name="T42" fmla="*/ 830873 w 663"/>
                <a:gd name="T43" fmla="*/ 295275 h 833"/>
                <a:gd name="T44" fmla="*/ 820615 w 663"/>
                <a:gd name="T45" fmla="*/ 246063 h 833"/>
                <a:gd name="T46" fmla="*/ 782515 w 663"/>
                <a:gd name="T47" fmla="*/ 236538 h 833"/>
                <a:gd name="T48" fmla="*/ 741485 w 663"/>
                <a:gd name="T49" fmla="*/ 257175 h 833"/>
                <a:gd name="T50" fmla="*/ 747346 w 663"/>
                <a:gd name="T51" fmla="*/ 222250 h 833"/>
                <a:gd name="T52" fmla="*/ 693127 w 663"/>
                <a:gd name="T53" fmla="*/ 166688 h 833"/>
                <a:gd name="T54" fmla="*/ 693127 w 663"/>
                <a:gd name="T55" fmla="*/ 139700 h 833"/>
                <a:gd name="T56" fmla="*/ 657958 w 663"/>
                <a:gd name="T57" fmla="*/ 101600 h 833"/>
                <a:gd name="T58" fmla="*/ 633046 w 663"/>
                <a:gd name="T59" fmla="*/ 79375 h 833"/>
                <a:gd name="T60" fmla="*/ 609600 w 663"/>
                <a:gd name="T61" fmla="*/ 46038 h 833"/>
                <a:gd name="T62" fmla="*/ 581758 w 663"/>
                <a:gd name="T63" fmla="*/ 4763 h 833"/>
                <a:gd name="T64" fmla="*/ 555381 w 663"/>
                <a:gd name="T65" fmla="*/ 17463 h 833"/>
                <a:gd name="T66" fmla="*/ 507023 w 663"/>
                <a:gd name="T67" fmla="*/ 7938 h 833"/>
                <a:gd name="T68" fmla="*/ 501162 w 663"/>
                <a:gd name="T69" fmla="*/ 42863 h 833"/>
                <a:gd name="T70" fmla="*/ 504092 w 663"/>
                <a:gd name="T71" fmla="*/ 122238 h 833"/>
                <a:gd name="T72" fmla="*/ 527538 w 663"/>
                <a:gd name="T73" fmla="*/ 160338 h 833"/>
                <a:gd name="T74" fmla="*/ 490904 w 663"/>
                <a:gd name="T75" fmla="*/ 219075 h 833"/>
                <a:gd name="T76" fmla="*/ 422031 w 663"/>
                <a:gd name="T77" fmla="*/ 280988 h 833"/>
                <a:gd name="T78" fmla="*/ 473319 w 663"/>
                <a:gd name="T79" fmla="*/ 404813 h 833"/>
                <a:gd name="T80" fmla="*/ 536331 w 663"/>
                <a:gd name="T81" fmla="*/ 444500 h 833"/>
                <a:gd name="T82" fmla="*/ 562708 w 663"/>
                <a:gd name="T83" fmla="*/ 498475 h 833"/>
                <a:gd name="T84" fmla="*/ 468923 w 663"/>
                <a:gd name="T85" fmla="*/ 603250 h 833"/>
                <a:gd name="T86" fmla="*/ 395654 w 663"/>
                <a:gd name="T87" fmla="*/ 679450 h 833"/>
                <a:gd name="T88" fmla="*/ 427892 w 663"/>
                <a:gd name="T89" fmla="*/ 733425 h 833"/>
                <a:gd name="T90" fmla="*/ 430823 w 663"/>
                <a:gd name="T91" fmla="*/ 796925 h 833"/>
                <a:gd name="T92" fmla="*/ 366346 w 663"/>
                <a:gd name="T93" fmla="*/ 855663 h 833"/>
                <a:gd name="T94" fmla="*/ 325315 w 663"/>
                <a:gd name="T95" fmla="*/ 865188 h 833"/>
                <a:gd name="T96" fmla="*/ 257908 w 663"/>
                <a:gd name="T97" fmla="*/ 920750 h 833"/>
                <a:gd name="T98" fmla="*/ 194896 w 663"/>
                <a:gd name="T99" fmla="*/ 987425 h 833"/>
                <a:gd name="T100" fmla="*/ 86458 w 663"/>
                <a:gd name="T101" fmla="*/ 1025525 h 833"/>
                <a:gd name="T102" fmla="*/ 38100 w 663"/>
                <a:gd name="T103" fmla="*/ 1041400 h 833"/>
                <a:gd name="T104" fmla="*/ 41031 w 663"/>
                <a:gd name="T105" fmla="*/ 1066800 h 833"/>
                <a:gd name="T106" fmla="*/ 29308 w 663"/>
                <a:gd name="T107" fmla="*/ 1111250 h 833"/>
                <a:gd name="T108" fmla="*/ 63012 w 663"/>
                <a:gd name="T109" fmla="*/ 1166813 h 833"/>
                <a:gd name="T110" fmla="*/ 13188 w 663"/>
                <a:gd name="T111" fmla="*/ 1193800 h 83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63"/>
                <a:gd name="T169" fmla="*/ 0 h 833"/>
                <a:gd name="T170" fmla="*/ 663 w 663"/>
                <a:gd name="T171" fmla="*/ 833 h 83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63" h="833">
                  <a:moveTo>
                    <a:pt x="4" y="792"/>
                  </a:moveTo>
                  <a:lnTo>
                    <a:pt x="19" y="805"/>
                  </a:lnTo>
                  <a:lnTo>
                    <a:pt x="33" y="818"/>
                  </a:lnTo>
                  <a:lnTo>
                    <a:pt x="41" y="824"/>
                  </a:lnTo>
                  <a:lnTo>
                    <a:pt x="52" y="827"/>
                  </a:lnTo>
                  <a:lnTo>
                    <a:pt x="65" y="829"/>
                  </a:lnTo>
                  <a:lnTo>
                    <a:pt x="81" y="827"/>
                  </a:lnTo>
                  <a:lnTo>
                    <a:pt x="94" y="826"/>
                  </a:lnTo>
                  <a:lnTo>
                    <a:pt x="104" y="827"/>
                  </a:lnTo>
                  <a:lnTo>
                    <a:pt x="113" y="831"/>
                  </a:lnTo>
                  <a:lnTo>
                    <a:pt x="124" y="833"/>
                  </a:lnTo>
                  <a:lnTo>
                    <a:pt x="135" y="829"/>
                  </a:lnTo>
                  <a:lnTo>
                    <a:pt x="148" y="822"/>
                  </a:lnTo>
                  <a:lnTo>
                    <a:pt x="161" y="827"/>
                  </a:lnTo>
                  <a:lnTo>
                    <a:pt x="176" y="831"/>
                  </a:lnTo>
                  <a:lnTo>
                    <a:pt x="200" y="815"/>
                  </a:lnTo>
                  <a:lnTo>
                    <a:pt x="224" y="798"/>
                  </a:lnTo>
                  <a:lnTo>
                    <a:pt x="251" y="792"/>
                  </a:lnTo>
                  <a:lnTo>
                    <a:pt x="279" y="785"/>
                  </a:lnTo>
                  <a:lnTo>
                    <a:pt x="292" y="761"/>
                  </a:lnTo>
                  <a:lnTo>
                    <a:pt x="301" y="739"/>
                  </a:lnTo>
                  <a:lnTo>
                    <a:pt x="318" y="728"/>
                  </a:lnTo>
                  <a:lnTo>
                    <a:pt x="333" y="720"/>
                  </a:lnTo>
                  <a:lnTo>
                    <a:pt x="340" y="715"/>
                  </a:lnTo>
                  <a:lnTo>
                    <a:pt x="346" y="707"/>
                  </a:lnTo>
                  <a:lnTo>
                    <a:pt x="351" y="704"/>
                  </a:lnTo>
                  <a:lnTo>
                    <a:pt x="359" y="700"/>
                  </a:lnTo>
                  <a:lnTo>
                    <a:pt x="366" y="700"/>
                  </a:lnTo>
                  <a:lnTo>
                    <a:pt x="373" y="704"/>
                  </a:lnTo>
                  <a:lnTo>
                    <a:pt x="381" y="705"/>
                  </a:lnTo>
                  <a:lnTo>
                    <a:pt x="388" y="711"/>
                  </a:lnTo>
                  <a:lnTo>
                    <a:pt x="401" y="718"/>
                  </a:lnTo>
                  <a:lnTo>
                    <a:pt x="414" y="722"/>
                  </a:lnTo>
                  <a:lnTo>
                    <a:pt x="436" y="713"/>
                  </a:lnTo>
                  <a:lnTo>
                    <a:pt x="455" y="702"/>
                  </a:lnTo>
                  <a:lnTo>
                    <a:pt x="468" y="704"/>
                  </a:lnTo>
                  <a:lnTo>
                    <a:pt x="480" y="707"/>
                  </a:lnTo>
                  <a:lnTo>
                    <a:pt x="492" y="713"/>
                  </a:lnTo>
                  <a:lnTo>
                    <a:pt x="501" y="718"/>
                  </a:lnTo>
                  <a:lnTo>
                    <a:pt x="512" y="722"/>
                  </a:lnTo>
                  <a:lnTo>
                    <a:pt x="525" y="726"/>
                  </a:lnTo>
                  <a:lnTo>
                    <a:pt x="538" y="726"/>
                  </a:lnTo>
                  <a:lnTo>
                    <a:pt x="553" y="724"/>
                  </a:lnTo>
                  <a:lnTo>
                    <a:pt x="560" y="709"/>
                  </a:lnTo>
                  <a:lnTo>
                    <a:pt x="569" y="693"/>
                  </a:lnTo>
                  <a:lnTo>
                    <a:pt x="580" y="687"/>
                  </a:lnTo>
                  <a:lnTo>
                    <a:pt x="595" y="681"/>
                  </a:lnTo>
                  <a:lnTo>
                    <a:pt x="602" y="678"/>
                  </a:lnTo>
                  <a:lnTo>
                    <a:pt x="608" y="674"/>
                  </a:lnTo>
                  <a:lnTo>
                    <a:pt x="612" y="669"/>
                  </a:lnTo>
                  <a:lnTo>
                    <a:pt x="615" y="661"/>
                  </a:lnTo>
                  <a:lnTo>
                    <a:pt x="615" y="656"/>
                  </a:lnTo>
                  <a:lnTo>
                    <a:pt x="613" y="650"/>
                  </a:lnTo>
                  <a:lnTo>
                    <a:pt x="612" y="646"/>
                  </a:lnTo>
                  <a:lnTo>
                    <a:pt x="610" y="643"/>
                  </a:lnTo>
                  <a:lnTo>
                    <a:pt x="604" y="637"/>
                  </a:lnTo>
                  <a:lnTo>
                    <a:pt x="599" y="630"/>
                  </a:lnTo>
                  <a:lnTo>
                    <a:pt x="599" y="613"/>
                  </a:lnTo>
                  <a:lnTo>
                    <a:pt x="601" y="593"/>
                  </a:lnTo>
                  <a:lnTo>
                    <a:pt x="604" y="572"/>
                  </a:lnTo>
                  <a:lnTo>
                    <a:pt x="608" y="556"/>
                  </a:lnTo>
                  <a:lnTo>
                    <a:pt x="610" y="543"/>
                  </a:lnTo>
                  <a:lnTo>
                    <a:pt x="613" y="530"/>
                  </a:lnTo>
                  <a:lnTo>
                    <a:pt x="619" y="517"/>
                  </a:lnTo>
                  <a:lnTo>
                    <a:pt x="625" y="502"/>
                  </a:lnTo>
                  <a:lnTo>
                    <a:pt x="626" y="491"/>
                  </a:lnTo>
                  <a:lnTo>
                    <a:pt x="626" y="480"/>
                  </a:lnTo>
                  <a:lnTo>
                    <a:pt x="626" y="471"/>
                  </a:lnTo>
                  <a:lnTo>
                    <a:pt x="625" y="462"/>
                  </a:lnTo>
                  <a:lnTo>
                    <a:pt x="619" y="449"/>
                  </a:lnTo>
                  <a:lnTo>
                    <a:pt x="613" y="438"/>
                  </a:lnTo>
                  <a:lnTo>
                    <a:pt x="604" y="434"/>
                  </a:lnTo>
                  <a:lnTo>
                    <a:pt x="595" y="430"/>
                  </a:lnTo>
                  <a:lnTo>
                    <a:pt x="588" y="426"/>
                  </a:lnTo>
                  <a:lnTo>
                    <a:pt x="584" y="421"/>
                  </a:lnTo>
                  <a:lnTo>
                    <a:pt x="586" y="414"/>
                  </a:lnTo>
                  <a:lnTo>
                    <a:pt x="589" y="406"/>
                  </a:lnTo>
                  <a:lnTo>
                    <a:pt x="599" y="399"/>
                  </a:lnTo>
                  <a:lnTo>
                    <a:pt x="608" y="391"/>
                  </a:lnTo>
                  <a:lnTo>
                    <a:pt x="628" y="377"/>
                  </a:lnTo>
                  <a:lnTo>
                    <a:pt x="643" y="365"/>
                  </a:lnTo>
                  <a:lnTo>
                    <a:pt x="654" y="354"/>
                  </a:lnTo>
                  <a:lnTo>
                    <a:pt x="663" y="347"/>
                  </a:lnTo>
                  <a:lnTo>
                    <a:pt x="649" y="314"/>
                  </a:lnTo>
                  <a:lnTo>
                    <a:pt x="632" y="310"/>
                  </a:lnTo>
                  <a:lnTo>
                    <a:pt x="619" y="303"/>
                  </a:lnTo>
                  <a:lnTo>
                    <a:pt x="617" y="295"/>
                  </a:lnTo>
                  <a:lnTo>
                    <a:pt x="617" y="290"/>
                  </a:lnTo>
                  <a:lnTo>
                    <a:pt x="619" y="284"/>
                  </a:lnTo>
                  <a:lnTo>
                    <a:pt x="623" y="279"/>
                  </a:lnTo>
                  <a:lnTo>
                    <a:pt x="628" y="268"/>
                  </a:lnTo>
                  <a:lnTo>
                    <a:pt x="632" y="258"/>
                  </a:lnTo>
                  <a:lnTo>
                    <a:pt x="628" y="249"/>
                  </a:lnTo>
                  <a:lnTo>
                    <a:pt x="623" y="245"/>
                  </a:lnTo>
                  <a:lnTo>
                    <a:pt x="617" y="244"/>
                  </a:lnTo>
                  <a:lnTo>
                    <a:pt x="612" y="244"/>
                  </a:lnTo>
                  <a:lnTo>
                    <a:pt x="602" y="245"/>
                  </a:lnTo>
                  <a:lnTo>
                    <a:pt x="595" y="245"/>
                  </a:lnTo>
                  <a:lnTo>
                    <a:pt x="599" y="229"/>
                  </a:lnTo>
                  <a:lnTo>
                    <a:pt x="606" y="208"/>
                  </a:lnTo>
                  <a:lnTo>
                    <a:pt x="606" y="195"/>
                  </a:lnTo>
                  <a:lnTo>
                    <a:pt x="604" y="184"/>
                  </a:lnTo>
                  <a:lnTo>
                    <a:pt x="601" y="181"/>
                  </a:lnTo>
                  <a:lnTo>
                    <a:pt x="599" y="177"/>
                  </a:lnTo>
                  <a:lnTo>
                    <a:pt x="595" y="173"/>
                  </a:lnTo>
                  <a:lnTo>
                    <a:pt x="589" y="171"/>
                  </a:lnTo>
                  <a:lnTo>
                    <a:pt x="582" y="181"/>
                  </a:lnTo>
                  <a:lnTo>
                    <a:pt x="573" y="188"/>
                  </a:lnTo>
                  <a:lnTo>
                    <a:pt x="567" y="186"/>
                  </a:lnTo>
                  <a:lnTo>
                    <a:pt x="564" y="183"/>
                  </a:lnTo>
                  <a:lnTo>
                    <a:pt x="562" y="177"/>
                  </a:lnTo>
                  <a:lnTo>
                    <a:pt x="562" y="170"/>
                  </a:lnTo>
                  <a:lnTo>
                    <a:pt x="560" y="162"/>
                  </a:lnTo>
                  <a:lnTo>
                    <a:pt x="560" y="155"/>
                  </a:lnTo>
                  <a:lnTo>
                    <a:pt x="558" y="149"/>
                  </a:lnTo>
                  <a:lnTo>
                    <a:pt x="553" y="146"/>
                  </a:lnTo>
                  <a:lnTo>
                    <a:pt x="547" y="144"/>
                  </a:lnTo>
                  <a:lnTo>
                    <a:pt x="541" y="146"/>
                  </a:lnTo>
                  <a:lnTo>
                    <a:pt x="534" y="149"/>
                  </a:lnTo>
                  <a:lnTo>
                    <a:pt x="530" y="155"/>
                  </a:lnTo>
                  <a:lnTo>
                    <a:pt x="525" y="160"/>
                  </a:lnTo>
                  <a:lnTo>
                    <a:pt x="519" y="164"/>
                  </a:lnTo>
                  <a:lnTo>
                    <a:pt x="514" y="164"/>
                  </a:lnTo>
                  <a:lnTo>
                    <a:pt x="506" y="162"/>
                  </a:lnTo>
                  <a:lnTo>
                    <a:pt x="504" y="159"/>
                  </a:lnTo>
                  <a:lnTo>
                    <a:pt x="503" y="155"/>
                  </a:lnTo>
                  <a:lnTo>
                    <a:pt x="504" y="151"/>
                  </a:lnTo>
                  <a:lnTo>
                    <a:pt x="506" y="147"/>
                  </a:lnTo>
                  <a:lnTo>
                    <a:pt x="510" y="140"/>
                  </a:lnTo>
                  <a:lnTo>
                    <a:pt x="510" y="133"/>
                  </a:lnTo>
                  <a:lnTo>
                    <a:pt x="490" y="123"/>
                  </a:lnTo>
                  <a:lnTo>
                    <a:pt x="473" y="116"/>
                  </a:lnTo>
                  <a:lnTo>
                    <a:pt x="471" y="110"/>
                  </a:lnTo>
                  <a:lnTo>
                    <a:pt x="473" y="105"/>
                  </a:lnTo>
                  <a:lnTo>
                    <a:pt x="477" y="96"/>
                  </a:lnTo>
                  <a:lnTo>
                    <a:pt x="480" y="86"/>
                  </a:lnTo>
                  <a:lnTo>
                    <a:pt x="477" y="88"/>
                  </a:lnTo>
                  <a:lnTo>
                    <a:pt x="473" y="88"/>
                  </a:lnTo>
                  <a:lnTo>
                    <a:pt x="462" y="86"/>
                  </a:lnTo>
                  <a:lnTo>
                    <a:pt x="455" y="83"/>
                  </a:lnTo>
                  <a:lnTo>
                    <a:pt x="451" y="77"/>
                  </a:lnTo>
                  <a:lnTo>
                    <a:pt x="449" y="70"/>
                  </a:lnTo>
                  <a:lnTo>
                    <a:pt x="449" y="64"/>
                  </a:lnTo>
                  <a:lnTo>
                    <a:pt x="449" y="57"/>
                  </a:lnTo>
                  <a:lnTo>
                    <a:pt x="447" y="51"/>
                  </a:lnTo>
                  <a:lnTo>
                    <a:pt x="445" y="48"/>
                  </a:lnTo>
                  <a:lnTo>
                    <a:pt x="440" y="48"/>
                  </a:lnTo>
                  <a:lnTo>
                    <a:pt x="432" y="50"/>
                  </a:lnTo>
                  <a:lnTo>
                    <a:pt x="429" y="51"/>
                  </a:lnTo>
                  <a:lnTo>
                    <a:pt x="425" y="50"/>
                  </a:lnTo>
                  <a:lnTo>
                    <a:pt x="421" y="48"/>
                  </a:lnTo>
                  <a:lnTo>
                    <a:pt x="418" y="44"/>
                  </a:lnTo>
                  <a:lnTo>
                    <a:pt x="416" y="29"/>
                  </a:lnTo>
                  <a:lnTo>
                    <a:pt x="416" y="14"/>
                  </a:lnTo>
                  <a:lnTo>
                    <a:pt x="412" y="11"/>
                  </a:lnTo>
                  <a:lnTo>
                    <a:pt x="408" y="7"/>
                  </a:lnTo>
                  <a:lnTo>
                    <a:pt x="403" y="5"/>
                  </a:lnTo>
                  <a:lnTo>
                    <a:pt x="397" y="3"/>
                  </a:lnTo>
                  <a:lnTo>
                    <a:pt x="392" y="9"/>
                  </a:lnTo>
                  <a:lnTo>
                    <a:pt x="388" y="14"/>
                  </a:lnTo>
                  <a:lnTo>
                    <a:pt x="379" y="11"/>
                  </a:lnTo>
                  <a:lnTo>
                    <a:pt x="371" y="3"/>
                  </a:lnTo>
                  <a:lnTo>
                    <a:pt x="366" y="1"/>
                  </a:lnTo>
                  <a:lnTo>
                    <a:pt x="360" y="0"/>
                  </a:lnTo>
                  <a:lnTo>
                    <a:pt x="355" y="0"/>
                  </a:lnTo>
                  <a:lnTo>
                    <a:pt x="346" y="5"/>
                  </a:lnTo>
                  <a:lnTo>
                    <a:pt x="344" y="7"/>
                  </a:lnTo>
                  <a:lnTo>
                    <a:pt x="342" y="11"/>
                  </a:lnTo>
                  <a:lnTo>
                    <a:pt x="340" y="14"/>
                  </a:lnTo>
                  <a:lnTo>
                    <a:pt x="340" y="18"/>
                  </a:lnTo>
                  <a:lnTo>
                    <a:pt x="342" y="27"/>
                  </a:lnTo>
                  <a:lnTo>
                    <a:pt x="346" y="40"/>
                  </a:lnTo>
                  <a:lnTo>
                    <a:pt x="340" y="50"/>
                  </a:lnTo>
                  <a:lnTo>
                    <a:pt x="335" y="62"/>
                  </a:lnTo>
                  <a:lnTo>
                    <a:pt x="338" y="70"/>
                  </a:lnTo>
                  <a:lnTo>
                    <a:pt x="344" y="77"/>
                  </a:lnTo>
                  <a:lnTo>
                    <a:pt x="344" y="86"/>
                  </a:lnTo>
                  <a:lnTo>
                    <a:pt x="346" y="96"/>
                  </a:lnTo>
                  <a:lnTo>
                    <a:pt x="351" y="99"/>
                  </a:lnTo>
                  <a:lnTo>
                    <a:pt x="359" y="99"/>
                  </a:lnTo>
                  <a:lnTo>
                    <a:pt x="360" y="101"/>
                  </a:lnTo>
                  <a:lnTo>
                    <a:pt x="364" y="105"/>
                  </a:lnTo>
                  <a:lnTo>
                    <a:pt x="366" y="110"/>
                  </a:lnTo>
                  <a:lnTo>
                    <a:pt x="368" y="123"/>
                  </a:lnTo>
                  <a:lnTo>
                    <a:pt x="357" y="129"/>
                  </a:lnTo>
                  <a:lnTo>
                    <a:pt x="335" y="138"/>
                  </a:lnTo>
                  <a:lnTo>
                    <a:pt x="309" y="146"/>
                  </a:lnTo>
                  <a:lnTo>
                    <a:pt x="292" y="149"/>
                  </a:lnTo>
                  <a:lnTo>
                    <a:pt x="288" y="159"/>
                  </a:lnTo>
                  <a:lnTo>
                    <a:pt x="287" y="168"/>
                  </a:lnTo>
                  <a:lnTo>
                    <a:pt x="288" y="177"/>
                  </a:lnTo>
                  <a:lnTo>
                    <a:pt x="292" y="186"/>
                  </a:lnTo>
                  <a:lnTo>
                    <a:pt x="301" y="205"/>
                  </a:lnTo>
                  <a:lnTo>
                    <a:pt x="309" y="221"/>
                  </a:lnTo>
                  <a:lnTo>
                    <a:pt x="316" y="238"/>
                  </a:lnTo>
                  <a:lnTo>
                    <a:pt x="323" y="255"/>
                  </a:lnTo>
                  <a:lnTo>
                    <a:pt x="329" y="268"/>
                  </a:lnTo>
                  <a:lnTo>
                    <a:pt x="336" y="275"/>
                  </a:lnTo>
                  <a:lnTo>
                    <a:pt x="347" y="277"/>
                  </a:lnTo>
                  <a:lnTo>
                    <a:pt x="360" y="279"/>
                  </a:lnTo>
                  <a:lnTo>
                    <a:pt x="366" y="280"/>
                  </a:lnTo>
                  <a:lnTo>
                    <a:pt x="371" y="284"/>
                  </a:lnTo>
                  <a:lnTo>
                    <a:pt x="377" y="288"/>
                  </a:lnTo>
                  <a:lnTo>
                    <a:pt x="381" y="292"/>
                  </a:lnTo>
                  <a:lnTo>
                    <a:pt x="384" y="301"/>
                  </a:lnTo>
                  <a:lnTo>
                    <a:pt x="384" y="314"/>
                  </a:lnTo>
                  <a:lnTo>
                    <a:pt x="384" y="327"/>
                  </a:lnTo>
                  <a:lnTo>
                    <a:pt x="383" y="336"/>
                  </a:lnTo>
                  <a:lnTo>
                    <a:pt x="357" y="347"/>
                  </a:lnTo>
                  <a:lnTo>
                    <a:pt x="333" y="360"/>
                  </a:lnTo>
                  <a:lnTo>
                    <a:pt x="320" y="380"/>
                  </a:lnTo>
                  <a:lnTo>
                    <a:pt x="303" y="404"/>
                  </a:lnTo>
                  <a:lnTo>
                    <a:pt x="292" y="414"/>
                  </a:lnTo>
                  <a:lnTo>
                    <a:pt x="281" y="421"/>
                  </a:lnTo>
                  <a:lnTo>
                    <a:pt x="275" y="425"/>
                  </a:lnTo>
                  <a:lnTo>
                    <a:pt x="270" y="428"/>
                  </a:lnTo>
                  <a:lnTo>
                    <a:pt x="264" y="434"/>
                  </a:lnTo>
                  <a:lnTo>
                    <a:pt x="262" y="439"/>
                  </a:lnTo>
                  <a:lnTo>
                    <a:pt x="272" y="449"/>
                  </a:lnTo>
                  <a:lnTo>
                    <a:pt x="285" y="456"/>
                  </a:lnTo>
                  <a:lnTo>
                    <a:pt x="292" y="462"/>
                  </a:lnTo>
                  <a:lnTo>
                    <a:pt x="298" y="465"/>
                  </a:lnTo>
                  <a:lnTo>
                    <a:pt x="301" y="471"/>
                  </a:lnTo>
                  <a:lnTo>
                    <a:pt x="303" y="476"/>
                  </a:lnTo>
                  <a:lnTo>
                    <a:pt x="301" y="487"/>
                  </a:lnTo>
                  <a:lnTo>
                    <a:pt x="294" y="502"/>
                  </a:lnTo>
                  <a:lnTo>
                    <a:pt x="287" y="517"/>
                  </a:lnTo>
                  <a:lnTo>
                    <a:pt x="281" y="526"/>
                  </a:lnTo>
                  <a:lnTo>
                    <a:pt x="268" y="532"/>
                  </a:lnTo>
                  <a:lnTo>
                    <a:pt x="257" y="534"/>
                  </a:lnTo>
                  <a:lnTo>
                    <a:pt x="250" y="539"/>
                  </a:lnTo>
                  <a:lnTo>
                    <a:pt x="244" y="545"/>
                  </a:lnTo>
                  <a:lnTo>
                    <a:pt x="238" y="545"/>
                  </a:lnTo>
                  <a:lnTo>
                    <a:pt x="233" y="545"/>
                  </a:lnTo>
                  <a:lnTo>
                    <a:pt x="227" y="543"/>
                  </a:lnTo>
                  <a:lnTo>
                    <a:pt x="222" y="545"/>
                  </a:lnTo>
                  <a:lnTo>
                    <a:pt x="214" y="554"/>
                  </a:lnTo>
                  <a:lnTo>
                    <a:pt x="209" y="563"/>
                  </a:lnTo>
                  <a:lnTo>
                    <a:pt x="198" y="565"/>
                  </a:lnTo>
                  <a:lnTo>
                    <a:pt x="187" y="567"/>
                  </a:lnTo>
                  <a:lnTo>
                    <a:pt x="176" y="580"/>
                  </a:lnTo>
                  <a:lnTo>
                    <a:pt x="168" y="593"/>
                  </a:lnTo>
                  <a:lnTo>
                    <a:pt x="161" y="596"/>
                  </a:lnTo>
                  <a:lnTo>
                    <a:pt x="150" y="602"/>
                  </a:lnTo>
                  <a:lnTo>
                    <a:pt x="142" y="611"/>
                  </a:lnTo>
                  <a:lnTo>
                    <a:pt x="133" y="622"/>
                  </a:lnTo>
                  <a:lnTo>
                    <a:pt x="120" y="620"/>
                  </a:lnTo>
                  <a:lnTo>
                    <a:pt x="104" y="619"/>
                  </a:lnTo>
                  <a:lnTo>
                    <a:pt x="87" y="632"/>
                  </a:lnTo>
                  <a:lnTo>
                    <a:pt x="70" y="643"/>
                  </a:lnTo>
                  <a:lnTo>
                    <a:pt x="59" y="646"/>
                  </a:lnTo>
                  <a:lnTo>
                    <a:pt x="50" y="648"/>
                  </a:lnTo>
                  <a:lnTo>
                    <a:pt x="41" y="648"/>
                  </a:lnTo>
                  <a:lnTo>
                    <a:pt x="33" y="650"/>
                  </a:lnTo>
                  <a:lnTo>
                    <a:pt x="30" y="652"/>
                  </a:lnTo>
                  <a:lnTo>
                    <a:pt x="26" y="656"/>
                  </a:lnTo>
                  <a:lnTo>
                    <a:pt x="24" y="661"/>
                  </a:lnTo>
                  <a:lnTo>
                    <a:pt x="22" y="665"/>
                  </a:lnTo>
                  <a:lnTo>
                    <a:pt x="24" y="669"/>
                  </a:lnTo>
                  <a:lnTo>
                    <a:pt x="26" y="670"/>
                  </a:lnTo>
                  <a:lnTo>
                    <a:pt x="28" y="672"/>
                  </a:lnTo>
                  <a:lnTo>
                    <a:pt x="30" y="674"/>
                  </a:lnTo>
                  <a:lnTo>
                    <a:pt x="32" y="676"/>
                  </a:lnTo>
                  <a:lnTo>
                    <a:pt x="32" y="678"/>
                  </a:lnTo>
                  <a:lnTo>
                    <a:pt x="24" y="687"/>
                  </a:lnTo>
                  <a:lnTo>
                    <a:pt x="20" y="700"/>
                  </a:lnTo>
                  <a:lnTo>
                    <a:pt x="17" y="711"/>
                  </a:lnTo>
                  <a:lnTo>
                    <a:pt x="13" y="724"/>
                  </a:lnTo>
                  <a:lnTo>
                    <a:pt x="28" y="728"/>
                  </a:lnTo>
                  <a:lnTo>
                    <a:pt x="43" y="728"/>
                  </a:lnTo>
                  <a:lnTo>
                    <a:pt x="43" y="735"/>
                  </a:lnTo>
                  <a:lnTo>
                    <a:pt x="39" y="741"/>
                  </a:lnTo>
                  <a:lnTo>
                    <a:pt x="32" y="744"/>
                  </a:lnTo>
                  <a:lnTo>
                    <a:pt x="24" y="746"/>
                  </a:lnTo>
                  <a:lnTo>
                    <a:pt x="17" y="750"/>
                  </a:lnTo>
                  <a:lnTo>
                    <a:pt x="9" y="752"/>
                  </a:lnTo>
                  <a:lnTo>
                    <a:pt x="4" y="755"/>
                  </a:lnTo>
                  <a:lnTo>
                    <a:pt x="0" y="759"/>
                  </a:lnTo>
                  <a:lnTo>
                    <a:pt x="0" y="772"/>
                  </a:lnTo>
                  <a:lnTo>
                    <a:pt x="4" y="792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auto">
            <a:xfrm>
              <a:off x="6962225" y="5553133"/>
              <a:ext cx="479898" cy="717025"/>
            </a:xfrm>
            <a:custGeom>
              <a:avLst/>
              <a:gdLst>
                <a:gd name="T0" fmla="*/ 255208 w 276"/>
                <a:gd name="T1" fmla="*/ 317500 h 381"/>
                <a:gd name="T2" fmla="*/ 211206 w 276"/>
                <a:gd name="T3" fmla="*/ 400050 h 381"/>
                <a:gd name="T4" fmla="*/ 174538 w 276"/>
                <a:gd name="T5" fmla="*/ 455612 h 381"/>
                <a:gd name="T6" fmla="*/ 121737 w 276"/>
                <a:gd name="T7" fmla="*/ 514350 h 381"/>
                <a:gd name="T8" fmla="*/ 95336 w 276"/>
                <a:gd name="T9" fmla="*/ 539750 h 381"/>
                <a:gd name="T10" fmla="*/ 79202 w 276"/>
                <a:gd name="T11" fmla="*/ 538162 h 381"/>
                <a:gd name="T12" fmla="*/ 60135 w 276"/>
                <a:gd name="T13" fmla="*/ 522287 h 381"/>
                <a:gd name="T14" fmla="*/ 49868 w 276"/>
                <a:gd name="T15" fmla="*/ 528637 h 381"/>
                <a:gd name="T16" fmla="*/ 57202 w 276"/>
                <a:gd name="T17" fmla="*/ 542925 h 381"/>
                <a:gd name="T18" fmla="*/ 66002 w 276"/>
                <a:gd name="T19" fmla="*/ 555625 h 381"/>
                <a:gd name="T20" fmla="*/ 60135 w 276"/>
                <a:gd name="T21" fmla="*/ 560387 h 381"/>
                <a:gd name="T22" fmla="*/ 46935 w 276"/>
                <a:gd name="T23" fmla="*/ 566737 h 381"/>
                <a:gd name="T24" fmla="*/ 19067 w 276"/>
                <a:gd name="T25" fmla="*/ 569912 h 381"/>
                <a:gd name="T26" fmla="*/ 5867 w 276"/>
                <a:gd name="T27" fmla="*/ 576262 h 381"/>
                <a:gd name="T28" fmla="*/ 0 w 276"/>
                <a:gd name="T29" fmla="*/ 581025 h 381"/>
                <a:gd name="T30" fmla="*/ 2933 w 276"/>
                <a:gd name="T31" fmla="*/ 593725 h 381"/>
                <a:gd name="T32" fmla="*/ 16134 w 276"/>
                <a:gd name="T33" fmla="*/ 601662 h 381"/>
                <a:gd name="T34" fmla="*/ 51335 w 276"/>
                <a:gd name="T35" fmla="*/ 604837 h 381"/>
                <a:gd name="T36" fmla="*/ 95336 w 276"/>
                <a:gd name="T37" fmla="*/ 598487 h 381"/>
                <a:gd name="T38" fmla="*/ 139337 w 276"/>
                <a:gd name="T39" fmla="*/ 577850 h 381"/>
                <a:gd name="T40" fmla="*/ 174538 w 276"/>
                <a:gd name="T41" fmla="*/ 522287 h 381"/>
                <a:gd name="T42" fmla="*/ 203873 w 276"/>
                <a:gd name="T43" fmla="*/ 479425 h 381"/>
                <a:gd name="T44" fmla="*/ 228807 w 276"/>
                <a:gd name="T45" fmla="*/ 463550 h 381"/>
                <a:gd name="T46" fmla="*/ 242007 w 276"/>
                <a:gd name="T47" fmla="*/ 449262 h 381"/>
                <a:gd name="T48" fmla="*/ 274275 w 276"/>
                <a:gd name="T49" fmla="*/ 428625 h 381"/>
                <a:gd name="T50" fmla="*/ 312409 w 276"/>
                <a:gd name="T51" fmla="*/ 393700 h 381"/>
                <a:gd name="T52" fmla="*/ 338810 w 276"/>
                <a:gd name="T53" fmla="*/ 349250 h 381"/>
                <a:gd name="T54" fmla="*/ 344677 w 276"/>
                <a:gd name="T55" fmla="*/ 314325 h 381"/>
                <a:gd name="T56" fmla="*/ 335877 w 276"/>
                <a:gd name="T57" fmla="*/ 285750 h 381"/>
                <a:gd name="T58" fmla="*/ 352010 w 276"/>
                <a:gd name="T59" fmla="*/ 273050 h 381"/>
                <a:gd name="T60" fmla="*/ 363744 w 276"/>
                <a:gd name="T61" fmla="*/ 279400 h 381"/>
                <a:gd name="T62" fmla="*/ 363744 w 276"/>
                <a:gd name="T63" fmla="*/ 290512 h 381"/>
                <a:gd name="T64" fmla="*/ 366677 w 276"/>
                <a:gd name="T65" fmla="*/ 296862 h 381"/>
                <a:gd name="T66" fmla="*/ 382811 w 276"/>
                <a:gd name="T67" fmla="*/ 268287 h 381"/>
                <a:gd name="T68" fmla="*/ 393078 w 276"/>
                <a:gd name="T69" fmla="*/ 203200 h 381"/>
                <a:gd name="T70" fmla="*/ 393078 w 276"/>
                <a:gd name="T71" fmla="*/ 161925 h 381"/>
                <a:gd name="T72" fmla="*/ 398945 w 276"/>
                <a:gd name="T73" fmla="*/ 112712 h 381"/>
                <a:gd name="T74" fmla="*/ 401879 w 276"/>
                <a:gd name="T75" fmla="*/ 65087 h 381"/>
                <a:gd name="T76" fmla="*/ 393078 w 276"/>
                <a:gd name="T77" fmla="*/ 44450 h 381"/>
                <a:gd name="T78" fmla="*/ 396012 w 276"/>
                <a:gd name="T79" fmla="*/ 23812 h 381"/>
                <a:gd name="T80" fmla="*/ 396012 w 276"/>
                <a:gd name="T81" fmla="*/ 6350 h 381"/>
                <a:gd name="T82" fmla="*/ 376945 w 276"/>
                <a:gd name="T83" fmla="*/ 0 h 381"/>
                <a:gd name="T84" fmla="*/ 360811 w 276"/>
                <a:gd name="T85" fmla="*/ 23812 h 381"/>
                <a:gd name="T86" fmla="*/ 352010 w 276"/>
                <a:gd name="T87" fmla="*/ 58737 h 381"/>
                <a:gd name="T88" fmla="*/ 350544 w 276"/>
                <a:gd name="T89" fmla="*/ 88900 h 381"/>
                <a:gd name="T90" fmla="*/ 338810 w 276"/>
                <a:gd name="T91" fmla="*/ 120650 h 381"/>
                <a:gd name="T92" fmla="*/ 334410 w 276"/>
                <a:gd name="T93" fmla="*/ 150812 h 381"/>
                <a:gd name="T94" fmla="*/ 322676 w 276"/>
                <a:gd name="T95" fmla="*/ 196850 h 381"/>
                <a:gd name="T96" fmla="*/ 299209 w 276"/>
                <a:gd name="T97" fmla="*/ 249237 h 38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76"/>
                <a:gd name="T148" fmla="*/ 0 h 381"/>
                <a:gd name="T149" fmla="*/ 276 w 276"/>
                <a:gd name="T150" fmla="*/ 381 h 38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76" h="381">
                  <a:moveTo>
                    <a:pt x="196" y="174"/>
                  </a:moveTo>
                  <a:lnTo>
                    <a:pt x="174" y="200"/>
                  </a:lnTo>
                  <a:lnTo>
                    <a:pt x="152" y="226"/>
                  </a:lnTo>
                  <a:lnTo>
                    <a:pt x="144" y="252"/>
                  </a:lnTo>
                  <a:lnTo>
                    <a:pt x="135" y="272"/>
                  </a:lnTo>
                  <a:lnTo>
                    <a:pt x="119" y="287"/>
                  </a:lnTo>
                  <a:lnTo>
                    <a:pt x="98" y="302"/>
                  </a:lnTo>
                  <a:lnTo>
                    <a:pt x="83" y="324"/>
                  </a:lnTo>
                  <a:lnTo>
                    <a:pt x="69" y="339"/>
                  </a:lnTo>
                  <a:lnTo>
                    <a:pt x="65" y="340"/>
                  </a:lnTo>
                  <a:lnTo>
                    <a:pt x="59" y="340"/>
                  </a:lnTo>
                  <a:lnTo>
                    <a:pt x="54" y="339"/>
                  </a:lnTo>
                  <a:lnTo>
                    <a:pt x="50" y="335"/>
                  </a:lnTo>
                  <a:lnTo>
                    <a:pt x="41" y="329"/>
                  </a:lnTo>
                  <a:lnTo>
                    <a:pt x="34" y="327"/>
                  </a:lnTo>
                  <a:lnTo>
                    <a:pt x="34" y="333"/>
                  </a:lnTo>
                  <a:lnTo>
                    <a:pt x="35" y="337"/>
                  </a:lnTo>
                  <a:lnTo>
                    <a:pt x="39" y="342"/>
                  </a:lnTo>
                  <a:lnTo>
                    <a:pt x="45" y="348"/>
                  </a:lnTo>
                  <a:lnTo>
                    <a:pt x="45" y="350"/>
                  </a:lnTo>
                  <a:lnTo>
                    <a:pt x="43" y="352"/>
                  </a:lnTo>
                  <a:lnTo>
                    <a:pt x="41" y="353"/>
                  </a:lnTo>
                  <a:lnTo>
                    <a:pt x="39" y="355"/>
                  </a:lnTo>
                  <a:lnTo>
                    <a:pt x="32" y="357"/>
                  </a:lnTo>
                  <a:lnTo>
                    <a:pt x="23" y="357"/>
                  </a:lnTo>
                  <a:lnTo>
                    <a:pt x="13" y="359"/>
                  </a:lnTo>
                  <a:lnTo>
                    <a:pt x="6" y="361"/>
                  </a:lnTo>
                  <a:lnTo>
                    <a:pt x="4" y="363"/>
                  </a:lnTo>
                  <a:lnTo>
                    <a:pt x="2" y="364"/>
                  </a:lnTo>
                  <a:lnTo>
                    <a:pt x="0" y="366"/>
                  </a:lnTo>
                  <a:lnTo>
                    <a:pt x="0" y="368"/>
                  </a:lnTo>
                  <a:lnTo>
                    <a:pt x="2" y="374"/>
                  </a:lnTo>
                  <a:lnTo>
                    <a:pt x="6" y="376"/>
                  </a:lnTo>
                  <a:lnTo>
                    <a:pt x="11" y="379"/>
                  </a:lnTo>
                  <a:lnTo>
                    <a:pt x="19" y="379"/>
                  </a:lnTo>
                  <a:lnTo>
                    <a:pt x="35" y="381"/>
                  </a:lnTo>
                  <a:lnTo>
                    <a:pt x="48" y="381"/>
                  </a:lnTo>
                  <a:lnTo>
                    <a:pt x="65" y="377"/>
                  </a:lnTo>
                  <a:lnTo>
                    <a:pt x="80" y="370"/>
                  </a:lnTo>
                  <a:lnTo>
                    <a:pt x="95" y="364"/>
                  </a:lnTo>
                  <a:lnTo>
                    <a:pt x="111" y="357"/>
                  </a:lnTo>
                  <a:lnTo>
                    <a:pt x="119" y="329"/>
                  </a:lnTo>
                  <a:lnTo>
                    <a:pt x="128" y="305"/>
                  </a:lnTo>
                  <a:lnTo>
                    <a:pt x="139" y="302"/>
                  </a:lnTo>
                  <a:lnTo>
                    <a:pt x="152" y="300"/>
                  </a:lnTo>
                  <a:lnTo>
                    <a:pt x="156" y="292"/>
                  </a:lnTo>
                  <a:lnTo>
                    <a:pt x="159" y="287"/>
                  </a:lnTo>
                  <a:lnTo>
                    <a:pt x="165" y="283"/>
                  </a:lnTo>
                  <a:lnTo>
                    <a:pt x="172" y="278"/>
                  </a:lnTo>
                  <a:lnTo>
                    <a:pt x="187" y="270"/>
                  </a:lnTo>
                  <a:lnTo>
                    <a:pt x="207" y="261"/>
                  </a:lnTo>
                  <a:lnTo>
                    <a:pt x="213" y="248"/>
                  </a:lnTo>
                  <a:lnTo>
                    <a:pt x="216" y="230"/>
                  </a:lnTo>
                  <a:lnTo>
                    <a:pt x="231" y="220"/>
                  </a:lnTo>
                  <a:lnTo>
                    <a:pt x="244" y="209"/>
                  </a:lnTo>
                  <a:lnTo>
                    <a:pt x="235" y="198"/>
                  </a:lnTo>
                  <a:lnTo>
                    <a:pt x="226" y="185"/>
                  </a:lnTo>
                  <a:lnTo>
                    <a:pt x="229" y="180"/>
                  </a:lnTo>
                  <a:lnTo>
                    <a:pt x="233" y="176"/>
                  </a:lnTo>
                  <a:lnTo>
                    <a:pt x="240" y="172"/>
                  </a:lnTo>
                  <a:lnTo>
                    <a:pt x="248" y="170"/>
                  </a:lnTo>
                  <a:lnTo>
                    <a:pt x="248" y="176"/>
                  </a:lnTo>
                  <a:lnTo>
                    <a:pt x="248" y="180"/>
                  </a:lnTo>
                  <a:lnTo>
                    <a:pt x="248" y="183"/>
                  </a:lnTo>
                  <a:lnTo>
                    <a:pt x="248" y="185"/>
                  </a:lnTo>
                  <a:lnTo>
                    <a:pt x="250" y="187"/>
                  </a:lnTo>
                  <a:lnTo>
                    <a:pt x="253" y="187"/>
                  </a:lnTo>
                  <a:lnTo>
                    <a:pt x="261" y="169"/>
                  </a:lnTo>
                  <a:lnTo>
                    <a:pt x="270" y="137"/>
                  </a:lnTo>
                  <a:lnTo>
                    <a:pt x="268" y="128"/>
                  </a:lnTo>
                  <a:lnTo>
                    <a:pt x="265" y="115"/>
                  </a:lnTo>
                  <a:lnTo>
                    <a:pt x="268" y="102"/>
                  </a:lnTo>
                  <a:lnTo>
                    <a:pt x="270" y="87"/>
                  </a:lnTo>
                  <a:lnTo>
                    <a:pt x="272" y="71"/>
                  </a:lnTo>
                  <a:lnTo>
                    <a:pt x="274" y="50"/>
                  </a:lnTo>
                  <a:lnTo>
                    <a:pt x="274" y="41"/>
                  </a:lnTo>
                  <a:lnTo>
                    <a:pt x="270" y="34"/>
                  </a:lnTo>
                  <a:lnTo>
                    <a:pt x="268" y="28"/>
                  </a:lnTo>
                  <a:lnTo>
                    <a:pt x="266" y="24"/>
                  </a:lnTo>
                  <a:lnTo>
                    <a:pt x="270" y="15"/>
                  </a:lnTo>
                  <a:lnTo>
                    <a:pt x="276" y="6"/>
                  </a:lnTo>
                  <a:lnTo>
                    <a:pt x="270" y="4"/>
                  </a:lnTo>
                  <a:lnTo>
                    <a:pt x="265" y="2"/>
                  </a:lnTo>
                  <a:lnTo>
                    <a:pt x="257" y="0"/>
                  </a:lnTo>
                  <a:lnTo>
                    <a:pt x="253" y="2"/>
                  </a:lnTo>
                  <a:lnTo>
                    <a:pt x="246" y="15"/>
                  </a:lnTo>
                  <a:lnTo>
                    <a:pt x="240" y="26"/>
                  </a:lnTo>
                  <a:lnTo>
                    <a:pt x="240" y="37"/>
                  </a:lnTo>
                  <a:lnTo>
                    <a:pt x="240" y="47"/>
                  </a:lnTo>
                  <a:lnTo>
                    <a:pt x="239" y="56"/>
                  </a:lnTo>
                  <a:lnTo>
                    <a:pt x="237" y="65"/>
                  </a:lnTo>
                  <a:lnTo>
                    <a:pt x="231" y="76"/>
                  </a:lnTo>
                  <a:lnTo>
                    <a:pt x="229" y="87"/>
                  </a:lnTo>
                  <a:lnTo>
                    <a:pt x="228" y="95"/>
                  </a:lnTo>
                  <a:lnTo>
                    <a:pt x="228" y="104"/>
                  </a:lnTo>
                  <a:lnTo>
                    <a:pt x="220" y="124"/>
                  </a:lnTo>
                  <a:lnTo>
                    <a:pt x="213" y="141"/>
                  </a:lnTo>
                  <a:lnTo>
                    <a:pt x="204" y="157"/>
                  </a:lnTo>
                  <a:lnTo>
                    <a:pt x="196" y="174"/>
                  </a:lnTo>
                  <a:close/>
                </a:path>
              </a:pathLst>
            </a:custGeom>
            <a:solidFill>
              <a:schemeClr val="bg1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auto">
            <a:xfrm>
              <a:off x="6518085" y="5208734"/>
              <a:ext cx="1492391" cy="1283495"/>
            </a:xfrm>
            <a:custGeom>
              <a:avLst/>
              <a:gdLst>
                <a:gd name="T0" fmla="*/ 87932 w 859"/>
                <a:gd name="T1" fmla="*/ 860425 h 682"/>
                <a:gd name="T2" fmla="*/ 146553 w 859"/>
                <a:gd name="T3" fmla="*/ 881063 h 682"/>
                <a:gd name="T4" fmla="*/ 257933 w 859"/>
                <a:gd name="T5" fmla="*/ 930275 h 682"/>
                <a:gd name="T6" fmla="*/ 284312 w 859"/>
                <a:gd name="T7" fmla="*/ 1016000 h 682"/>
                <a:gd name="T8" fmla="*/ 392761 w 859"/>
                <a:gd name="T9" fmla="*/ 1074738 h 682"/>
                <a:gd name="T10" fmla="*/ 477762 w 859"/>
                <a:gd name="T11" fmla="*/ 1036638 h 682"/>
                <a:gd name="T12" fmla="*/ 587676 w 859"/>
                <a:gd name="T13" fmla="*/ 1030288 h 682"/>
                <a:gd name="T14" fmla="*/ 637504 w 859"/>
                <a:gd name="T15" fmla="*/ 1079500 h 682"/>
                <a:gd name="T16" fmla="*/ 699056 w 859"/>
                <a:gd name="T17" fmla="*/ 1079500 h 682"/>
                <a:gd name="T18" fmla="*/ 709315 w 859"/>
                <a:gd name="T19" fmla="*/ 1019175 h 682"/>
                <a:gd name="T20" fmla="*/ 759143 w 859"/>
                <a:gd name="T21" fmla="*/ 981075 h 682"/>
                <a:gd name="T22" fmla="*/ 743022 w 859"/>
                <a:gd name="T23" fmla="*/ 901700 h 682"/>
                <a:gd name="T24" fmla="*/ 728366 w 859"/>
                <a:gd name="T25" fmla="*/ 881063 h 682"/>
                <a:gd name="T26" fmla="*/ 769401 w 859"/>
                <a:gd name="T27" fmla="*/ 854075 h 682"/>
                <a:gd name="T28" fmla="*/ 891040 w 859"/>
                <a:gd name="T29" fmla="*/ 812800 h 682"/>
                <a:gd name="T30" fmla="*/ 970178 w 859"/>
                <a:gd name="T31" fmla="*/ 725487 h 682"/>
                <a:gd name="T32" fmla="*/ 1037593 w 859"/>
                <a:gd name="T33" fmla="*/ 690562 h 682"/>
                <a:gd name="T34" fmla="*/ 1107938 w 859"/>
                <a:gd name="T35" fmla="*/ 660400 h 682"/>
                <a:gd name="T36" fmla="*/ 1132852 w 859"/>
                <a:gd name="T37" fmla="*/ 563562 h 682"/>
                <a:gd name="T38" fmla="*/ 1091817 w 859"/>
                <a:gd name="T39" fmla="*/ 504825 h 682"/>
                <a:gd name="T40" fmla="*/ 1184145 w 859"/>
                <a:gd name="T41" fmla="*/ 396875 h 682"/>
                <a:gd name="T42" fmla="*/ 1254490 w 859"/>
                <a:gd name="T43" fmla="*/ 288925 h 682"/>
                <a:gd name="T44" fmla="*/ 1188542 w 859"/>
                <a:gd name="T45" fmla="*/ 261938 h 682"/>
                <a:gd name="T46" fmla="*/ 1124059 w 859"/>
                <a:gd name="T47" fmla="*/ 120650 h 682"/>
                <a:gd name="T48" fmla="*/ 1124059 w 859"/>
                <a:gd name="T49" fmla="*/ 61913 h 682"/>
                <a:gd name="T50" fmla="*/ 1121128 w 859"/>
                <a:gd name="T51" fmla="*/ 0 h 682"/>
                <a:gd name="T52" fmla="*/ 1102076 w 859"/>
                <a:gd name="T53" fmla="*/ 39687 h 682"/>
                <a:gd name="T54" fmla="*/ 1047851 w 859"/>
                <a:gd name="T55" fmla="*/ 109538 h 682"/>
                <a:gd name="T56" fmla="*/ 970178 w 859"/>
                <a:gd name="T57" fmla="*/ 127000 h 682"/>
                <a:gd name="T58" fmla="*/ 923282 w 859"/>
                <a:gd name="T59" fmla="*/ 117475 h 682"/>
                <a:gd name="T60" fmla="*/ 852936 w 859"/>
                <a:gd name="T61" fmla="*/ 103188 h 682"/>
                <a:gd name="T62" fmla="*/ 747418 w 859"/>
                <a:gd name="T63" fmla="*/ 153987 h 682"/>
                <a:gd name="T64" fmla="*/ 680004 w 859"/>
                <a:gd name="T65" fmla="*/ 188912 h 682"/>
                <a:gd name="T66" fmla="*/ 690263 w 859"/>
                <a:gd name="T67" fmla="*/ 241300 h 682"/>
                <a:gd name="T68" fmla="*/ 690263 w 859"/>
                <a:gd name="T69" fmla="*/ 327025 h 682"/>
                <a:gd name="T70" fmla="*/ 721039 w 859"/>
                <a:gd name="T71" fmla="*/ 393700 h 682"/>
                <a:gd name="T72" fmla="*/ 744487 w 859"/>
                <a:gd name="T73" fmla="*/ 293687 h 682"/>
                <a:gd name="T74" fmla="*/ 763539 w 859"/>
                <a:gd name="T75" fmla="*/ 328612 h 682"/>
                <a:gd name="T76" fmla="*/ 769401 w 859"/>
                <a:gd name="T77" fmla="*/ 428625 h 682"/>
                <a:gd name="T78" fmla="*/ 744487 w 859"/>
                <a:gd name="T79" fmla="*/ 587375 h 682"/>
                <a:gd name="T80" fmla="*/ 737160 w 859"/>
                <a:gd name="T81" fmla="*/ 560387 h 682"/>
                <a:gd name="T82" fmla="*/ 731298 w 859"/>
                <a:gd name="T83" fmla="*/ 622300 h 682"/>
                <a:gd name="T84" fmla="*/ 625780 w 859"/>
                <a:gd name="T85" fmla="*/ 731837 h 682"/>
                <a:gd name="T86" fmla="*/ 561297 w 859"/>
                <a:gd name="T87" fmla="*/ 774700 h 682"/>
                <a:gd name="T88" fmla="*/ 444054 w 859"/>
                <a:gd name="T89" fmla="*/ 895350 h 682"/>
                <a:gd name="T90" fmla="*/ 408882 w 859"/>
                <a:gd name="T91" fmla="*/ 919163 h 682"/>
                <a:gd name="T92" fmla="*/ 373709 w 859"/>
                <a:gd name="T93" fmla="*/ 915988 h 682"/>
                <a:gd name="T94" fmla="*/ 325347 w 859"/>
                <a:gd name="T95" fmla="*/ 881063 h 682"/>
                <a:gd name="T96" fmla="*/ 312157 w 859"/>
                <a:gd name="T97" fmla="*/ 842963 h 682"/>
                <a:gd name="T98" fmla="*/ 274053 w 859"/>
                <a:gd name="T99" fmla="*/ 801687 h 682"/>
                <a:gd name="T100" fmla="*/ 200777 w 859"/>
                <a:gd name="T101" fmla="*/ 760412 h 682"/>
                <a:gd name="T102" fmla="*/ 108449 w 859"/>
                <a:gd name="T103" fmla="*/ 649287 h 682"/>
                <a:gd name="T104" fmla="*/ 2931 w 859"/>
                <a:gd name="T105" fmla="*/ 722312 h 682"/>
                <a:gd name="T106" fmla="*/ 0 w 859"/>
                <a:gd name="T107" fmla="*/ 792162 h 68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59"/>
                <a:gd name="T163" fmla="*/ 0 h 682"/>
                <a:gd name="T164" fmla="*/ 859 w 859"/>
                <a:gd name="T165" fmla="*/ 682 h 68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59" h="682">
                  <a:moveTo>
                    <a:pt x="2" y="512"/>
                  </a:moveTo>
                  <a:lnTo>
                    <a:pt x="12" y="520"/>
                  </a:lnTo>
                  <a:lnTo>
                    <a:pt x="23" y="525"/>
                  </a:lnTo>
                  <a:lnTo>
                    <a:pt x="34" y="529"/>
                  </a:lnTo>
                  <a:lnTo>
                    <a:pt x="47" y="533"/>
                  </a:lnTo>
                  <a:lnTo>
                    <a:pt x="60" y="542"/>
                  </a:lnTo>
                  <a:lnTo>
                    <a:pt x="69" y="547"/>
                  </a:lnTo>
                  <a:lnTo>
                    <a:pt x="72" y="551"/>
                  </a:lnTo>
                  <a:lnTo>
                    <a:pt x="78" y="551"/>
                  </a:lnTo>
                  <a:lnTo>
                    <a:pt x="82" y="551"/>
                  </a:lnTo>
                  <a:lnTo>
                    <a:pt x="87" y="549"/>
                  </a:lnTo>
                  <a:lnTo>
                    <a:pt x="100" y="555"/>
                  </a:lnTo>
                  <a:lnTo>
                    <a:pt x="120" y="562"/>
                  </a:lnTo>
                  <a:lnTo>
                    <a:pt x="145" y="571"/>
                  </a:lnTo>
                  <a:lnTo>
                    <a:pt x="163" y="577"/>
                  </a:lnTo>
                  <a:lnTo>
                    <a:pt x="170" y="581"/>
                  </a:lnTo>
                  <a:lnTo>
                    <a:pt x="174" y="583"/>
                  </a:lnTo>
                  <a:lnTo>
                    <a:pt x="176" y="586"/>
                  </a:lnTo>
                  <a:lnTo>
                    <a:pt x="178" y="590"/>
                  </a:lnTo>
                  <a:lnTo>
                    <a:pt x="178" y="597"/>
                  </a:lnTo>
                  <a:lnTo>
                    <a:pt x="178" y="608"/>
                  </a:lnTo>
                  <a:lnTo>
                    <a:pt x="180" y="618"/>
                  </a:lnTo>
                  <a:lnTo>
                    <a:pt x="185" y="627"/>
                  </a:lnTo>
                  <a:lnTo>
                    <a:pt x="194" y="640"/>
                  </a:lnTo>
                  <a:lnTo>
                    <a:pt x="205" y="656"/>
                  </a:lnTo>
                  <a:lnTo>
                    <a:pt x="224" y="666"/>
                  </a:lnTo>
                  <a:lnTo>
                    <a:pt x="242" y="679"/>
                  </a:lnTo>
                  <a:lnTo>
                    <a:pt x="254" y="679"/>
                  </a:lnTo>
                  <a:lnTo>
                    <a:pt x="265" y="679"/>
                  </a:lnTo>
                  <a:lnTo>
                    <a:pt x="268" y="677"/>
                  </a:lnTo>
                  <a:lnTo>
                    <a:pt x="274" y="677"/>
                  </a:lnTo>
                  <a:lnTo>
                    <a:pt x="278" y="675"/>
                  </a:lnTo>
                  <a:lnTo>
                    <a:pt x="279" y="671"/>
                  </a:lnTo>
                  <a:lnTo>
                    <a:pt x="294" y="666"/>
                  </a:lnTo>
                  <a:lnTo>
                    <a:pt x="309" y="660"/>
                  </a:lnTo>
                  <a:lnTo>
                    <a:pt x="326" y="653"/>
                  </a:lnTo>
                  <a:lnTo>
                    <a:pt x="338" y="647"/>
                  </a:lnTo>
                  <a:lnTo>
                    <a:pt x="351" y="649"/>
                  </a:lnTo>
                  <a:lnTo>
                    <a:pt x="364" y="651"/>
                  </a:lnTo>
                  <a:lnTo>
                    <a:pt x="375" y="651"/>
                  </a:lnTo>
                  <a:lnTo>
                    <a:pt x="388" y="647"/>
                  </a:lnTo>
                  <a:lnTo>
                    <a:pt x="401" y="649"/>
                  </a:lnTo>
                  <a:lnTo>
                    <a:pt x="411" y="653"/>
                  </a:lnTo>
                  <a:lnTo>
                    <a:pt x="418" y="658"/>
                  </a:lnTo>
                  <a:lnTo>
                    <a:pt x="423" y="664"/>
                  </a:lnTo>
                  <a:lnTo>
                    <a:pt x="427" y="669"/>
                  </a:lnTo>
                  <a:lnTo>
                    <a:pt x="431" y="675"/>
                  </a:lnTo>
                  <a:lnTo>
                    <a:pt x="435" y="680"/>
                  </a:lnTo>
                  <a:lnTo>
                    <a:pt x="440" y="682"/>
                  </a:lnTo>
                  <a:lnTo>
                    <a:pt x="449" y="680"/>
                  </a:lnTo>
                  <a:lnTo>
                    <a:pt x="459" y="679"/>
                  </a:lnTo>
                  <a:lnTo>
                    <a:pt x="468" y="679"/>
                  </a:lnTo>
                  <a:lnTo>
                    <a:pt x="477" y="680"/>
                  </a:lnTo>
                  <a:lnTo>
                    <a:pt x="479" y="682"/>
                  </a:lnTo>
                  <a:lnTo>
                    <a:pt x="475" y="662"/>
                  </a:lnTo>
                  <a:lnTo>
                    <a:pt x="475" y="649"/>
                  </a:lnTo>
                  <a:lnTo>
                    <a:pt x="479" y="645"/>
                  </a:lnTo>
                  <a:lnTo>
                    <a:pt x="484" y="642"/>
                  </a:lnTo>
                  <a:lnTo>
                    <a:pt x="492" y="640"/>
                  </a:lnTo>
                  <a:lnTo>
                    <a:pt x="499" y="636"/>
                  </a:lnTo>
                  <a:lnTo>
                    <a:pt x="507" y="634"/>
                  </a:lnTo>
                  <a:lnTo>
                    <a:pt x="514" y="631"/>
                  </a:lnTo>
                  <a:lnTo>
                    <a:pt x="518" y="625"/>
                  </a:lnTo>
                  <a:lnTo>
                    <a:pt x="518" y="618"/>
                  </a:lnTo>
                  <a:lnTo>
                    <a:pt x="503" y="618"/>
                  </a:lnTo>
                  <a:lnTo>
                    <a:pt x="488" y="614"/>
                  </a:lnTo>
                  <a:lnTo>
                    <a:pt x="492" y="601"/>
                  </a:lnTo>
                  <a:lnTo>
                    <a:pt x="495" y="590"/>
                  </a:lnTo>
                  <a:lnTo>
                    <a:pt x="499" y="577"/>
                  </a:lnTo>
                  <a:lnTo>
                    <a:pt x="507" y="568"/>
                  </a:lnTo>
                  <a:lnTo>
                    <a:pt x="507" y="566"/>
                  </a:lnTo>
                  <a:lnTo>
                    <a:pt x="505" y="564"/>
                  </a:lnTo>
                  <a:lnTo>
                    <a:pt x="503" y="562"/>
                  </a:lnTo>
                  <a:lnTo>
                    <a:pt x="501" y="560"/>
                  </a:lnTo>
                  <a:lnTo>
                    <a:pt x="499" y="559"/>
                  </a:lnTo>
                  <a:lnTo>
                    <a:pt x="497" y="555"/>
                  </a:lnTo>
                  <a:lnTo>
                    <a:pt x="499" y="551"/>
                  </a:lnTo>
                  <a:lnTo>
                    <a:pt x="501" y="546"/>
                  </a:lnTo>
                  <a:lnTo>
                    <a:pt x="505" y="542"/>
                  </a:lnTo>
                  <a:lnTo>
                    <a:pt x="508" y="540"/>
                  </a:lnTo>
                  <a:lnTo>
                    <a:pt x="516" y="538"/>
                  </a:lnTo>
                  <a:lnTo>
                    <a:pt x="525" y="538"/>
                  </a:lnTo>
                  <a:lnTo>
                    <a:pt x="534" y="536"/>
                  </a:lnTo>
                  <a:lnTo>
                    <a:pt x="545" y="533"/>
                  </a:lnTo>
                  <a:lnTo>
                    <a:pt x="562" y="522"/>
                  </a:lnTo>
                  <a:lnTo>
                    <a:pt x="579" y="509"/>
                  </a:lnTo>
                  <a:lnTo>
                    <a:pt x="595" y="510"/>
                  </a:lnTo>
                  <a:lnTo>
                    <a:pt x="608" y="512"/>
                  </a:lnTo>
                  <a:lnTo>
                    <a:pt x="617" y="501"/>
                  </a:lnTo>
                  <a:lnTo>
                    <a:pt x="625" y="492"/>
                  </a:lnTo>
                  <a:lnTo>
                    <a:pt x="636" y="486"/>
                  </a:lnTo>
                  <a:lnTo>
                    <a:pt x="643" y="483"/>
                  </a:lnTo>
                  <a:lnTo>
                    <a:pt x="651" y="470"/>
                  </a:lnTo>
                  <a:lnTo>
                    <a:pt x="662" y="457"/>
                  </a:lnTo>
                  <a:lnTo>
                    <a:pt x="673" y="455"/>
                  </a:lnTo>
                  <a:lnTo>
                    <a:pt x="684" y="453"/>
                  </a:lnTo>
                  <a:lnTo>
                    <a:pt x="689" y="444"/>
                  </a:lnTo>
                  <a:lnTo>
                    <a:pt x="697" y="435"/>
                  </a:lnTo>
                  <a:lnTo>
                    <a:pt x="702" y="433"/>
                  </a:lnTo>
                  <a:lnTo>
                    <a:pt x="708" y="435"/>
                  </a:lnTo>
                  <a:lnTo>
                    <a:pt x="713" y="435"/>
                  </a:lnTo>
                  <a:lnTo>
                    <a:pt x="719" y="435"/>
                  </a:lnTo>
                  <a:lnTo>
                    <a:pt x="725" y="429"/>
                  </a:lnTo>
                  <a:lnTo>
                    <a:pt x="732" y="424"/>
                  </a:lnTo>
                  <a:lnTo>
                    <a:pt x="743" y="422"/>
                  </a:lnTo>
                  <a:lnTo>
                    <a:pt x="756" y="416"/>
                  </a:lnTo>
                  <a:lnTo>
                    <a:pt x="762" y="407"/>
                  </a:lnTo>
                  <a:lnTo>
                    <a:pt x="769" y="392"/>
                  </a:lnTo>
                  <a:lnTo>
                    <a:pt x="776" y="377"/>
                  </a:lnTo>
                  <a:lnTo>
                    <a:pt x="778" y="366"/>
                  </a:lnTo>
                  <a:lnTo>
                    <a:pt x="776" y="361"/>
                  </a:lnTo>
                  <a:lnTo>
                    <a:pt x="773" y="355"/>
                  </a:lnTo>
                  <a:lnTo>
                    <a:pt x="767" y="352"/>
                  </a:lnTo>
                  <a:lnTo>
                    <a:pt x="760" y="346"/>
                  </a:lnTo>
                  <a:lnTo>
                    <a:pt x="747" y="339"/>
                  </a:lnTo>
                  <a:lnTo>
                    <a:pt x="737" y="329"/>
                  </a:lnTo>
                  <a:lnTo>
                    <a:pt x="739" y="324"/>
                  </a:lnTo>
                  <a:lnTo>
                    <a:pt x="745" y="318"/>
                  </a:lnTo>
                  <a:lnTo>
                    <a:pt x="750" y="315"/>
                  </a:lnTo>
                  <a:lnTo>
                    <a:pt x="756" y="311"/>
                  </a:lnTo>
                  <a:lnTo>
                    <a:pt x="767" y="304"/>
                  </a:lnTo>
                  <a:lnTo>
                    <a:pt x="778" y="294"/>
                  </a:lnTo>
                  <a:lnTo>
                    <a:pt x="795" y="270"/>
                  </a:lnTo>
                  <a:lnTo>
                    <a:pt x="808" y="250"/>
                  </a:lnTo>
                  <a:lnTo>
                    <a:pt x="832" y="237"/>
                  </a:lnTo>
                  <a:lnTo>
                    <a:pt x="858" y="226"/>
                  </a:lnTo>
                  <a:lnTo>
                    <a:pt x="859" y="217"/>
                  </a:lnTo>
                  <a:lnTo>
                    <a:pt x="859" y="204"/>
                  </a:lnTo>
                  <a:lnTo>
                    <a:pt x="859" y="191"/>
                  </a:lnTo>
                  <a:lnTo>
                    <a:pt x="856" y="182"/>
                  </a:lnTo>
                  <a:lnTo>
                    <a:pt x="852" y="178"/>
                  </a:lnTo>
                  <a:lnTo>
                    <a:pt x="846" y="174"/>
                  </a:lnTo>
                  <a:lnTo>
                    <a:pt x="841" y="170"/>
                  </a:lnTo>
                  <a:lnTo>
                    <a:pt x="835" y="169"/>
                  </a:lnTo>
                  <a:lnTo>
                    <a:pt x="822" y="167"/>
                  </a:lnTo>
                  <a:lnTo>
                    <a:pt x="811" y="165"/>
                  </a:lnTo>
                  <a:lnTo>
                    <a:pt x="804" y="158"/>
                  </a:lnTo>
                  <a:lnTo>
                    <a:pt x="798" y="145"/>
                  </a:lnTo>
                  <a:lnTo>
                    <a:pt x="791" y="128"/>
                  </a:lnTo>
                  <a:lnTo>
                    <a:pt x="784" y="111"/>
                  </a:lnTo>
                  <a:lnTo>
                    <a:pt x="776" y="95"/>
                  </a:lnTo>
                  <a:lnTo>
                    <a:pt x="767" y="76"/>
                  </a:lnTo>
                  <a:lnTo>
                    <a:pt x="763" y="67"/>
                  </a:lnTo>
                  <a:lnTo>
                    <a:pt x="762" y="58"/>
                  </a:lnTo>
                  <a:lnTo>
                    <a:pt x="763" y="49"/>
                  </a:lnTo>
                  <a:lnTo>
                    <a:pt x="767" y="39"/>
                  </a:lnTo>
                  <a:lnTo>
                    <a:pt x="782" y="21"/>
                  </a:lnTo>
                  <a:lnTo>
                    <a:pt x="789" y="12"/>
                  </a:lnTo>
                  <a:lnTo>
                    <a:pt x="784" y="6"/>
                  </a:lnTo>
                  <a:lnTo>
                    <a:pt x="778" y="2"/>
                  </a:lnTo>
                  <a:lnTo>
                    <a:pt x="771" y="0"/>
                  </a:lnTo>
                  <a:lnTo>
                    <a:pt x="765" y="0"/>
                  </a:lnTo>
                  <a:lnTo>
                    <a:pt x="760" y="2"/>
                  </a:lnTo>
                  <a:lnTo>
                    <a:pt x="758" y="4"/>
                  </a:lnTo>
                  <a:lnTo>
                    <a:pt x="756" y="8"/>
                  </a:lnTo>
                  <a:lnTo>
                    <a:pt x="754" y="12"/>
                  </a:lnTo>
                  <a:lnTo>
                    <a:pt x="754" y="19"/>
                  </a:lnTo>
                  <a:lnTo>
                    <a:pt x="752" y="25"/>
                  </a:lnTo>
                  <a:lnTo>
                    <a:pt x="739" y="26"/>
                  </a:lnTo>
                  <a:lnTo>
                    <a:pt x="726" y="28"/>
                  </a:lnTo>
                  <a:lnTo>
                    <a:pt x="728" y="43"/>
                  </a:lnTo>
                  <a:lnTo>
                    <a:pt x="726" y="58"/>
                  </a:lnTo>
                  <a:lnTo>
                    <a:pt x="721" y="65"/>
                  </a:lnTo>
                  <a:lnTo>
                    <a:pt x="715" y="69"/>
                  </a:lnTo>
                  <a:lnTo>
                    <a:pt x="710" y="71"/>
                  </a:lnTo>
                  <a:lnTo>
                    <a:pt x="704" y="73"/>
                  </a:lnTo>
                  <a:lnTo>
                    <a:pt x="697" y="82"/>
                  </a:lnTo>
                  <a:lnTo>
                    <a:pt x="689" y="89"/>
                  </a:lnTo>
                  <a:lnTo>
                    <a:pt x="673" y="85"/>
                  </a:lnTo>
                  <a:lnTo>
                    <a:pt x="662" y="80"/>
                  </a:lnTo>
                  <a:lnTo>
                    <a:pt x="653" y="84"/>
                  </a:lnTo>
                  <a:lnTo>
                    <a:pt x="643" y="85"/>
                  </a:lnTo>
                  <a:lnTo>
                    <a:pt x="638" y="84"/>
                  </a:lnTo>
                  <a:lnTo>
                    <a:pt x="634" y="82"/>
                  </a:lnTo>
                  <a:lnTo>
                    <a:pt x="632" y="78"/>
                  </a:lnTo>
                  <a:lnTo>
                    <a:pt x="630" y="74"/>
                  </a:lnTo>
                  <a:lnTo>
                    <a:pt x="627" y="67"/>
                  </a:lnTo>
                  <a:lnTo>
                    <a:pt x="621" y="63"/>
                  </a:lnTo>
                  <a:lnTo>
                    <a:pt x="616" y="69"/>
                  </a:lnTo>
                  <a:lnTo>
                    <a:pt x="610" y="76"/>
                  </a:lnTo>
                  <a:lnTo>
                    <a:pt x="597" y="69"/>
                  </a:lnTo>
                  <a:lnTo>
                    <a:pt x="582" y="65"/>
                  </a:lnTo>
                  <a:lnTo>
                    <a:pt x="573" y="76"/>
                  </a:lnTo>
                  <a:lnTo>
                    <a:pt x="564" y="91"/>
                  </a:lnTo>
                  <a:lnTo>
                    <a:pt x="545" y="91"/>
                  </a:lnTo>
                  <a:lnTo>
                    <a:pt x="531" y="87"/>
                  </a:lnTo>
                  <a:lnTo>
                    <a:pt x="520" y="91"/>
                  </a:lnTo>
                  <a:lnTo>
                    <a:pt x="510" y="97"/>
                  </a:lnTo>
                  <a:lnTo>
                    <a:pt x="505" y="102"/>
                  </a:lnTo>
                  <a:lnTo>
                    <a:pt x="497" y="108"/>
                  </a:lnTo>
                  <a:lnTo>
                    <a:pt x="488" y="110"/>
                  </a:lnTo>
                  <a:lnTo>
                    <a:pt x="477" y="113"/>
                  </a:lnTo>
                  <a:lnTo>
                    <a:pt x="470" y="115"/>
                  </a:lnTo>
                  <a:lnTo>
                    <a:pt x="464" y="119"/>
                  </a:lnTo>
                  <a:lnTo>
                    <a:pt x="460" y="124"/>
                  </a:lnTo>
                  <a:lnTo>
                    <a:pt x="457" y="132"/>
                  </a:lnTo>
                  <a:lnTo>
                    <a:pt x="457" y="137"/>
                  </a:lnTo>
                  <a:lnTo>
                    <a:pt x="460" y="145"/>
                  </a:lnTo>
                  <a:lnTo>
                    <a:pt x="466" y="148"/>
                  </a:lnTo>
                  <a:lnTo>
                    <a:pt x="471" y="152"/>
                  </a:lnTo>
                  <a:lnTo>
                    <a:pt x="483" y="159"/>
                  </a:lnTo>
                  <a:lnTo>
                    <a:pt x="488" y="165"/>
                  </a:lnTo>
                  <a:lnTo>
                    <a:pt x="483" y="174"/>
                  </a:lnTo>
                  <a:lnTo>
                    <a:pt x="475" y="185"/>
                  </a:lnTo>
                  <a:lnTo>
                    <a:pt x="473" y="195"/>
                  </a:lnTo>
                  <a:lnTo>
                    <a:pt x="471" y="206"/>
                  </a:lnTo>
                  <a:lnTo>
                    <a:pt x="473" y="215"/>
                  </a:lnTo>
                  <a:lnTo>
                    <a:pt x="475" y="226"/>
                  </a:lnTo>
                  <a:lnTo>
                    <a:pt x="479" y="246"/>
                  </a:lnTo>
                  <a:lnTo>
                    <a:pt x="484" y="270"/>
                  </a:lnTo>
                  <a:lnTo>
                    <a:pt x="486" y="259"/>
                  </a:lnTo>
                  <a:lnTo>
                    <a:pt x="492" y="248"/>
                  </a:lnTo>
                  <a:lnTo>
                    <a:pt x="494" y="239"/>
                  </a:lnTo>
                  <a:lnTo>
                    <a:pt x="495" y="230"/>
                  </a:lnTo>
                  <a:lnTo>
                    <a:pt x="495" y="220"/>
                  </a:lnTo>
                  <a:lnTo>
                    <a:pt x="495" y="209"/>
                  </a:lnTo>
                  <a:lnTo>
                    <a:pt x="501" y="198"/>
                  </a:lnTo>
                  <a:lnTo>
                    <a:pt x="508" y="185"/>
                  </a:lnTo>
                  <a:lnTo>
                    <a:pt x="512" y="183"/>
                  </a:lnTo>
                  <a:lnTo>
                    <a:pt x="520" y="185"/>
                  </a:lnTo>
                  <a:lnTo>
                    <a:pt x="525" y="187"/>
                  </a:lnTo>
                  <a:lnTo>
                    <a:pt x="531" y="189"/>
                  </a:lnTo>
                  <a:lnTo>
                    <a:pt x="525" y="198"/>
                  </a:lnTo>
                  <a:lnTo>
                    <a:pt x="521" y="207"/>
                  </a:lnTo>
                  <a:lnTo>
                    <a:pt x="523" y="211"/>
                  </a:lnTo>
                  <a:lnTo>
                    <a:pt x="525" y="217"/>
                  </a:lnTo>
                  <a:lnTo>
                    <a:pt x="529" y="224"/>
                  </a:lnTo>
                  <a:lnTo>
                    <a:pt x="529" y="233"/>
                  </a:lnTo>
                  <a:lnTo>
                    <a:pt x="527" y="254"/>
                  </a:lnTo>
                  <a:lnTo>
                    <a:pt x="525" y="270"/>
                  </a:lnTo>
                  <a:lnTo>
                    <a:pt x="523" y="285"/>
                  </a:lnTo>
                  <a:lnTo>
                    <a:pt x="520" y="298"/>
                  </a:lnTo>
                  <a:lnTo>
                    <a:pt x="523" y="311"/>
                  </a:lnTo>
                  <a:lnTo>
                    <a:pt x="525" y="320"/>
                  </a:lnTo>
                  <a:lnTo>
                    <a:pt x="516" y="352"/>
                  </a:lnTo>
                  <a:lnTo>
                    <a:pt x="508" y="370"/>
                  </a:lnTo>
                  <a:lnTo>
                    <a:pt x="505" y="370"/>
                  </a:lnTo>
                  <a:lnTo>
                    <a:pt x="503" y="368"/>
                  </a:lnTo>
                  <a:lnTo>
                    <a:pt x="503" y="366"/>
                  </a:lnTo>
                  <a:lnTo>
                    <a:pt x="503" y="363"/>
                  </a:lnTo>
                  <a:lnTo>
                    <a:pt x="503" y="359"/>
                  </a:lnTo>
                  <a:lnTo>
                    <a:pt x="503" y="353"/>
                  </a:lnTo>
                  <a:lnTo>
                    <a:pt x="495" y="355"/>
                  </a:lnTo>
                  <a:lnTo>
                    <a:pt x="488" y="359"/>
                  </a:lnTo>
                  <a:lnTo>
                    <a:pt x="484" y="363"/>
                  </a:lnTo>
                  <a:lnTo>
                    <a:pt x="481" y="368"/>
                  </a:lnTo>
                  <a:lnTo>
                    <a:pt x="490" y="381"/>
                  </a:lnTo>
                  <a:lnTo>
                    <a:pt x="499" y="392"/>
                  </a:lnTo>
                  <a:lnTo>
                    <a:pt x="486" y="403"/>
                  </a:lnTo>
                  <a:lnTo>
                    <a:pt x="471" y="413"/>
                  </a:lnTo>
                  <a:lnTo>
                    <a:pt x="468" y="431"/>
                  </a:lnTo>
                  <a:lnTo>
                    <a:pt x="462" y="444"/>
                  </a:lnTo>
                  <a:lnTo>
                    <a:pt x="442" y="453"/>
                  </a:lnTo>
                  <a:lnTo>
                    <a:pt x="427" y="461"/>
                  </a:lnTo>
                  <a:lnTo>
                    <a:pt x="420" y="466"/>
                  </a:lnTo>
                  <a:lnTo>
                    <a:pt x="414" y="470"/>
                  </a:lnTo>
                  <a:lnTo>
                    <a:pt x="411" y="475"/>
                  </a:lnTo>
                  <a:lnTo>
                    <a:pt x="407" y="483"/>
                  </a:lnTo>
                  <a:lnTo>
                    <a:pt x="394" y="485"/>
                  </a:lnTo>
                  <a:lnTo>
                    <a:pt x="383" y="488"/>
                  </a:lnTo>
                  <a:lnTo>
                    <a:pt x="374" y="512"/>
                  </a:lnTo>
                  <a:lnTo>
                    <a:pt x="366" y="540"/>
                  </a:lnTo>
                  <a:lnTo>
                    <a:pt x="350" y="547"/>
                  </a:lnTo>
                  <a:lnTo>
                    <a:pt x="335" y="553"/>
                  </a:lnTo>
                  <a:lnTo>
                    <a:pt x="320" y="560"/>
                  </a:lnTo>
                  <a:lnTo>
                    <a:pt x="303" y="564"/>
                  </a:lnTo>
                  <a:lnTo>
                    <a:pt x="302" y="564"/>
                  </a:lnTo>
                  <a:lnTo>
                    <a:pt x="300" y="564"/>
                  </a:lnTo>
                  <a:lnTo>
                    <a:pt x="296" y="573"/>
                  </a:lnTo>
                  <a:lnTo>
                    <a:pt x="290" y="579"/>
                  </a:lnTo>
                  <a:lnTo>
                    <a:pt x="285" y="579"/>
                  </a:lnTo>
                  <a:lnTo>
                    <a:pt x="279" y="579"/>
                  </a:lnTo>
                  <a:lnTo>
                    <a:pt x="272" y="584"/>
                  </a:lnTo>
                  <a:lnTo>
                    <a:pt x="266" y="588"/>
                  </a:lnTo>
                  <a:lnTo>
                    <a:pt x="263" y="586"/>
                  </a:lnTo>
                  <a:lnTo>
                    <a:pt x="259" y="584"/>
                  </a:lnTo>
                  <a:lnTo>
                    <a:pt x="257" y="581"/>
                  </a:lnTo>
                  <a:lnTo>
                    <a:pt x="255" y="577"/>
                  </a:lnTo>
                  <a:lnTo>
                    <a:pt x="254" y="568"/>
                  </a:lnTo>
                  <a:lnTo>
                    <a:pt x="250" y="562"/>
                  </a:lnTo>
                  <a:lnTo>
                    <a:pt x="239" y="562"/>
                  </a:lnTo>
                  <a:lnTo>
                    <a:pt x="226" y="564"/>
                  </a:lnTo>
                  <a:lnTo>
                    <a:pt x="224" y="560"/>
                  </a:lnTo>
                  <a:lnTo>
                    <a:pt x="222" y="555"/>
                  </a:lnTo>
                  <a:lnTo>
                    <a:pt x="222" y="549"/>
                  </a:lnTo>
                  <a:lnTo>
                    <a:pt x="222" y="544"/>
                  </a:lnTo>
                  <a:lnTo>
                    <a:pt x="220" y="538"/>
                  </a:lnTo>
                  <a:lnTo>
                    <a:pt x="218" y="535"/>
                  </a:lnTo>
                  <a:lnTo>
                    <a:pt x="217" y="533"/>
                  </a:lnTo>
                  <a:lnTo>
                    <a:pt x="213" y="531"/>
                  </a:lnTo>
                  <a:lnTo>
                    <a:pt x="205" y="531"/>
                  </a:lnTo>
                  <a:lnTo>
                    <a:pt x="200" y="527"/>
                  </a:lnTo>
                  <a:lnTo>
                    <a:pt x="196" y="518"/>
                  </a:lnTo>
                  <a:lnTo>
                    <a:pt x="194" y="512"/>
                  </a:lnTo>
                  <a:lnTo>
                    <a:pt x="191" y="507"/>
                  </a:lnTo>
                  <a:lnTo>
                    <a:pt x="187" y="505"/>
                  </a:lnTo>
                  <a:lnTo>
                    <a:pt x="174" y="503"/>
                  </a:lnTo>
                  <a:lnTo>
                    <a:pt x="159" y="505"/>
                  </a:lnTo>
                  <a:lnTo>
                    <a:pt x="154" y="503"/>
                  </a:lnTo>
                  <a:lnTo>
                    <a:pt x="148" y="498"/>
                  </a:lnTo>
                  <a:lnTo>
                    <a:pt x="143" y="488"/>
                  </a:lnTo>
                  <a:lnTo>
                    <a:pt x="137" y="479"/>
                  </a:lnTo>
                  <a:lnTo>
                    <a:pt x="130" y="470"/>
                  </a:lnTo>
                  <a:lnTo>
                    <a:pt x="120" y="462"/>
                  </a:lnTo>
                  <a:lnTo>
                    <a:pt x="111" y="453"/>
                  </a:lnTo>
                  <a:lnTo>
                    <a:pt x="102" y="448"/>
                  </a:lnTo>
                  <a:lnTo>
                    <a:pt x="84" y="424"/>
                  </a:lnTo>
                  <a:lnTo>
                    <a:pt x="74" y="409"/>
                  </a:lnTo>
                  <a:lnTo>
                    <a:pt x="52" y="425"/>
                  </a:lnTo>
                  <a:lnTo>
                    <a:pt x="23" y="451"/>
                  </a:lnTo>
                  <a:lnTo>
                    <a:pt x="19" y="453"/>
                  </a:lnTo>
                  <a:lnTo>
                    <a:pt x="13" y="455"/>
                  </a:lnTo>
                  <a:lnTo>
                    <a:pt x="8" y="455"/>
                  </a:lnTo>
                  <a:lnTo>
                    <a:pt x="2" y="455"/>
                  </a:lnTo>
                  <a:lnTo>
                    <a:pt x="4" y="461"/>
                  </a:lnTo>
                  <a:lnTo>
                    <a:pt x="4" y="468"/>
                  </a:lnTo>
                  <a:lnTo>
                    <a:pt x="2" y="475"/>
                  </a:lnTo>
                  <a:lnTo>
                    <a:pt x="2" y="485"/>
                  </a:lnTo>
                  <a:lnTo>
                    <a:pt x="0" y="492"/>
                  </a:lnTo>
                  <a:lnTo>
                    <a:pt x="0" y="499"/>
                  </a:lnTo>
                  <a:lnTo>
                    <a:pt x="0" y="507"/>
                  </a:lnTo>
                  <a:lnTo>
                    <a:pt x="2" y="512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26" name="Freeform 22"/>
            <p:cNvSpPr>
              <a:spLocks/>
            </p:cNvSpPr>
            <p:nvPr/>
          </p:nvSpPr>
          <p:spPr bwMode="auto">
            <a:xfrm>
              <a:off x="5642974" y="5925759"/>
              <a:ext cx="916514" cy="630455"/>
            </a:xfrm>
            <a:custGeom>
              <a:avLst/>
              <a:gdLst>
                <a:gd name="T0" fmla="*/ 48411 w 527"/>
                <a:gd name="T1" fmla="*/ 425450 h 335"/>
                <a:gd name="T2" fmla="*/ 70416 w 527"/>
                <a:gd name="T3" fmla="*/ 434975 h 335"/>
                <a:gd name="T4" fmla="*/ 95355 w 527"/>
                <a:gd name="T5" fmla="*/ 434975 h 335"/>
                <a:gd name="T6" fmla="*/ 149635 w 527"/>
                <a:gd name="T7" fmla="*/ 401637 h 335"/>
                <a:gd name="T8" fmla="*/ 176041 w 527"/>
                <a:gd name="T9" fmla="*/ 396875 h 335"/>
                <a:gd name="T10" fmla="*/ 278731 w 527"/>
                <a:gd name="T11" fmla="*/ 363537 h 335"/>
                <a:gd name="T12" fmla="*/ 287533 w 527"/>
                <a:gd name="T13" fmla="*/ 411162 h 335"/>
                <a:gd name="T14" fmla="*/ 347681 w 527"/>
                <a:gd name="T15" fmla="*/ 390525 h 335"/>
                <a:gd name="T16" fmla="*/ 399026 w 527"/>
                <a:gd name="T17" fmla="*/ 401637 h 335"/>
                <a:gd name="T18" fmla="*/ 412229 w 527"/>
                <a:gd name="T19" fmla="*/ 439737 h 335"/>
                <a:gd name="T20" fmla="*/ 460640 w 527"/>
                <a:gd name="T21" fmla="*/ 495300 h 335"/>
                <a:gd name="T22" fmla="*/ 492915 w 527"/>
                <a:gd name="T23" fmla="*/ 490537 h 335"/>
                <a:gd name="T24" fmla="*/ 539859 w 527"/>
                <a:gd name="T25" fmla="*/ 519112 h 335"/>
                <a:gd name="T26" fmla="*/ 566265 w 527"/>
                <a:gd name="T27" fmla="*/ 519112 h 335"/>
                <a:gd name="T28" fmla="*/ 588270 w 527"/>
                <a:gd name="T29" fmla="*/ 525462 h 335"/>
                <a:gd name="T30" fmla="*/ 610275 w 527"/>
                <a:gd name="T31" fmla="*/ 531812 h 335"/>
                <a:gd name="T32" fmla="*/ 661620 w 527"/>
                <a:gd name="T33" fmla="*/ 490537 h 335"/>
                <a:gd name="T34" fmla="*/ 685092 w 527"/>
                <a:gd name="T35" fmla="*/ 466725 h 335"/>
                <a:gd name="T36" fmla="*/ 693894 w 527"/>
                <a:gd name="T37" fmla="*/ 442912 h 335"/>
                <a:gd name="T38" fmla="*/ 668955 w 527"/>
                <a:gd name="T39" fmla="*/ 342900 h 335"/>
                <a:gd name="T40" fmla="*/ 685092 w 527"/>
                <a:gd name="T41" fmla="*/ 296862 h 335"/>
                <a:gd name="T42" fmla="*/ 718834 w 527"/>
                <a:gd name="T43" fmla="*/ 261937 h 335"/>
                <a:gd name="T44" fmla="*/ 742306 w 527"/>
                <a:gd name="T45" fmla="*/ 207962 h 335"/>
                <a:gd name="T46" fmla="*/ 739372 w 527"/>
                <a:gd name="T47" fmla="*/ 176212 h 335"/>
                <a:gd name="T48" fmla="*/ 745240 w 527"/>
                <a:gd name="T49" fmla="*/ 138112 h 335"/>
                <a:gd name="T50" fmla="*/ 751108 w 527"/>
                <a:gd name="T51" fmla="*/ 117475 h 335"/>
                <a:gd name="T52" fmla="*/ 773113 w 527"/>
                <a:gd name="T53" fmla="*/ 111125 h 335"/>
                <a:gd name="T54" fmla="*/ 745240 w 527"/>
                <a:gd name="T55" fmla="*/ 68262 h 335"/>
                <a:gd name="T56" fmla="*/ 726169 w 527"/>
                <a:gd name="T57" fmla="*/ 76200 h 335"/>
                <a:gd name="T58" fmla="*/ 704163 w 527"/>
                <a:gd name="T59" fmla="*/ 79375 h 335"/>
                <a:gd name="T60" fmla="*/ 683625 w 527"/>
                <a:gd name="T61" fmla="*/ 50800 h 335"/>
                <a:gd name="T62" fmla="*/ 664554 w 527"/>
                <a:gd name="T63" fmla="*/ 38100 h 335"/>
                <a:gd name="T64" fmla="*/ 601473 w 527"/>
                <a:gd name="T65" fmla="*/ 0 h 335"/>
                <a:gd name="T66" fmla="*/ 579468 w 527"/>
                <a:gd name="T67" fmla="*/ 17462 h 335"/>
                <a:gd name="T68" fmla="*/ 547194 w 527"/>
                <a:gd name="T69" fmla="*/ 26987 h 335"/>
                <a:gd name="T70" fmla="*/ 492915 w 527"/>
                <a:gd name="T71" fmla="*/ 23812 h 335"/>
                <a:gd name="T72" fmla="*/ 469442 w 527"/>
                <a:gd name="T73" fmla="*/ 17462 h 335"/>
                <a:gd name="T74" fmla="*/ 453305 w 527"/>
                <a:gd name="T75" fmla="*/ 17462 h 335"/>
                <a:gd name="T76" fmla="*/ 438635 w 527"/>
                <a:gd name="T77" fmla="*/ 90487 h 335"/>
                <a:gd name="T78" fmla="*/ 360884 w 527"/>
                <a:gd name="T79" fmla="*/ 165100 h 335"/>
                <a:gd name="T80" fmla="*/ 303671 w 527"/>
                <a:gd name="T81" fmla="*/ 203200 h 335"/>
                <a:gd name="T82" fmla="*/ 258193 w 527"/>
                <a:gd name="T83" fmla="*/ 220662 h 335"/>
                <a:gd name="T84" fmla="*/ 233254 w 527"/>
                <a:gd name="T85" fmla="*/ 207962 h 335"/>
                <a:gd name="T86" fmla="*/ 178975 w 527"/>
                <a:gd name="T87" fmla="*/ 190500 h 335"/>
                <a:gd name="T88" fmla="*/ 137899 w 527"/>
                <a:gd name="T89" fmla="*/ 149225 h 335"/>
                <a:gd name="T90" fmla="*/ 99757 w 527"/>
                <a:gd name="T91" fmla="*/ 152400 h 335"/>
                <a:gd name="T92" fmla="*/ 89487 w 527"/>
                <a:gd name="T93" fmla="*/ 182562 h 335"/>
                <a:gd name="T94" fmla="*/ 35208 w 527"/>
                <a:gd name="T95" fmla="*/ 200025 h 335"/>
                <a:gd name="T96" fmla="*/ 0 w 527"/>
                <a:gd name="T97" fmla="*/ 255587 h 335"/>
                <a:gd name="T98" fmla="*/ 24939 w 527"/>
                <a:gd name="T99" fmla="*/ 320675 h 335"/>
                <a:gd name="T100" fmla="*/ 60147 w 527"/>
                <a:gd name="T101" fmla="*/ 373062 h 335"/>
                <a:gd name="T102" fmla="*/ 60147 w 527"/>
                <a:gd name="T103" fmla="*/ 390525 h 335"/>
                <a:gd name="T104" fmla="*/ 38142 w 527"/>
                <a:gd name="T105" fmla="*/ 384175 h 335"/>
                <a:gd name="T106" fmla="*/ 24939 w 527"/>
                <a:gd name="T107" fmla="*/ 381000 h 335"/>
                <a:gd name="T108" fmla="*/ 24939 w 527"/>
                <a:gd name="T109" fmla="*/ 407987 h 33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27"/>
                <a:gd name="T166" fmla="*/ 0 h 335"/>
                <a:gd name="T167" fmla="*/ 527 w 527"/>
                <a:gd name="T168" fmla="*/ 335 h 33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27" h="335">
                  <a:moveTo>
                    <a:pt x="32" y="270"/>
                  </a:moveTo>
                  <a:lnTo>
                    <a:pt x="32" y="268"/>
                  </a:lnTo>
                  <a:lnTo>
                    <a:pt x="33" y="268"/>
                  </a:lnTo>
                  <a:lnTo>
                    <a:pt x="39" y="268"/>
                  </a:lnTo>
                  <a:lnTo>
                    <a:pt x="44" y="272"/>
                  </a:lnTo>
                  <a:lnTo>
                    <a:pt x="48" y="274"/>
                  </a:lnTo>
                  <a:lnTo>
                    <a:pt x="54" y="275"/>
                  </a:lnTo>
                  <a:lnTo>
                    <a:pt x="59" y="275"/>
                  </a:lnTo>
                  <a:lnTo>
                    <a:pt x="65" y="274"/>
                  </a:lnTo>
                  <a:lnTo>
                    <a:pt x="80" y="266"/>
                  </a:lnTo>
                  <a:lnTo>
                    <a:pt x="94" y="257"/>
                  </a:lnTo>
                  <a:lnTo>
                    <a:pt x="102" y="253"/>
                  </a:lnTo>
                  <a:lnTo>
                    <a:pt x="109" y="251"/>
                  </a:lnTo>
                  <a:lnTo>
                    <a:pt x="115" y="250"/>
                  </a:lnTo>
                  <a:lnTo>
                    <a:pt x="120" y="250"/>
                  </a:lnTo>
                  <a:lnTo>
                    <a:pt x="148" y="239"/>
                  </a:lnTo>
                  <a:lnTo>
                    <a:pt x="174" y="229"/>
                  </a:lnTo>
                  <a:lnTo>
                    <a:pt x="190" y="229"/>
                  </a:lnTo>
                  <a:lnTo>
                    <a:pt x="201" y="231"/>
                  </a:lnTo>
                  <a:lnTo>
                    <a:pt x="196" y="248"/>
                  </a:lnTo>
                  <a:lnTo>
                    <a:pt x="196" y="259"/>
                  </a:lnTo>
                  <a:lnTo>
                    <a:pt x="209" y="253"/>
                  </a:lnTo>
                  <a:lnTo>
                    <a:pt x="224" y="250"/>
                  </a:lnTo>
                  <a:lnTo>
                    <a:pt x="237" y="246"/>
                  </a:lnTo>
                  <a:lnTo>
                    <a:pt x="251" y="246"/>
                  </a:lnTo>
                  <a:lnTo>
                    <a:pt x="262" y="250"/>
                  </a:lnTo>
                  <a:lnTo>
                    <a:pt x="272" y="253"/>
                  </a:lnTo>
                  <a:lnTo>
                    <a:pt x="277" y="257"/>
                  </a:lnTo>
                  <a:lnTo>
                    <a:pt x="279" y="264"/>
                  </a:lnTo>
                  <a:lnTo>
                    <a:pt x="281" y="277"/>
                  </a:lnTo>
                  <a:lnTo>
                    <a:pt x="285" y="292"/>
                  </a:lnTo>
                  <a:lnTo>
                    <a:pt x="299" y="303"/>
                  </a:lnTo>
                  <a:lnTo>
                    <a:pt x="314" y="312"/>
                  </a:lnTo>
                  <a:lnTo>
                    <a:pt x="322" y="311"/>
                  </a:lnTo>
                  <a:lnTo>
                    <a:pt x="329" y="311"/>
                  </a:lnTo>
                  <a:lnTo>
                    <a:pt x="336" y="309"/>
                  </a:lnTo>
                  <a:lnTo>
                    <a:pt x="344" y="312"/>
                  </a:lnTo>
                  <a:lnTo>
                    <a:pt x="357" y="322"/>
                  </a:lnTo>
                  <a:lnTo>
                    <a:pt x="368" y="327"/>
                  </a:lnTo>
                  <a:lnTo>
                    <a:pt x="373" y="327"/>
                  </a:lnTo>
                  <a:lnTo>
                    <a:pt x="381" y="327"/>
                  </a:lnTo>
                  <a:lnTo>
                    <a:pt x="386" y="327"/>
                  </a:lnTo>
                  <a:lnTo>
                    <a:pt x="394" y="325"/>
                  </a:lnTo>
                  <a:lnTo>
                    <a:pt x="397" y="327"/>
                  </a:lnTo>
                  <a:lnTo>
                    <a:pt x="401" y="331"/>
                  </a:lnTo>
                  <a:lnTo>
                    <a:pt x="405" y="333"/>
                  </a:lnTo>
                  <a:lnTo>
                    <a:pt x="410" y="335"/>
                  </a:lnTo>
                  <a:lnTo>
                    <a:pt x="416" y="335"/>
                  </a:lnTo>
                  <a:lnTo>
                    <a:pt x="423" y="333"/>
                  </a:lnTo>
                  <a:lnTo>
                    <a:pt x="438" y="322"/>
                  </a:lnTo>
                  <a:lnTo>
                    <a:pt x="451" y="309"/>
                  </a:lnTo>
                  <a:lnTo>
                    <a:pt x="456" y="303"/>
                  </a:lnTo>
                  <a:lnTo>
                    <a:pt x="464" y="298"/>
                  </a:lnTo>
                  <a:lnTo>
                    <a:pt x="467" y="294"/>
                  </a:lnTo>
                  <a:lnTo>
                    <a:pt x="471" y="290"/>
                  </a:lnTo>
                  <a:lnTo>
                    <a:pt x="473" y="285"/>
                  </a:lnTo>
                  <a:lnTo>
                    <a:pt x="473" y="279"/>
                  </a:lnTo>
                  <a:lnTo>
                    <a:pt x="464" y="259"/>
                  </a:lnTo>
                  <a:lnTo>
                    <a:pt x="455" y="233"/>
                  </a:lnTo>
                  <a:lnTo>
                    <a:pt x="456" y="216"/>
                  </a:lnTo>
                  <a:lnTo>
                    <a:pt x="460" y="202"/>
                  </a:lnTo>
                  <a:lnTo>
                    <a:pt x="464" y="194"/>
                  </a:lnTo>
                  <a:lnTo>
                    <a:pt x="467" y="187"/>
                  </a:lnTo>
                  <a:lnTo>
                    <a:pt x="471" y="181"/>
                  </a:lnTo>
                  <a:lnTo>
                    <a:pt x="477" y="176"/>
                  </a:lnTo>
                  <a:lnTo>
                    <a:pt x="490" y="165"/>
                  </a:lnTo>
                  <a:lnTo>
                    <a:pt x="497" y="159"/>
                  </a:lnTo>
                  <a:lnTo>
                    <a:pt x="501" y="152"/>
                  </a:lnTo>
                  <a:lnTo>
                    <a:pt x="506" y="131"/>
                  </a:lnTo>
                  <a:lnTo>
                    <a:pt x="504" y="126"/>
                  </a:lnTo>
                  <a:lnTo>
                    <a:pt x="504" y="118"/>
                  </a:lnTo>
                  <a:lnTo>
                    <a:pt x="504" y="111"/>
                  </a:lnTo>
                  <a:lnTo>
                    <a:pt x="506" y="104"/>
                  </a:lnTo>
                  <a:lnTo>
                    <a:pt x="506" y="94"/>
                  </a:lnTo>
                  <a:lnTo>
                    <a:pt x="508" y="87"/>
                  </a:lnTo>
                  <a:lnTo>
                    <a:pt x="508" y="80"/>
                  </a:lnTo>
                  <a:lnTo>
                    <a:pt x="506" y="74"/>
                  </a:lnTo>
                  <a:lnTo>
                    <a:pt x="512" y="74"/>
                  </a:lnTo>
                  <a:lnTo>
                    <a:pt x="517" y="74"/>
                  </a:lnTo>
                  <a:lnTo>
                    <a:pt x="521" y="72"/>
                  </a:lnTo>
                  <a:lnTo>
                    <a:pt x="527" y="70"/>
                  </a:lnTo>
                  <a:lnTo>
                    <a:pt x="517" y="52"/>
                  </a:lnTo>
                  <a:lnTo>
                    <a:pt x="514" y="43"/>
                  </a:lnTo>
                  <a:lnTo>
                    <a:pt x="508" y="43"/>
                  </a:lnTo>
                  <a:lnTo>
                    <a:pt x="503" y="44"/>
                  </a:lnTo>
                  <a:lnTo>
                    <a:pt x="499" y="46"/>
                  </a:lnTo>
                  <a:lnTo>
                    <a:pt x="495" y="48"/>
                  </a:lnTo>
                  <a:lnTo>
                    <a:pt x="491" y="50"/>
                  </a:lnTo>
                  <a:lnTo>
                    <a:pt x="486" y="50"/>
                  </a:lnTo>
                  <a:lnTo>
                    <a:pt x="480" y="50"/>
                  </a:lnTo>
                  <a:lnTo>
                    <a:pt x="475" y="44"/>
                  </a:lnTo>
                  <a:lnTo>
                    <a:pt x="469" y="37"/>
                  </a:lnTo>
                  <a:lnTo>
                    <a:pt x="466" y="32"/>
                  </a:lnTo>
                  <a:lnTo>
                    <a:pt x="462" y="28"/>
                  </a:lnTo>
                  <a:lnTo>
                    <a:pt x="460" y="26"/>
                  </a:lnTo>
                  <a:lnTo>
                    <a:pt x="453" y="24"/>
                  </a:lnTo>
                  <a:lnTo>
                    <a:pt x="445" y="19"/>
                  </a:lnTo>
                  <a:lnTo>
                    <a:pt x="425" y="6"/>
                  </a:lnTo>
                  <a:lnTo>
                    <a:pt x="410" y="0"/>
                  </a:lnTo>
                  <a:lnTo>
                    <a:pt x="403" y="2"/>
                  </a:lnTo>
                  <a:lnTo>
                    <a:pt x="394" y="6"/>
                  </a:lnTo>
                  <a:lnTo>
                    <a:pt x="395" y="11"/>
                  </a:lnTo>
                  <a:lnTo>
                    <a:pt x="395" y="15"/>
                  </a:lnTo>
                  <a:lnTo>
                    <a:pt x="388" y="17"/>
                  </a:lnTo>
                  <a:lnTo>
                    <a:pt x="373" y="17"/>
                  </a:lnTo>
                  <a:lnTo>
                    <a:pt x="358" y="15"/>
                  </a:lnTo>
                  <a:lnTo>
                    <a:pt x="344" y="15"/>
                  </a:lnTo>
                  <a:lnTo>
                    <a:pt x="336" y="15"/>
                  </a:lnTo>
                  <a:lnTo>
                    <a:pt x="329" y="15"/>
                  </a:lnTo>
                  <a:lnTo>
                    <a:pt x="323" y="13"/>
                  </a:lnTo>
                  <a:lnTo>
                    <a:pt x="320" y="11"/>
                  </a:lnTo>
                  <a:lnTo>
                    <a:pt x="316" y="9"/>
                  </a:lnTo>
                  <a:lnTo>
                    <a:pt x="312" y="9"/>
                  </a:lnTo>
                  <a:lnTo>
                    <a:pt x="309" y="11"/>
                  </a:lnTo>
                  <a:lnTo>
                    <a:pt x="303" y="15"/>
                  </a:lnTo>
                  <a:lnTo>
                    <a:pt x="301" y="35"/>
                  </a:lnTo>
                  <a:lnTo>
                    <a:pt x="299" y="57"/>
                  </a:lnTo>
                  <a:lnTo>
                    <a:pt x="283" y="74"/>
                  </a:lnTo>
                  <a:lnTo>
                    <a:pt x="264" y="89"/>
                  </a:lnTo>
                  <a:lnTo>
                    <a:pt x="246" y="104"/>
                  </a:lnTo>
                  <a:lnTo>
                    <a:pt x="227" y="117"/>
                  </a:lnTo>
                  <a:lnTo>
                    <a:pt x="216" y="122"/>
                  </a:lnTo>
                  <a:lnTo>
                    <a:pt x="207" y="128"/>
                  </a:lnTo>
                  <a:lnTo>
                    <a:pt x="196" y="135"/>
                  </a:lnTo>
                  <a:lnTo>
                    <a:pt x="183" y="139"/>
                  </a:lnTo>
                  <a:lnTo>
                    <a:pt x="176" y="139"/>
                  </a:lnTo>
                  <a:lnTo>
                    <a:pt x="168" y="137"/>
                  </a:lnTo>
                  <a:lnTo>
                    <a:pt x="165" y="135"/>
                  </a:lnTo>
                  <a:lnTo>
                    <a:pt x="159" y="131"/>
                  </a:lnTo>
                  <a:lnTo>
                    <a:pt x="152" y="124"/>
                  </a:lnTo>
                  <a:lnTo>
                    <a:pt x="142" y="117"/>
                  </a:lnTo>
                  <a:lnTo>
                    <a:pt x="122" y="120"/>
                  </a:lnTo>
                  <a:lnTo>
                    <a:pt x="107" y="124"/>
                  </a:lnTo>
                  <a:lnTo>
                    <a:pt x="102" y="107"/>
                  </a:lnTo>
                  <a:lnTo>
                    <a:pt x="94" y="94"/>
                  </a:lnTo>
                  <a:lnTo>
                    <a:pt x="81" y="93"/>
                  </a:lnTo>
                  <a:lnTo>
                    <a:pt x="72" y="93"/>
                  </a:lnTo>
                  <a:lnTo>
                    <a:pt x="68" y="96"/>
                  </a:lnTo>
                  <a:lnTo>
                    <a:pt x="65" y="102"/>
                  </a:lnTo>
                  <a:lnTo>
                    <a:pt x="63" y="107"/>
                  </a:lnTo>
                  <a:lnTo>
                    <a:pt x="61" y="115"/>
                  </a:lnTo>
                  <a:lnTo>
                    <a:pt x="56" y="122"/>
                  </a:lnTo>
                  <a:lnTo>
                    <a:pt x="48" y="128"/>
                  </a:lnTo>
                  <a:lnTo>
                    <a:pt x="24" y="126"/>
                  </a:lnTo>
                  <a:lnTo>
                    <a:pt x="0" y="124"/>
                  </a:lnTo>
                  <a:lnTo>
                    <a:pt x="0" y="144"/>
                  </a:lnTo>
                  <a:lnTo>
                    <a:pt x="0" y="161"/>
                  </a:lnTo>
                  <a:lnTo>
                    <a:pt x="2" y="178"/>
                  </a:lnTo>
                  <a:lnTo>
                    <a:pt x="6" y="189"/>
                  </a:lnTo>
                  <a:lnTo>
                    <a:pt x="17" y="202"/>
                  </a:lnTo>
                  <a:lnTo>
                    <a:pt x="30" y="218"/>
                  </a:lnTo>
                  <a:lnTo>
                    <a:pt x="35" y="227"/>
                  </a:lnTo>
                  <a:lnTo>
                    <a:pt x="41" y="235"/>
                  </a:lnTo>
                  <a:lnTo>
                    <a:pt x="41" y="239"/>
                  </a:lnTo>
                  <a:lnTo>
                    <a:pt x="41" y="242"/>
                  </a:lnTo>
                  <a:lnTo>
                    <a:pt x="41" y="246"/>
                  </a:lnTo>
                  <a:lnTo>
                    <a:pt x="39" y="248"/>
                  </a:lnTo>
                  <a:lnTo>
                    <a:pt x="32" y="246"/>
                  </a:lnTo>
                  <a:lnTo>
                    <a:pt x="26" y="242"/>
                  </a:lnTo>
                  <a:lnTo>
                    <a:pt x="22" y="240"/>
                  </a:lnTo>
                  <a:lnTo>
                    <a:pt x="19" y="239"/>
                  </a:lnTo>
                  <a:lnTo>
                    <a:pt x="17" y="240"/>
                  </a:lnTo>
                  <a:lnTo>
                    <a:pt x="13" y="244"/>
                  </a:lnTo>
                  <a:lnTo>
                    <a:pt x="13" y="251"/>
                  </a:lnTo>
                  <a:lnTo>
                    <a:pt x="17" y="257"/>
                  </a:lnTo>
                  <a:lnTo>
                    <a:pt x="22" y="264"/>
                  </a:lnTo>
                  <a:lnTo>
                    <a:pt x="32" y="270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6260256" y="4239526"/>
              <a:ext cx="1780331" cy="2075798"/>
            </a:xfrm>
            <a:custGeom>
              <a:avLst/>
              <a:gdLst>
                <a:gd name="T0" fmla="*/ 668107 w 1025"/>
                <a:gd name="T1" fmla="*/ 44450 h 1103"/>
                <a:gd name="T2" fmla="*/ 676897 w 1025"/>
                <a:gd name="T3" fmla="*/ 125412 h 1103"/>
                <a:gd name="T4" fmla="*/ 671037 w 1025"/>
                <a:gd name="T5" fmla="*/ 277812 h 1103"/>
                <a:gd name="T6" fmla="*/ 632943 w 1025"/>
                <a:gd name="T7" fmla="*/ 390525 h 1103"/>
                <a:gd name="T8" fmla="*/ 610966 w 1025"/>
                <a:gd name="T9" fmla="*/ 542925 h 1103"/>
                <a:gd name="T10" fmla="*/ 608036 w 1025"/>
                <a:gd name="T11" fmla="*/ 622300 h 1103"/>
                <a:gd name="T12" fmla="*/ 649060 w 1025"/>
                <a:gd name="T13" fmla="*/ 688975 h 1103"/>
                <a:gd name="T14" fmla="*/ 575802 w 1025"/>
                <a:gd name="T15" fmla="*/ 760412 h 1103"/>
                <a:gd name="T16" fmla="*/ 517197 w 1025"/>
                <a:gd name="T17" fmla="*/ 698500 h 1103"/>
                <a:gd name="T18" fmla="*/ 470312 w 1025"/>
                <a:gd name="T19" fmla="*/ 741362 h 1103"/>
                <a:gd name="T20" fmla="*/ 386799 w 1025"/>
                <a:gd name="T21" fmla="*/ 830262 h 1103"/>
                <a:gd name="T22" fmla="*/ 378008 w 1025"/>
                <a:gd name="T23" fmla="*/ 917575 h 1103"/>
                <a:gd name="T24" fmla="*/ 335518 w 1025"/>
                <a:gd name="T25" fmla="*/ 889000 h 1103"/>
                <a:gd name="T26" fmla="*/ 284238 w 1025"/>
                <a:gd name="T27" fmla="*/ 868362 h 1103"/>
                <a:gd name="T28" fmla="*/ 224167 w 1025"/>
                <a:gd name="T29" fmla="*/ 885825 h 1103"/>
                <a:gd name="T30" fmla="*/ 147980 w 1025"/>
                <a:gd name="T31" fmla="*/ 1003300 h 1103"/>
                <a:gd name="T32" fmla="*/ 108421 w 1025"/>
                <a:gd name="T33" fmla="*/ 1135062 h 1103"/>
                <a:gd name="T34" fmla="*/ 76188 w 1025"/>
                <a:gd name="T35" fmla="*/ 1228724 h 1103"/>
                <a:gd name="T36" fmla="*/ 2930 w 1025"/>
                <a:gd name="T37" fmla="*/ 1339849 h 1103"/>
                <a:gd name="T38" fmla="*/ 102560 w 1025"/>
                <a:gd name="T39" fmla="*/ 1431924 h 1103"/>
                <a:gd name="T40" fmla="*/ 191934 w 1025"/>
                <a:gd name="T41" fmla="*/ 1501774 h 1103"/>
                <a:gd name="T42" fmla="*/ 252005 w 1025"/>
                <a:gd name="T43" fmla="*/ 1533524 h 1103"/>
                <a:gd name="T44" fmla="*/ 419032 w 1025"/>
                <a:gd name="T45" fmla="*/ 1577974 h 1103"/>
                <a:gd name="T46" fmla="*/ 505475 w 1025"/>
                <a:gd name="T47" fmla="*/ 1639887 h 1103"/>
                <a:gd name="T48" fmla="*/ 543569 w 1025"/>
                <a:gd name="T49" fmla="*/ 1698625 h 1103"/>
                <a:gd name="T50" fmla="*/ 603640 w 1025"/>
                <a:gd name="T51" fmla="*/ 1747837 h 1103"/>
                <a:gd name="T52" fmla="*/ 638804 w 1025"/>
                <a:gd name="T53" fmla="*/ 1712912 h 1103"/>
                <a:gd name="T54" fmla="*/ 600710 w 1025"/>
                <a:gd name="T55" fmla="*/ 1681162 h 1103"/>
                <a:gd name="T56" fmla="*/ 649060 w 1025"/>
                <a:gd name="T57" fmla="*/ 1651000 h 1103"/>
                <a:gd name="T58" fmla="*/ 693014 w 1025"/>
                <a:gd name="T59" fmla="*/ 1646237 h 1103"/>
                <a:gd name="T60" fmla="*/ 890809 w 1025"/>
                <a:gd name="T61" fmla="*/ 1357312 h 1103"/>
                <a:gd name="T62" fmla="*/ 911321 w 1025"/>
                <a:gd name="T63" fmla="*/ 1158875 h 1103"/>
                <a:gd name="T64" fmla="*/ 892274 w 1025"/>
                <a:gd name="T65" fmla="*/ 1047750 h 1103"/>
                <a:gd name="T66" fmla="*/ 958206 w 1025"/>
                <a:gd name="T67" fmla="*/ 979487 h 1103"/>
                <a:gd name="T68" fmla="*/ 1112046 w 1025"/>
                <a:gd name="T69" fmla="*/ 938212 h 1103"/>
                <a:gd name="T70" fmla="*/ 1175047 w 1025"/>
                <a:gd name="T71" fmla="*/ 950912 h 1103"/>
                <a:gd name="T72" fmla="*/ 1282003 w 1025"/>
                <a:gd name="T73" fmla="*/ 909637 h 1103"/>
                <a:gd name="T74" fmla="*/ 1331818 w 1025"/>
                <a:gd name="T75" fmla="*/ 820737 h 1103"/>
                <a:gd name="T76" fmla="*/ 1405075 w 1025"/>
                <a:gd name="T77" fmla="*/ 862012 h 1103"/>
                <a:gd name="T78" fmla="*/ 1418261 w 1025"/>
                <a:gd name="T79" fmla="*/ 779462 h 1103"/>
                <a:gd name="T80" fmla="*/ 1415331 w 1025"/>
                <a:gd name="T81" fmla="*/ 660400 h 1103"/>
                <a:gd name="T82" fmla="*/ 1488588 w 1025"/>
                <a:gd name="T83" fmla="*/ 657225 h 1103"/>
                <a:gd name="T84" fmla="*/ 1472472 w 1025"/>
                <a:gd name="T85" fmla="*/ 563562 h 1103"/>
                <a:gd name="T86" fmla="*/ 1447564 w 1025"/>
                <a:gd name="T87" fmla="*/ 509587 h 1103"/>
                <a:gd name="T88" fmla="*/ 1402145 w 1025"/>
                <a:gd name="T89" fmla="*/ 512762 h 1103"/>
                <a:gd name="T90" fmla="*/ 1339143 w 1025"/>
                <a:gd name="T91" fmla="*/ 477837 h 1103"/>
                <a:gd name="T92" fmla="*/ 1210211 w 1025"/>
                <a:gd name="T93" fmla="*/ 419100 h 1103"/>
                <a:gd name="T94" fmla="*/ 1160396 w 1025"/>
                <a:gd name="T95" fmla="*/ 550862 h 1103"/>
                <a:gd name="T96" fmla="*/ 1098860 w 1025"/>
                <a:gd name="T97" fmla="*/ 671512 h 1103"/>
                <a:gd name="T98" fmla="*/ 1047579 w 1025"/>
                <a:gd name="T99" fmla="*/ 619125 h 1103"/>
                <a:gd name="T100" fmla="*/ 936228 w 1025"/>
                <a:gd name="T101" fmla="*/ 681037 h 1103"/>
                <a:gd name="T102" fmla="*/ 898135 w 1025"/>
                <a:gd name="T103" fmla="*/ 574675 h 1103"/>
                <a:gd name="T104" fmla="*/ 930368 w 1025"/>
                <a:gd name="T105" fmla="*/ 407987 h 1103"/>
                <a:gd name="T106" fmla="*/ 840994 w 1025"/>
                <a:gd name="T107" fmla="*/ 231775 h 1103"/>
                <a:gd name="T108" fmla="*/ 798505 w 1025"/>
                <a:gd name="T109" fmla="*/ 90487 h 1103"/>
                <a:gd name="T110" fmla="*/ 754550 w 1025"/>
                <a:gd name="T111" fmla="*/ 65087 h 1103"/>
                <a:gd name="T112" fmla="*/ 738434 w 1025"/>
                <a:gd name="T113" fmla="*/ 7937 h 110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25"/>
                <a:gd name="T172" fmla="*/ 0 h 1103"/>
                <a:gd name="T173" fmla="*/ 1025 w 1025"/>
                <a:gd name="T174" fmla="*/ 1103 h 110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25" h="1103">
                  <a:moveTo>
                    <a:pt x="504" y="5"/>
                  </a:moveTo>
                  <a:lnTo>
                    <a:pt x="510" y="11"/>
                  </a:lnTo>
                  <a:lnTo>
                    <a:pt x="511" y="18"/>
                  </a:lnTo>
                  <a:lnTo>
                    <a:pt x="511" y="20"/>
                  </a:lnTo>
                  <a:lnTo>
                    <a:pt x="510" y="24"/>
                  </a:lnTo>
                  <a:lnTo>
                    <a:pt x="506" y="28"/>
                  </a:lnTo>
                  <a:lnTo>
                    <a:pt x="502" y="30"/>
                  </a:lnTo>
                  <a:lnTo>
                    <a:pt x="471" y="30"/>
                  </a:lnTo>
                  <a:lnTo>
                    <a:pt x="456" y="28"/>
                  </a:lnTo>
                  <a:lnTo>
                    <a:pt x="458" y="41"/>
                  </a:lnTo>
                  <a:lnTo>
                    <a:pt x="458" y="50"/>
                  </a:lnTo>
                  <a:lnTo>
                    <a:pt x="458" y="55"/>
                  </a:lnTo>
                  <a:lnTo>
                    <a:pt x="456" y="61"/>
                  </a:lnTo>
                  <a:lnTo>
                    <a:pt x="451" y="68"/>
                  </a:lnTo>
                  <a:lnTo>
                    <a:pt x="451" y="79"/>
                  </a:lnTo>
                  <a:lnTo>
                    <a:pt x="454" y="79"/>
                  </a:lnTo>
                  <a:lnTo>
                    <a:pt x="460" y="79"/>
                  </a:lnTo>
                  <a:lnTo>
                    <a:pt x="462" y="79"/>
                  </a:lnTo>
                  <a:lnTo>
                    <a:pt x="463" y="81"/>
                  </a:lnTo>
                  <a:lnTo>
                    <a:pt x="463" y="85"/>
                  </a:lnTo>
                  <a:lnTo>
                    <a:pt x="463" y="92"/>
                  </a:lnTo>
                  <a:lnTo>
                    <a:pt x="456" y="96"/>
                  </a:lnTo>
                  <a:lnTo>
                    <a:pt x="447" y="100"/>
                  </a:lnTo>
                  <a:lnTo>
                    <a:pt x="454" y="120"/>
                  </a:lnTo>
                  <a:lnTo>
                    <a:pt x="467" y="148"/>
                  </a:lnTo>
                  <a:lnTo>
                    <a:pt x="462" y="161"/>
                  </a:lnTo>
                  <a:lnTo>
                    <a:pt x="458" y="175"/>
                  </a:lnTo>
                  <a:lnTo>
                    <a:pt x="460" y="187"/>
                  </a:lnTo>
                  <a:lnTo>
                    <a:pt x="460" y="196"/>
                  </a:lnTo>
                  <a:lnTo>
                    <a:pt x="451" y="205"/>
                  </a:lnTo>
                  <a:lnTo>
                    <a:pt x="439" y="214"/>
                  </a:lnTo>
                  <a:lnTo>
                    <a:pt x="441" y="227"/>
                  </a:lnTo>
                  <a:lnTo>
                    <a:pt x="445" y="233"/>
                  </a:lnTo>
                  <a:lnTo>
                    <a:pt x="443" y="238"/>
                  </a:lnTo>
                  <a:lnTo>
                    <a:pt x="438" y="242"/>
                  </a:lnTo>
                  <a:lnTo>
                    <a:pt x="432" y="246"/>
                  </a:lnTo>
                  <a:lnTo>
                    <a:pt x="425" y="249"/>
                  </a:lnTo>
                  <a:lnTo>
                    <a:pt x="412" y="255"/>
                  </a:lnTo>
                  <a:lnTo>
                    <a:pt x="403" y="262"/>
                  </a:lnTo>
                  <a:lnTo>
                    <a:pt x="403" y="277"/>
                  </a:lnTo>
                  <a:lnTo>
                    <a:pt x="401" y="299"/>
                  </a:lnTo>
                  <a:lnTo>
                    <a:pt x="403" y="316"/>
                  </a:lnTo>
                  <a:lnTo>
                    <a:pt x="406" y="327"/>
                  </a:lnTo>
                  <a:lnTo>
                    <a:pt x="410" y="336"/>
                  </a:lnTo>
                  <a:lnTo>
                    <a:pt x="417" y="342"/>
                  </a:lnTo>
                  <a:lnTo>
                    <a:pt x="430" y="345"/>
                  </a:lnTo>
                  <a:lnTo>
                    <a:pt x="441" y="347"/>
                  </a:lnTo>
                  <a:lnTo>
                    <a:pt x="441" y="358"/>
                  </a:lnTo>
                  <a:lnTo>
                    <a:pt x="438" y="368"/>
                  </a:lnTo>
                  <a:lnTo>
                    <a:pt x="434" y="375"/>
                  </a:lnTo>
                  <a:lnTo>
                    <a:pt x="428" y="381"/>
                  </a:lnTo>
                  <a:lnTo>
                    <a:pt x="423" y="384"/>
                  </a:lnTo>
                  <a:lnTo>
                    <a:pt x="419" y="388"/>
                  </a:lnTo>
                  <a:lnTo>
                    <a:pt x="415" y="392"/>
                  </a:lnTo>
                  <a:lnTo>
                    <a:pt x="414" y="395"/>
                  </a:lnTo>
                  <a:lnTo>
                    <a:pt x="415" y="401"/>
                  </a:lnTo>
                  <a:lnTo>
                    <a:pt x="419" y="405"/>
                  </a:lnTo>
                  <a:lnTo>
                    <a:pt x="423" y="408"/>
                  </a:lnTo>
                  <a:lnTo>
                    <a:pt x="428" y="410"/>
                  </a:lnTo>
                  <a:lnTo>
                    <a:pt x="434" y="414"/>
                  </a:lnTo>
                  <a:lnTo>
                    <a:pt x="439" y="418"/>
                  </a:lnTo>
                  <a:lnTo>
                    <a:pt x="441" y="425"/>
                  </a:lnTo>
                  <a:lnTo>
                    <a:pt x="443" y="434"/>
                  </a:lnTo>
                  <a:lnTo>
                    <a:pt x="441" y="440"/>
                  </a:lnTo>
                  <a:lnTo>
                    <a:pt x="436" y="445"/>
                  </a:lnTo>
                  <a:lnTo>
                    <a:pt x="430" y="449"/>
                  </a:lnTo>
                  <a:lnTo>
                    <a:pt x="423" y="455"/>
                  </a:lnTo>
                  <a:lnTo>
                    <a:pt x="419" y="469"/>
                  </a:lnTo>
                  <a:lnTo>
                    <a:pt x="415" y="482"/>
                  </a:lnTo>
                  <a:lnTo>
                    <a:pt x="410" y="484"/>
                  </a:lnTo>
                  <a:lnTo>
                    <a:pt x="399" y="482"/>
                  </a:lnTo>
                  <a:lnTo>
                    <a:pt x="393" y="479"/>
                  </a:lnTo>
                  <a:lnTo>
                    <a:pt x="390" y="477"/>
                  </a:lnTo>
                  <a:lnTo>
                    <a:pt x="386" y="471"/>
                  </a:lnTo>
                  <a:lnTo>
                    <a:pt x="384" y="467"/>
                  </a:lnTo>
                  <a:lnTo>
                    <a:pt x="378" y="464"/>
                  </a:lnTo>
                  <a:lnTo>
                    <a:pt x="373" y="462"/>
                  </a:lnTo>
                  <a:lnTo>
                    <a:pt x="366" y="464"/>
                  </a:lnTo>
                  <a:lnTo>
                    <a:pt x="362" y="464"/>
                  </a:lnTo>
                  <a:lnTo>
                    <a:pt x="358" y="455"/>
                  </a:lnTo>
                  <a:lnTo>
                    <a:pt x="353" y="440"/>
                  </a:lnTo>
                  <a:lnTo>
                    <a:pt x="349" y="434"/>
                  </a:lnTo>
                  <a:lnTo>
                    <a:pt x="345" y="432"/>
                  </a:lnTo>
                  <a:lnTo>
                    <a:pt x="340" y="434"/>
                  </a:lnTo>
                  <a:lnTo>
                    <a:pt x="334" y="443"/>
                  </a:lnTo>
                  <a:lnTo>
                    <a:pt x="327" y="445"/>
                  </a:lnTo>
                  <a:lnTo>
                    <a:pt x="321" y="451"/>
                  </a:lnTo>
                  <a:lnTo>
                    <a:pt x="319" y="455"/>
                  </a:lnTo>
                  <a:lnTo>
                    <a:pt x="319" y="462"/>
                  </a:lnTo>
                  <a:lnTo>
                    <a:pt x="321" y="467"/>
                  </a:lnTo>
                  <a:lnTo>
                    <a:pt x="321" y="473"/>
                  </a:lnTo>
                  <a:lnTo>
                    <a:pt x="319" y="479"/>
                  </a:lnTo>
                  <a:lnTo>
                    <a:pt x="318" y="484"/>
                  </a:lnTo>
                  <a:lnTo>
                    <a:pt x="299" y="491"/>
                  </a:lnTo>
                  <a:lnTo>
                    <a:pt x="282" y="499"/>
                  </a:lnTo>
                  <a:lnTo>
                    <a:pt x="279" y="514"/>
                  </a:lnTo>
                  <a:lnTo>
                    <a:pt x="279" y="525"/>
                  </a:lnTo>
                  <a:lnTo>
                    <a:pt x="269" y="523"/>
                  </a:lnTo>
                  <a:lnTo>
                    <a:pt x="264" y="523"/>
                  </a:lnTo>
                  <a:lnTo>
                    <a:pt x="258" y="525"/>
                  </a:lnTo>
                  <a:lnTo>
                    <a:pt x="255" y="528"/>
                  </a:lnTo>
                  <a:lnTo>
                    <a:pt x="253" y="532"/>
                  </a:lnTo>
                  <a:lnTo>
                    <a:pt x="253" y="538"/>
                  </a:lnTo>
                  <a:lnTo>
                    <a:pt x="253" y="543"/>
                  </a:lnTo>
                  <a:lnTo>
                    <a:pt x="253" y="549"/>
                  </a:lnTo>
                  <a:lnTo>
                    <a:pt x="257" y="562"/>
                  </a:lnTo>
                  <a:lnTo>
                    <a:pt x="258" y="573"/>
                  </a:lnTo>
                  <a:lnTo>
                    <a:pt x="258" y="578"/>
                  </a:lnTo>
                  <a:lnTo>
                    <a:pt x="260" y="582"/>
                  </a:lnTo>
                  <a:lnTo>
                    <a:pt x="258" y="586"/>
                  </a:lnTo>
                  <a:lnTo>
                    <a:pt x="257" y="588"/>
                  </a:lnTo>
                  <a:lnTo>
                    <a:pt x="253" y="588"/>
                  </a:lnTo>
                  <a:lnTo>
                    <a:pt x="247" y="586"/>
                  </a:lnTo>
                  <a:lnTo>
                    <a:pt x="244" y="584"/>
                  </a:lnTo>
                  <a:lnTo>
                    <a:pt x="240" y="580"/>
                  </a:lnTo>
                  <a:lnTo>
                    <a:pt x="234" y="571"/>
                  </a:lnTo>
                  <a:lnTo>
                    <a:pt x="229" y="560"/>
                  </a:lnTo>
                  <a:lnTo>
                    <a:pt x="223" y="551"/>
                  </a:lnTo>
                  <a:lnTo>
                    <a:pt x="218" y="541"/>
                  </a:lnTo>
                  <a:lnTo>
                    <a:pt x="216" y="538"/>
                  </a:lnTo>
                  <a:lnTo>
                    <a:pt x="212" y="536"/>
                  </a:lnTo>
                  <a:lnTo>
                    <a:pt x="210" y="536"/>
                  </a:lnTo>
                  <a:lnTo>
                    <a:pt x="207" y="536"/>
                  </a:lnTo>
                  <a:lnTo>
                    <a:pt x="201" y="538"/>
                  </a:lnTo>
                  <a:lnTo>
                    <a:pt x="197" y="541"/>
                  </a:lnTo>
                  <a:lnTo>
                    <a:pt x="194" y="547"/>
                  </a:lnTo>
                  <a:lnTo>
                    <a:pt x="192" y="552"/>
                  </a:lnTo>
                  <a:lnTo>
                    <a:pt x="188" y="560"/>
                  </a:lnTo>
                  <a:lnTo>
                    <a:pt x="185" y="565"/>
                  </a:lnTo>
                  <a:lnTo>
                    <a:pt x="179" y="569"/>
                  </a:lnTo>
                  <a:lnTo>
                    <a:pt x="170" y="571"/>
                  </a:lnTo>
                  <a:lnTo>
                    <a:pt x="162" y="569"/>
                  </a:lnTo>
                  <a:lnTo>
                    <a:pt x="157" y="565"/>
                  </a:lnTo>
                  <a:lnTo>
                    <a:pt x="155" y="560"/>
                  </a:lnTo>
                  <a:lnTo>
                    <a:pt x="153" y="558"/>
                  </a:lnTo>
                  <a:lnTo>
                    <a:pt x="138" y="556"/>
                  </a:lnTo>
                  <a:lnTo>
                    <a:pt x="120" y="558"/>
                  </a:lnTo>
                  <a:lnTo>
                    <a:pt x="111" y="580"/>
                  </a:lnTo>
                  <a:lnTo>
                    <a:pt x="101" y="599"/>
                  </a:lnTo>
                  <a:lnTo>
                    <a:pt x="92" y="612"/>
                  </a:lnTo>
                  <a:lnTo>
                    <a:pt x="87" y="619"/>
                  </a:lnTo>
                  <a:lnTo>
                    <a:pt x="94" y="625"/>
                  </a:lnTo>
                  <a:lnTo>
                    <a:pt x="103" y="628"/>
                  </a:lnTo>
                  <a:lnTo>
                    <a:pt x="101" y="632"/>
                  </a:lnTo>
                  <a:lnTo>
                    <a:pt x="98" y="636"/>
                  </a:lnTo>
                  <a:lnTo>
                    <a:pt x="105" y="639"/>
                  </a:lnTo>
                  <a:lnTo>
                    <a:pt x="112" y="647"/>
                  </a:lnTo>
                  <a:lnTo>
                    <a:pt x="112" y="665"/>
                  </a:lnTo>
                  <a:lnTo>
                    <a:pt x="111" y="678"/>
                  </a:lnTo>
                  <a:lnTo>
                    <a:pt x="103" y="687"/>
                  </a:lnTo>
                  <a:lnTo>
                    <a:pt x="90" y="698"/>
                  </a:lnTo>
                  <a:lnTo>
                    <a:pt x="81" y="708"/>
                  </a:lnTo>
                  <a:lnTo>
                    <a:pt x="74" y="715"/>
                  </a:lnTo>
                  <a:lnTo>
                    <a:pt x="70" y="722"/>
                  </a:lnTo>
                  <a:lnTo>
                    <a:pt x="68" y="728"/>
                  </a:lnTo>
                  <a:lnTo>
                    <a:pt x="64" y="741"/>
                  </a:lnTo>
                  <a:lnTo>
                    <a:pt x="66" y="758"/>
                  </a:lnTo>
                  <a:lnTo>
                    <a:pt x="61" y="758"/>
                  </a:lnTo>
                  <a:lnTo>
                    <a:pt x="59" y="759"/>
                  </a:lnTo>
                  <a:lnTo>
                    <a:pt x="55" y="763"/>
                  </a:lnTo>
                  <a:lnTo>
                    <a:pt x="53" y="765"/>
                  </a:lnTo>
                  <a:lnTo>
                    <a:pt x="52" y="774"/>
                  </a:lnTo>
                  <a:lnTo>
                    <a:pt x="52" y="782"/>
                  </a:lnTo>
                  <a:lnTo>
                    <a:pt x="50" y="791"/>
                  </a:lnTo>
                  <a:lnTo>
                    <a:pt x="50" y="800"/>
                  </a:lnTo>
                  <a:lnTo>
                    <a:pt x="48" y="809"/>
                  </a:lnTo>
                  <a:lnTo>
                    <a:pt x="44" y="815"/>
                  </a:lnTo>
                  <a:lnTo>
                    <a:pt x="24" y="820"/>
                  </a:lnTo>
                  <a:lnTo>
                    <a:pt x="2" y="830"/>
                  </a:lnTo>
                  <a:lnTo>
                    <a:pt x="0" y="837"/>
                  </a:lnTo>
                  <a:lnTo>
                    <a:pt x="2" y="844"/>
                  </a:lnTo>
                  <a:lnTo>
                    <a:pt x="5" y="854"/>
                  </a:lnTo>
                  <a:lnTo>
                    <a:pt x="11" y="863"/>
                  </a:lnTo>
                  <a:lnTo>
                    <a:pt x="26" y="883"/>
                  </a:lnTo>
                  <a:lnTo>
                    <a:pt x="39" y="902"/>
                  </a:lnTo>
                  <a:lnTo>
                    <a:pt x="48" y="898"/>
                  </a:lnTo>
                  <a:lnTo>
                    <a:pt x="55" y="896"/>
                  </a:lnTo>
                  <a:lnTo>
                    <a:pt x="70" y="902"/>
                  </a:lnTo>
                  <a:lnTo>
                    <a:pt x="90" y="915"/>
                  </a:lnTo>
                  <a:lnTo>
                    <a:pt x="98" y="920"/>
                  </a:lnTo>
                  <a:lnTo>
                    <a:pt x="105" y="922"/>
                  </a:lnTo>
                  <a:lnTo>
                    <a:pt x="107" y="924"/>
                  </a:lnTo>
                  <a:lnTo>
                    <a:pt x="111" y="928"/>
                  </a:lnTo>
                  <a:lnTo>
                    <a:pt x="114" y="933"/>
                  </a:lnTo>
                  <a:lnTo>
                    <a:pt x="120" y="940"/>
                  </a:lnTo>
                  <a:lnTo>
                    <a:pt x="125" y="946"/>
                  </a:lnTo>
                  <a:lnTo>
                    <a:pt x="131" y="946"/>
                  </a:lnTo>
                  <a:lnTo>
                    <a:pt x="136" y="946"/>
                  </a:lnTo>
                  <a:lnTo>
                    <a:pt x="140" y="944"/>
                  </a:lnTo>
                  <a:lnTo>
                    <a:pt x="144" y="942"/>
                  </a:lnTo>
                  <a:lnTo>
                    <a:pt x="148" y="940"/>
                  </a:lnTo>
                  <a:lnTo>
                    <a:pt x="153" y="939"/>
                  </a:lnTo>
                  <a:lnTo>
                    <a:pt x="159" y="939"/>
                  </a:lnTo>
                  <a:lnTo>
                    <a:pt x="162" y="948"/>
                  </a:lnTo>
                  <a:lnTo>
                    <a:pt x="172" y="966"/>
                  </a:lnTo>
                  <a:lnTo>
                    <a:pt x="201" y="940"/>
                  </a:lnTo>
                  <a:lnTo>
                    <a:pt x="223" y="924"/>
                  </a:lnTo>
                  <a:lnTo>
                    <a:pt x="233" y="939"/>
                  </a:lnTo>
                  <a:lnTo>
                    <a:pt x="251" y="963"/>
                  </a:lnTo>
                  <a:lnTo>
                    <a:pt x="260" y="968"/>
                  </a:lnTo>
                  <a:lnTo>
                    <a:pt x="269" y="977"/>
                  </a:lnTo>
                  <a:lnTo>
                    <a:pt x="279" y="985"/>
                  </a:lnTo>
                  <a:lnTo>
                    <a:pt x="286" y="994"/>
                  </a:lnTo>
                  <a:lnTo>
                    <a:pt x="292" y="1003"/>
                  </a:lnTo>
                  <a:lnTo>
                    <a:pt x="297" y="1013"/>
                  </a:lnTo>
                  <a:lnTo>
                    <a:pt x="303" y="1018"/>
                  </a:lnTo>
                  <a:lnTo>
                    <a:pt x="308" y="1020"/>
                  </a:lnTo>
                  <a:lnTo>
                    <a:pt x="323" y="1018"/>
                  </a:lnTo>
                  <a:lnTo>
                    <a:pt x="336" y="1020"/>
                  </a:lnTo>
                  <a:lnTo>
                    <a:pt x="340" y="1022"/>
                  </a:lnTo>
                  <a:lnTo>
                    <a:pt x="343" y="1027"/>
                  </a:lnTo>
                  <a:lnTo>
                    <a:pt x="345" y="1033"/>
                  </a:lnTo>
                  <a:lnTo>
                    <a:pt x="349" y="1042"/>
                  </a:lnTo>
                  <a:lnTo>
                    <a:pt x="354" y="1046"/>
                  </a:lnTo>
                  <a:lnTo>
                    <a:pt x="362" y="1046"/>
                  </a:lnTo>
                  <a:lnTo>
                    <a:pt x="366" y="1048"/>
                  </a:lnTo>
                  <a:lnTo>
                    <a:pt x="367" y="1050"/>
                  </a:lnTo>
                  <a:lnTo>
                    <a:pt x="369" y="1053"/>
                  </a:lnTo>
                  <a:lnTo>
                    <a:pt x="371" y="1059"/>
                  </a:lnTo>
                  <a:lnTo>
                    <a:pt x="371" y="1064"/>
                  </a:lnTo>
                  <a:lnTo>
                    <a:pt x="371" y="1070"/>
                  </a:lnTo>
                  <a:lnTo>
                    <a:pt x="373" y="1075"/>
                  </a:lnTo>
                  <a:lnTo>
                    <a:pt x="375" y="1079"/>
                  </a:lnTo>
                  <a:lnTo>
                    <a:pt x="388" y="1077"/>
                  </a:lnTo>
                  <a:lnTo>
                    <a:pt x="399" y="1077"/>
                  </a:lnTo>
                  <a:lnTo>
                    <a:pt x="403" y="1083"/>
                  </a:lnTo>
                  <a:lnTo>
                    <a:pt x="404" y="1092"/>
                  </a:lnTo>
                  <a:lnTo>
                    <a:pt x="406" y="1096"/>
                  </a:lnTo>
                  <a:lnTo>
                    <a:pt x="408" y="1099"/>
                  </a:lnTo>
                  <a:lnTo>
                    <a:pt x="412" y="1101"/>
                  </a:lnTo>
                  <a:lnTo>
                    <a:pt x="415" y="1103"/>
                  </a:lnTo>
                  <a:lnTo>
                    <a:pt x="421" y="1099"/>
                  </a:lnTo>
                  <a:lnTo>
                    <a:pt x="428" y="1094"/>
                  </a:lnTo>
                  <a:lnTo>
                    <a:pt x="434" y="1094"/>
                  </a:lnTo>
                  <a:lnTo>
                    <a:pt x="439" y="1094"/>
                  </a:lnTo>
                  <a:lnTo>
                    <a:pt x="445" y="1088"/>
                  </a:lnTo>
                  <a:lnTo>
                    <a:pt x="449" y="1079"/>
                  </a:lnTo>
                  <a:lnTo>
                    <a:pt x="436" y="1079"/>
                  </a:lnTo>
                  <a:lnTo>
                    <a:pt x="421" y="1077"/>
                  </a:lnTo>
                  <a:lnTo>
                    <a:pt x="415" y="1075"/>
                  </a:lnTo>
                  <a:lnTo>
                    <a:pt x="410" y="1074"/>
                  </a:lnTo>
                  <a:lnTo>
                    <a:pt x="406" y="1072"/>
                  </a:lnTo>
                  <a:lnTo>
                    <a:pt x="404" y="1066"/>
                  </a:lnTo>
                  <a:lnTo>
                    <a:pt x="404" y="1064"/>
                  </a:lnTo>
                  <a:lnTo>
                    <a:pt x="406" y="1062"/>
                  </a:lnTo>
                  <a:lnTo>
                    <a:pt x="408" y="1061"/>
                  </a:lnTo>
                  <a:lnTo>
                    <a:pt x="410" y="1059"/>
                  </a:lnTo>
                  <a:lnTo>
                    <a:pt x="417" y="1057"/>
                  </a:lnTo>
                  <a:lnTo>
                    <a:pt x="427" y="1055"/>
                  </a:lnTo>
                  <a:lnTo>
                    <a:pt x="436" y="1055"/>
                  </a:lnTo>
                  <a:lnTo>
                    <a:pt x="443" y="1053"/>
                  </a:lnTo>
                  <a:lnTo>
                    <a:pt x="445" y="1051"/>
                  </a:lnTo>
                  <a:lnTo>
                    <a:pt x="447" y="1050"/>
                  </a:lnTo>
                  <a:lnTo>
                    <a:pt x="449" y="1048"/>
                  </a:lnTo>
                  <a:lnTo>
                    <a:pt x="449" y="1046"/>
                  </a:lnTo>
                  <a:lnTo>
                    <a:pt x="443" y="1040"/>
                  </a:lnTo>
                  <a:lnTo>
                    <a:pt x="439" y="1035"/>
                  </a:lnTo>
                  <a:lnTo>
                    <a:pt x="438" y="1031"/>
                  </a:lnTo>
                  <a:lnTo>
                    <a:pt x="438" y="1025"/>
                  </a:lnTo>
                  <a:lnTo>
                    <a:pt x="445" y="1027"/>
                  </a:lnTo>
                  <a:lnTo>
                    <a:pt x="454" y="1033"/>
                  </a:lnTo>
                  <a:lnTo>
                    <a:pt x="458" y="1037"/>
                  </a:lnTo>
                  <a:lnTo>
                    <a:pt x="463" y="1038"/>
                  </a:lnTo>
                  <a:lnTo>
                    <a:pt x="469" y="1038"/>
                  </a:lnTo>
                  <a:lnTo>
                    <a:pt x="473" y="1037"/>
                  </a:lnTo>
                  <a:lnTo>
                    <a:pt x="487" y="1022"/>
                  </a:lnTo>
                  <a:lnTo>
                    <a:pt x="502" y="1000"/>
                  </a:lnTo>
                  <a:lnTo>
                    <a:pt x="523" y="985"/>
                  </a:lnTo>
                  <a:lnTo>
                    <a:pt x="539" y="970"/>
                  </a:lnTo>
                  <a:lnTo>
                    <a:pt x="548" y="950"/>
                  </a:lnTo>
                  <a:lnTo>
                    <a:pt x="556" y="924"/>
                  </a:lnTo>
                  <a:lnTo>
                    <a:pt x="578" y="898"/>
                  </a:lnTo>
                  <a:lnTo>
                    <a:pt x="600" y="872"/>
                  </a:lnTo>
                  <a:lnTo>
                    <a:pt x="608" y="855"/>
                  </a:lnTo>
                  <a:lnTo>
                    <a:pt x="617" y="839"/>
                  </a:lnTo>
                  <a:lnTo>
                    <a:pt x="624" y="822"/>
                  </a:lnTo>
                  <a:lnTo>
                    <a:pt x="632" y="802"/>
                  </a:lnTo>
                  <a:lnTo>
                    <a:pt x="632" y="793"/>
                  </a:lnTo>
                  <a:lnTo>
                    <a:pt x="633" y="785"/>
                  </a:lnTo>
                  <a:lnTo>
                    <a:pt x="628" y="761"/>
                  </a:lnTo>
                  <a:lnTo>
                    <a:pt x="624" y="741"/>
                  </a:lnTo>
                  <a:lnTo>
                    <a:pt x="622" y="730"/>
                  </a:lnTo>
                  <a:lnTo>
                    <a:pt x="620" y="721"/>
                  </a:lnTo>
                  <a:lnTo>
                    <a:pt x="622" y="710"/>
                  </a:lnTo>
                  <a:lnTo>
                    <a:pt x="624" y="700"/>
                  </a:lnTo>
                  <a:lnTo>
                    <a:pt x="632" y="689"/>
                  </a:lnTo>
                  <a:lnTo>
                    <a:pt x="637" y="680"/>
                  </a:lnTo>
                  <a:lnTo>
                    <a:pt x="632" y="674"/>
                  </a:lnTo>
                  <a:lnTo>
                    <a:pt x="620" y="667"/>
                  </a:lnTo>
                  <a:lnTo>
                    <a:pt x="615" y="663"/>
                  </a:lnTo>
                  <a:lnTo>
                    <a:pt x="609" y="660"/>
                  </a:lnTo>
                  <a:lnTo>
                    <a:pt x="606" y="652"/>
                  </a:lnTo>
                  <a:lnTo>
                    <a:pt x="606" y="647"/>
                  </a:lnTo>
                  <a:lnTo>
                    <a:pt x="609" y="639"/>
                  </a:lnTo>
                  <a:lnTo>
                    <a:pt x="613" y="634"/>
                  </a:lnTo>
                  <a:lnTo>
                    <a:pt x="619" y="630"/>
                  </a:lnTo>
                  <a:lnTo>
                    <a:pt x="626" y="628"/>
                  </a:lnTo>
                  <a:lnTo>
                    <a:pt x="637" y="625"/>
                  </a:lnTo>
                  <a:lnTo>
                    <a:pt x="646" y="623"/>
                  </a:lnTo>
                  <a:lnTo>
                    <a:pt x="654" y="617"/>
                  </a:lnTo>
                  <a:lnTo>
                    <a:pt x="659" y="612"/>
                  </a:lnTo>
                  <a:lnTo>
                    <a:pt x="669" y="606"/>
                  </a:lnTo>
                  <a:lnTo>
                    <a:pt x="680" y="602"/>
                  </a:lnTo>
                  <a:lnTo>
                    <a:pt x="694" y="606"/>
                  </a:lnTo>
                  <a:lnTo>
                    <a:pt x="713" y="606"/>
                  </a:lnTo>
                  <a:lnTo>
                    <a:pt x="722" y="591"/>
                  </a:lnTo>
                  <a:lnTo>
                    <a:pt x="731" y="580"/>
                  </a:lnTo>
                  <a:lnTo>
                    <a:pt x="746" y="584"/>
                  </a:lnTo>
                  <a:lnTo>
                    <a:pt x="759" y="591"/>
                  </a:lnTo>
                  <a:lnTo>
                    <a:pt x="765" y="584"/>
                  </a:lnTo>
                  <a:lnTo>
                    <a:pt x="770" y="578"/>
                  </a:lnTo>
                  <a:lnTo>
                    <a:pt x="776" y="582"/>
                  </a:lnTo>
                  <a:lnTo>
                    <a:pt x="779" y="589"/>
                  </a:lnTo>
                  <a:lnTo>
                    <a:pt x="781" y="593"/>
                  </a:lnTo>
                  <a:lnTo>
                    <a:pt x="783" y="597"/>
                  </a:lnTo>
                  <a:lnTo>
                    <a:pt x="787" y="599"/>
                  </a:lnTo>
                  <a:lnTo>
                    <a:pt x="792" y="600"/>
                  </a:lnTo>
                  <a:lnTo>
                    <a:pt x="802" y="599"/>
                  </a:lnTo>
                  <a:lnTo>
                    <a:pt x="811" y="595"/>
                  </a:lnTo>
                  <a:lnTo>
                    <a:pt x="822" y="600"/>
                  </a:lnTo>
                  <a:lnTo>
                    <a:pt x="838" y="604"/>
                  </a:lnTo>
                  <a:lnTo>
                    <a:pt x="846" y="597"/>
                  </a:lnTo>
                  <a:lnTo>
                    <a:pt x="853" y="588"/>
                  </a:lnTo>
                  <a:lnTo>
                    <a:pt x="859" y="586"/>
                  </a:lnTo>
                  <a:lnTo>
                    <a:pt x="864" y="584"/>
                  </a:lnTo>
                  <a:lnTo>
                    <a:pt x="870" y="580"/>
                  </a:lnTo>
                  <a:lnTo>
                    <a:pt x="875" y="573"/>
                  </a:lnTo>
                  <a:lnTo>
                    <a:pt x="877" y="558"/>
                  </a:lnTo>
                  <a:lnTo>
                    <a:pt x="875" y="543"/>
                  </a:lnTo>
                  <a:lnTo>
                    <a:pt x="888" y="541"/>
                  </a:lnTo>
                  <a:lnTo>
                    <a:pt x="901" y="540"/>
                  </a:lnTo>
                  <a:lnTo>
                    <a:pt x="903" y="534"/>
                  </a:lnTo>
                  <a:lnTo>
                    <a:pt x="903" y="527"/>
                  </a:lnTo>
                  <a:lnTo>
                    <a:pt x="905" y="523"/>
                  </a:lnTo>
                  <a:lnTo>
                    <a:pt x="907" y="519"/>
                  </a:lnTo>
                  <a:lnTo>
                    <a:pt x="909" y="517"/>
                  </a:lnTo>
                  <a:lnTo>
                    <a:pt x="914" y="515"/>
                  </a:lnTo>
                  <a:lnTo>
                    <a:pt x="920" y="515"/>
                  </a:lnTo>
                  <a:lnTo>
                    <a:pt x="927" y="517"/>
                  </a:lnTo>
                  <a:lnTo>
                    <a:pt x="933" y="521"/>
                  </a:lnTo>
                  <a:lnTo>
                    <a:pt x="938" y="527"/>
                  </a:lnTo>
                  <a:lnTo>
                    <a:pt x="931" y="536"/>
                  </a:lnTo>
                  <a:lnTo>
                    <a:pt x="916" y="554"/>
                  </a:lnTo>
                  <a:lnTo>
                    <a:pt x="935" y="551"/>
                  </a:lnTo>
                  <a:lnTo>
                    <a:pt x="959" y="543"/>
                  </a:lnTo>
                  <a:lnTo>
                    <a:pt x="981" y="534"/>
                  </a:lnTo>
                  <a:lnTo>
                    <a:pt x="992" y="528"/>
                  </a:lnTo>
                  <a:lnTo>
                    <a:pt x="990" y="515"/>
                  </a:lnTo>
                  <a:lnTo>
                    <a:pt x="988" y="510"/>
                  </a:lnTo>
                  <a:lnTo>
                    <a:pt x="984" y="506"/>
                  </a:lnTo>
                  <a:lnTo>
                    <a:pt x="983" y="504"/>
                  </a:lnTo>
                  <a:lnTo>
                    <a:pt x="975" y="504"/>
                  </a:lnTo>
                  <a:lnTo>
                    <a:pt x="970" y="501"/>
                  </a:lnTo>
                  <a:lnTo>
                    <a:pt x="968" y="491"/>
                  </a:lnTo>
                  <a:lnTo>
                    <a:pt x="968" y="482"/>
                  </a:lnTo>
                  <a:lnTo>
                    <a:pt x="962" y="475"/>
                  </a:lnTo>
                  <a:lnTo>
                    <a:pt x="959" y="467"/>
                  </a:lnTo>
                  <a:lnTo>
                    <a:pt x="964" y="455"/>
                  </a:lnTo>
                  <a:lnTo>
                    <a:pt x="970" y="445"/>
                  </a:lnTo>
                  <a:lnTo>
                    <a:pt x="966" y="432"/>
                  </a:lnTo>
                  <a:lnTo>
                    <a:pt x="964" y="423"/>
                  </a:lnTo>
                  <a:lnTo>
                    <a:pt x="964" y="419"/>
                  </a:lnTo>
                  <a:lnTo>
                    <a:pt x="966" y="416"/>
                  </a:lnTo>
                  <a:lnTo>
                    <a:pt x="968" y="412"/>
                  </a:lnTo>
                  <a:lnTo>
                    <a:pt x="970" y="410"/>
                  </a:lnTo>
                  <a:lnTo>
                    <a:pt x="979" y="405"/>
                  </a:lnTo>
                  <a:lnTo>
                    <a:pt x="984" y="405"/>
                  </a:lnTo>
                  <a:lnTo>
                    <a:pt x="990" y="406"/>
                  </a:lnTo>
                  <a:lnTo>
                    <a:pt x="995" y="408"/>
                  </a:lnTo>
                  <a:lnTo>
                    <a:pt x="1003" y="416"/>
                  </a:lnTo>
                  <a:lnTo>
                    <a:pt x="1012" y="419"/>
                  </a:lnTo>
                  <a:lnTo>
                    <a:pt x="1016" y="414"/>
                  </a:lnTo>
                  <a:lnTo>
                    <a:pt x="1021" y="408"/>
                  </a:lnTo>
                  <a:lnTo>
                    <a:pt x="1025" y="399"/>
                  </a:lnTo>
                  <a:lnTo>
                    <a:pt x="1025" y="394"/>
                  </a:lnTo>
                  <a:lnTo>
                    <a:pt x="1023" y="390"/>
                  </a:lnTo>
                  <a:lnTo>
                    <a:pt x="1019" y="386"/>
                  </a:lnTo>
                  <a:lnTo>
                    <a:pt x="1012" y="382"/>
                  </a:lnTo>
                  <a:lnTo>
                    <a:pt x="1008" y="375"/>
                  </a:lnTo>
                  <a:lnTo>
                    <a:pt x="1007" y="362"/>
                  </a:lnTo>
                  <a:lnTo>
                    <a:pt x="1005" y="355"/>
                  </a:lnTo>
                  <a:lnTo>
                    <a:pt x="1001" y="351"/>
                  </a:lnTo>
                  <a:lnTo>
                    <a:pt x="997" y="349"/>
                  </a:lnTo>
                  <a:lnTo>
                    <a:pt x="995" y="349"/>
                  </a:lnTo>
                  <a:lnTo>
                    <a:pt x="992" y="349"/>
                  </a:lnTo>
                  <a:lnTo>
                    <a:pt x="990" y="347"/>
                  </a:lnTo>
                  <a:lnTo>
                    <a:pt x="986" y="344"/>
                  </a:lnTo>
                  <a:lnTo>
                    <a:pt x="988" y="334"/>
                  </a:lnTo>
                  <a:lnTo>
                    <a:pt x="988" y="329"/>
                  </a:lnTo>
                  <a:lnTo>
                    <a:pt x="988" y="321"/>
                  </a:lnTo>
                  <a:lnTo>
                    <a:pt x="984" y="318"/>
                  </a:lnTo>
                  <a:lnTo>
                    <a:pt x="981" y="314"/>
                  </a:lnTo>
                  <a:lnTo>
                    <a:pt x="977" y="312"/>
                  </a:lnTo>
                  <a:lnTo>
                    <a:pt x="971" y="310"/>
                  </a:lnTo>
                  <a:lnTo>
                    <a:pt x="966" y="310"/>
                  </a:lnTo>
                  <a:lnTo>
                    <a:pt x="964" y="316"/>
                  </a:lnTo>
                  <a:lnTo>
                    <a:pt x="960" y="321"/>
                  </a:lnTo>
                  <a:lnTo>
                    <a:pt x="959" y="323"/>
                  </a:lnTo>
                  <a:lnTo>
                    <a:pt x="957" y="323"/>
                  </a:lnTo>
                  <a:lnTo>
                    <a:pt x="953" y="323"/>
                  </a:lnTo>
                  <a:lnTo>
                    <a:pt x="947" y="320"/>
                  </a:lnTo>
                  <a:lnTo>
                    <a:pt x="942" y="323"/>
                  </a:lnTo>
                  <a:lnTo>
                    <a:pt x="935" y="327"/>
                  </a:lnTo>
                  <a:lnTo>
                    <a:pt x="925" y="329"/>
                  </a:lnTo>
                  <a:lnTo>
                    <a:pt x="916" y="327"/>
                  </a:lnTo>
                  <a:lnTo>
                    <a:pt x="916" y="318"/>
                  </a:lnTo>
                  <a:lnTo>
                    <a:pt x="916" y="309"/>
                  </a:lnTo>
                  <a:lnTo>
                    <a:pt x="914" y="301"/>
                  </a:lnTo>
                  <a:lnTo>
                    <a:pt x="911" y="294"/>
                  </a:lnTo>
                  <a:lnTo>
                    <a:pt x="907" y="288"/>
                  </a:lnTo>
                  <a:lnTo>
                    <a:pt x="901" y="283"/>
                  </a:lnTo>
                  <a:lnTo>
                    <a:pt x="896" y="277"/>
                  </a:lnTo>
                  <a:lnTo>
                    <a:pt x="888" y="273"/>
                  </a:lnTo>
                  <a:lnTo>
                    <a:pt x="875" y="266"/>
                  </a:lnTo>
                  <a:lnTo>
                    <a:pt x="859" y="264"/>
                  </a:lnTo>
                  <a:lnTo>
                    <a:pt x="842" y="262"/>
                  </a:lnTo>
                  <a:lnTo>
                    <a:pt x="826" y="264"/>
                  </a:lnTo>
                  <a:lnTo>
                    <a:pt x="814" y="286"/>
                  </a:lnTo>
                  <a:lnTo>
                    <a:pt x="809" y="301"/>
                  </a:lnTo>
                  <a:lnTo>
                    <a:pt x="807" y="310"/>
                  </a:lnTo>
                  <a:lnTo>
                    <a:pt x="807" y="318"/>
                  </a:lnTo>
                  <a:lnTo>
                    <a:pt x="809" y="321"/>
                  </a:lnTo>
                  <a:lnTo>
                    <a:pt x="811" y="325"/>
                  </a:lnTo>
                  <a:lnTo>
                    <a:pt x="809" y="331"/>
                  </a:lnTo>
                  <a:lnTo>
                    <a:pt x="807" y="338"/>
                  </a:lnTo>
                  <a:lnTo>
                    <a:pt x="792" y="347"/>
                  </a:lnTo>
                  <a:lnTo>
                    <a:pt x="778" y="358"/>
                  </a:lnTo>
                  <a:lnTo>
                    <a:pt x="774" y="375"/>
                  </a:lnTo>
                  <a:lnTo>
                    <a:pt x="768" y="390"/>
                  </a:lnTo>
                  <a:lnTo>
                    <a:pt x="766" y="395"/>
                  </a:lnTo>
                  <a:lnTo>
                    <a:pt x="763" y="401"/>
                  </a:lnTo>
                  <a:lnTo>
                    <a:pt x="759" y="405"/>
                  </a:lnTo>
                  <a:lnTo>
                    <a:pt x="753" y="406"/>
                  </a:lnTo>
                  <a:lnTo>
                    <a:pt x="753" y="416"/>
                  </a:lnTo>
                  <a:lnTo>
                    <a:pt x="750" y="423"/>
                  </a:lnTo>
                  <a:lnTo>
                    <a:pt x="746" y="423"/>
                  </a:lnTo>
                  <a:lnTo>
                    <a:pt x="744" y="419"/>
                  </a:lnTo>
                  <a:lnTo>
                    <a:pt x="744" y="418"/>
                  </a:lnTo>
                  <a:lnTo>
                    <a:pt x="744" y="412"/>
                  </a:lnTo>
                  <a:lnTo>
                    <a:pt x="742" y="405"/>
                  </a:lnTo>
                  <a:lnTo>
                    <a:pt x="741" y="397"/>
                  </a:lnTo>
                  <a:lnTo>
                    <a:pt x="729" y="386"/>
                  </a:lnTo>
                  <a:lnTo>
                    <a:pt x="722" y="379"/>
                  </a:lnTo>
                  <a:lnTo>
                    <a:pt x="715" y="390"/>
                  </a:lnTo>
                  <a:lnTo>
                    <a:pt x="709" y="394"/>
                  </a:lnTo>
                  <a:lnTo>
                    <a:pt x="705" y="395"/>
                  </a:lnTo>
                  <a:lnTo>
                    <a:pt x="700" y="395"/>
                  </a:lnTo>
                  <a:lnTo>
                    <a:pt x="685" y="403"/>
                  </a:lnTo>
                  <a:lnTo>
                    <a:pt x="676" y="405"/>
                  </a:lnTo>
                  <a:lnTo>
                    <a:pt x="670" y="405"/>
                  </a:lnTo>
                  <a:lnTo>
                    <a:pt x="661" y="406"/>
                  </a:lnTo>
                  <a:lnTo>
                    <a:pt x="650" y="419"/>
                  </a:lnTo>
                  <a:lnTo>
                    <a:pt x="639" y="429"/>
                  </a:lnTo>
                  <a:lnTo>
                    <a:pt x="628" y="423"/>
                  </a:lnTo>
                  <a:lnTo>
                    <a:pt x="620" y="418"/>
                  </a:lnTo>
                  <a:lnTo>
                    <a:pt x="617" y="408"/>
                  </a:lnTo>
                  <a:lnTo>
                    <a:pt x="613" y="401"/>
                  </a:lnTo>
                  <a:lnTo>
                    <a:pt x="613" y="392"/>
                  </a:lnTo>
                  <a:lnTo>
                    <a:pt x="613" y="384"/>
                  </a:lnTo>
                  <a:lnTo>
                    <a:pt x="613" y="379"/>
                  </a:lnTo>
                  <a:lnTo>
                    <a:pt x="615" y="375"/>
                  </a:lnTo>
                  <a:lnTo>
                    <a:pt x="613" y="362"/>
                  </a:lnTo>
                  <a:lnTo>
                    <a:pt x="611" y="349"/>
                  </a:lnTo>
                  <a:lnTo>
                    <a:pt x="611" y="338"/>
                  </a:lnTo>
                  <a:lnTo>
                    <a:pt x="613" y="327"/>
                  </a:lnTo>
                  <a:lnTo>
                    <a:pt x="617" y="316"/>
                  </a:lnTo>
                  <a:lnTo>
                    <a:pt x="622" y="305"/>
                  </a:lnTo>
                  <a:lnTo>
                    <a:pt x="628" y="296"/>
                  </a:lnTo>
                  <a:lnTo>
                    <a:pt x="633" y="288"/>
                  </a:lnTo>
                  <a:lnTo>
                    <a:pt x="633" y="272"/>
                  </a:lnTo>
                  <a:lnTo>
                    <a:pt x="635" y="257"/>
                  </a:lnTo>
                  <a:lnTo>
                    <a:pt x="620" y="248"/>
                  </a:lnTo>
                  <a:lnTo>
                    <a:pt x="608" y="238"/>
                  </a:lnTo>
                  <a:lnTo>
                    <a:pt x="596" y="225"/>
                  </a:lnTo>
                  <a:lnTo>
                    <a:pt x="585" y="212"/>
                  </a:lnTo>
                  <a:lnTo>
                    <a:pt x="589" y="192"/>
                  </a:lnTo>
                  <a:lnTo>
                    <a:pt x="593" y="170"/>
                  </a:lnTo>
                  <a:lnTo>
                    <a:pt x="587" y="161"/>
                  </a:lnTo>
                  <a:lnTo>
                    <a:pt x="578" y="153"/>
                  </a:lnTo>
                  <a:lnTo>
                    <a:pt x="574" y="146"/>
                  </a:lnTo>
                  <a:lnTo>
                    <a:pt x="572" y="139"/>
                  </a:lnTo>
                  <a:lnTo>
                    <a:pt x="571" y="126"/>
                  </a:lnTo>
                  <a:lnTo>
                    <a:pt x="572" y="111"/>
                  </a:lnTo>
                  <a:lnTo>
                    <a:pt x="572" y="105"/>
                  </a:lnTo>
                  <a:lnTo>
                    <a:pt x="571" y="98"/>
                  </a:lnTo>
                  <a:lnTo>
                    <a:pt x="567" y="89"/>
                  </a:lnTo>
                  <a:lnTo>
                    <a:pt x="561" y="79"/>
                  </a:lnTo>
                  <a:lnTo>
                    <a:pt x="552" y="65"/>
                  </a:lnTo>
                  <a:lnTo>
                    <a:pt x="545" y="57"/>
                  </a:lnTo>
                  <a:lnTo>
                    <a:pt x="536" y="59"/>
                  </a:lnTo>
                  <a:lnTo>
                    <a:pt x="528" y="61"/>
                  </a:lnTo>
                  <a:lnTo>
                    <a:pt x="523" y="63"/>
                  </a:lnTo>
                  <a:lnTo>
                    <a:pt x="521" y="63"/>
                  </a:lnTo>
                  <a:lnTo>
                    <a:pt x="517" y="61"/>
                  </a:lnTo>
                  <a:lnTo>
                    <a:pt x="517" y="59"/>
                  </a:lnTo>
                  <a:lnTo>
                    <a:pt x="515" y="54"/>
                  </a:lnTo>
                  <a:lnTo>
                    <a:pt x="515" y="48"/>
                  </a:lnTo>
                  <a:lnTo>
                    <a:pt x="515" y="41"/>
                  </a:lnTo>
                  <a:lnTo>
                    <a:pt x="517" y="35"/>
                  </a:lnTo>
                  <a:lnTo>
                    <a:pt x="524" y="37"/>
                  </a:lnTo>
                  <a:lnTo>
                    <a:pt x="530" y="37"/>
                  </a:lnTo>
                  <a:lnTo>
                    <a:pt x="534" y="35"/>
                  </a:lnTo>
                  <a:lnTo>
                    <a:pt x="534" y="33"/>
                  </a:lnTo>
                  <a:lnTo>
                    <a:pt x="536" y="30"/>
                  </a:lnTo>
                  <a:lnTo>
                    <a:pt x="534" y="24"/>
                  </a:lnTo>
                  <a:lnTo>
                    <a:pt x="519" y="0"/>
                  </a:lnTo>
                  <a:lnTo>
                    <a:pt x="504" y="5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auto">
            <a:xfrm>
              <a:off x="5200715" y="5987864"/>
              <a:ext cx="513774" cy="547650"/>
            </a:xfrm>
            <a:custGeom>
              <a:avLst/>
              <a:gdLst>
                <a:gd name="T0" fmla="*/ 0 w 296"/>
                <a:gd name="T1" fmla="*/ 230188 h 291"/>
                <a:gd name="T2" fmla="*/ 0 w 296"/>
                <a:gd name="T3" fmla="*/ 252413 h 291"/>
                <a:gd name="T4" fmla="*/ 30747 w 296"/>
                <a:gd name="T5" fmla="*/ 269875 h 291"/>
                <a:gd name="T6" fmla="*/ 48317 w 296"/>
                <a:gd name="T7" fmla="*/ 285750 h 291"/>
                <a:gd name="T8" fmla="*/ 57102 w 296"/>
                <a:gd name="T9" fmla="*/ 346075 h 291"/>
                <a:gd name="T10" fmla="*/ 76136 w 296"/>
                <a:gd name="T11" fmla="*/ 376238 h 291"/>
                <a:gd name="T12" fmla="*/ 101026 w 296"/>
                <a:gd name="T13" fmla="*/ 387350 h 291"/>
                <a:gd name="T14" fmla="*/ 130309 w 296"/>
                <a:gd name="T15" fmla="*/ 384175 h 291"/>
                <a:gd name="T16" fmla="*/ 172769 w 296"/>
                <a:gd name="T17" fmla="*/ 384175 h 291"/>
                <a:gd name="T18" fmla="*/ 191803 w 296"/>
                <a:gd name="T19" fmla="*/ 414338 h 291"/>
                <a:gd name="T20" fmla="*/ 213765 w 296"/>
                <a:gd name="T21" fmla="*/ 441325 h 291"/>
                <a:gd name="T22" fmla="*/ 232799 w 296"/>
                <a:gd name="T23" fmla="*/ 452438 h 291"/>
                <a:gd name="T24" fmla="*/ 270867 w 296"/>
                <a:gd name="T25" fmla="*/ 455613 h 291"/>
                <a:gd name="T26" fmla="*/ 363108 w 296"/>
                <a:gd name="T27" fmla="*/ 434975 h 291"/>
                <a:gd name="T28" fmla="*/ 411425 w 296"/>
                <a:gd name="T29" fmla="*/ 417513 h 291"/>
                <a:gd name="T30" fmla="*/ 417281 w 296"/>
                <a:gd name="T31" fmla="*/ 387350 h 291"/>
                <a:gd name="T32" fmla="*/ 398248 w 296"/>
                <a:gd name="T33" fmla="*/ 355600 h 291"/>
                <a:gd name="T34" fmla="*/ 398248 w 296"/>
                <a:gd name="T35" fmla="*/ 328613 h 291"/>
                <a:gd name="T36" fmla="*/ 411425 w 296"/>
                <a:gd name="T37" fmla="*/ 331788 h 291"/>
                <a:gd name="T38" fmla="*/ 433387 w 296"/>
                <a:gd name="T39" fmla="*/ 338138 h 291"/>
                <a:gd name="T40" fmla="*/ 433387 w 296"/>
                <a:gd name="T41" fmla="*/ 320675 h 291"/>
                <a:gd name="T42" fmla="*/ 398248 w 296"/>
                <a:gd name="T43" fmla="*/ 268288 h 291"/>
                <a:gd name="T44" fmla="*/ 373357 w 296"/>
                <a:gd name="T45" fmla="*/ 203200 h 291"/>
                <a:gd name="T46" fmla="*/ 363108 w 296"/>
                <a:gd name="T47" fmla="*/ 150813 h 291"/>
                <a:gd name="T48" fmla="*/ 348467 w 296"/>
                <a:gd name="T49" fmla="*/ 173038 h 291"/>
                <a:gd name="T50" fmla="*/ 332361 w 296"/>
                <a:gd name="T51" fmla="*/ 179388 h 291"/>
                <a:gd name="T52" fmla="*/ 327968 w 296"/>
                <a:gd name="T53" fmla="*/ 168275 h 291"/>
                <a:gd name="T54" fmla="*/ 319184 w 296"/>
                <a:gd name="T55" fmla="*/ 133350 h 291"/>
                <a:gd name="T56" fmla="*/ 322112 w 296"/>
                <a:gd name="T57" fmla="*/ 92075 h 291"/>
                <a:gd name="T58" fmla="*/ 351395 w 296"/>
                <a:gd name="T59" fmla="*/ 71438 h 291"/>
                <a:gd name="T60" fmla="*/ 360180 w 296"/>
                <a:gd name="T61" fmla="*/ 44450 h 291"/>
                <a:gd name="T62" fmla="*/ 344074 w 296"/>
                <a:gd name="T63" fmla="*/ 36513 h 291"/>
                <a:gd name="T64" fmla="*/ 316255 w 296"/>
                <a:gd name="T65" fmla="*/ 20638 h 291"/>
                <a:gd name="T66" fmla="*/ 308935 w 296"/>
                <a:gd name="T67" fmla="*/ 36513 h 291"/>
                <a:gd name="T68" fmla="*/ 292829 w 296"/>
                <a:gd name="T69" fmla="*/ 33338 h 291"/>
                <a:gd name="T70" fmla="*/ 278188 w 296"/>
                <a:gd name="T71" fmla="*/ 12700 h 291"/>
                <a:gd name="T72" fmla="*/ 248905 w 296"/>
                <a:gd name="T73" fmla="*/ 0 h 291"/>
                <a:gd name="T74" fmla="*/ 232799 w 296"/>
                <a:gd name="T75" fmla="*/ 38100 h 291"/>
                <a:gd name="T76" fmla="*/ 207909 w 296"/>
                <a:gd name="T77" fmla="*/ 53975 h 291"/>
                <a:gd name="T78" fmla="*/ 159592 w 296"/>
                <a:gd name="T79" fmla="*/ 74613 h 291"/>
                <a:gd name="T80" fmla="*/ 86385 w 296"/>
                <a:gd name="T81" fmla="*/ 106363 h 291"/>
                <a:gd name="T82" fmla="*/ 35139 w 296"/>
                <a:gd name="T83" fmla="*/ 114300 h 291"/>
                <a:gd name="T84" fmla="*/ 2928 w 296"/>
                <a:gd name="T85" fmla="*/ 130175 h 291"/>
                <a:gd name="T86" fmla="*/ 16106 w 296"/>
                <a:gd name="T87" fmla="*/ 182563 h 29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96"/>
                <a:gd name="T133" fmla="*/ 0 h 291"/>
                <a:gd name="T134" fmla="*/ 296 w 296"/>
                <a:gd name="T135" fmla="*/ 291 h 29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96" h="291">
                  <a:moveTo>
                    <a:pt x="0" y="121"/>
                  </a:moveTo>
                  <a:lnTo>
                    <a:pt x="2" y="133"/>
                  </a:lnTo>
                  <a:lnTo>
                    <a:pt x="0" y="145"/>
                  </a:lnTo>
                  <a:lnTo>
                    <a:pt x="0" y="148"/>
                  </a:lnTo>
                  <a:lnTo>
                    <a:pt x="0" y="154"/>
                  </a:lnTo>
                  <a:lnTo>
                    <a:pt x="0" y="159"/>
                  </a:lnTo>
                  <a:lnTo>
                    <a:pt x="4" y="165"/>
                  </a:lnTo>
                  <a:lnTo>
                    <a:pt x="11" y="169"/>
                  </a:lnTo>
                  <a:lnTo>
                    <a:pt x="21" y="170"/>
                  </a:lnTo>
                  <a:lnTo>
                    <a:pt x="26" y="172"/>
                  </a:lnTo>
                  <a:lnTo>
                    <a:pt x="30" y="174"/>
                  </a:lnTo>
                  <a:lnTo>
                    <a:pt x="33" y="180"/>
                  </a:lnTo>
                  <a:lnTo>
                    <a:pt x="35" y="185"/>
                  </a:lnTo>
                  <a:lnTo>
                    <a:pt x="37" y="202"/>
                  </a:lnTo>
                  <a:lnTo>
                    <a:pt x="39" y="218"/>
                  </a:lnTo>
                  <a:lnTo>
                    <a:pt x="43" y="224"/>
                  </a:lnTo>
                  <a:lnTo>
                    <a:pt x="46" y="231"/>
                  </a:lnTo>
                  <a:lnTo>
                    <a:pt x="52" y="237"/>
                  </a:lnTo>
                  <a:lnTo>
                    <a:pt x="57" y="242"/>
                  </a:lnTo>
                  <a:lnTo>
                    <a:pt x="63" y="244"/>
                  </a:lnTo>
                  <a:lnTo>
                    <a:pt x="69" y="244"/>
                  </a:lnTo>
                  <a:lnTo>
                    <a:pt x="74" y="244"/>
                  </a:lnTo>
                  <a:lnTo>
                    <a:pt x="78" y="244"/>
                  </a:lnTo>
                  <a:lnTo>
                    <a:pt x="89" y="242"/>
                  </a:lnTo>
                  <a:lnTo>
                    <a:pt x="102" y="242"/>
                  </a:lnTo>
                  <a:lnTo>
                    <a:pt x="111" y="242"/>
                  </a:lnTo>
                  <a:lnTo>
                    <a:pt x="118" y="242"/>
                  </a:lnTo>
                  <a:lnTo>
                    <a:pt x="124" y="242"/>
                  </a:lnTo>
                  <a:lnTo>
                    <a:pt x="126" y="244"/>
                  </a:lnTo>
                  <a:lnTo>
                    <a:pt x="131" y="261"/>
                  </a:lnTo>
                  <a:lnTo>
                    <a:pt x="139" y="270"/>
                  </a:lnTo>
                  <a:lnTo>
                    <a:pt x="142" y="274"/>
                  </a:lnTo>
                  <a:lnTo>
                    <a:pt x="146" y="278"/>
                  </a:lnTo>
                  <a:lnTo>
                    <a:pt x="152" y="278"/>
                  </a:lnTo>
                  <a:lnTo>
                    <a:pt x="155" y="278"/>
                  </a:lnTo>
                  <a:lnTo>
                    <a:pt x="159" y="285"/>
                  </a:lnTo>
                  <a:lnTo>
                    <a:pt x="163" y="291"/>
                  </a:lnTo>
                  <a:lnTo>
                    <a:pt x="174" y="291"/>
                  </a:lnTo>
                  <a:lnTo>
                    <a:pt x="185" y="287"/>
                  </a:lnTo>
                  <a:lnTo>
                    <a:pt x="200" y="281"/>
                  </a:lnTo>
                  <a:lnTo>
                    <a:pt x="218" y="278"/>
                  </a:lnTo>
                  <a:lnTo>
                    <a:pt x="248" y="274"/>
                  </a:lnTo>
                  <a:lnTo>
                    <a:pt x="270" y="268"/>
                  </a:lnTo>
                  <a:lnTo>
                    <a:pt x="277" y="266"/>
                  </a:lnTo>
                  <a:lnTo>
                    <a:pt x="281" y="263"/>
                  </a:lnTo>
                  <a:lnTo>
                    <a:pt x="283" y="259"/>
                  </a:lnTo>
                  <a:lnTo>
                    <a:pt x="285" y="254"/>
                  </a:lnTo>
                  <a:lnTo>
                    <a:pt x="285" y="244"/>
                  </a:lnTo>
                  <a:lnTo>
                    <a:pt x="287" y="237"/>
                  </a:lnTo>
                  <a:lnTo>
                    <a:pt x="277" y="231"/>
                  </a:lnTo>
                  <a:lnTo>
                    <a:pt x="272" y="224"/>
                  </a:lnTo>
                  <a:lnTo>
                    <a:pt x="268" y="218"/>
                  </a:lnTo>
                  <a:lnTo>
                    <a:pt x="268" y="211"/>
                  </a:lnTo>
                  <a:lnTo>
                    <a:pt x="272" y="207"/>
                  </a:lnTo>
                  <a:lnTo>
                    <a:pt x="274" y="206"/>
                  </a:lnTo>
                  <a:lnTo>
                    <a:pt x="277" y="207"/>
                  </a:lnTo>
                  <a:lnTo>
                    <a:pt x="281" y="209"/>
                  </a:lnTo>
                  <a:lnTo>
                    <a:pt x="287" y="213"/>
                  </a:lnTo>
                  <a:lnTo>
                    <a:pt x="294" y="215"/>
                  </a:lnTo>
                  <a:lnTo>
                    <a:pt x="296" y="213"/>
                  </a:lnTo>
                  <a:lnTo>
                    <a:pt x="296" y="209"/>
                  </a:lnTo>
                  <a:lnTo>
                    <a:pt x="296" y="206"/>
                  </a:lnTo>
                  <a:lnTo>
                    <a:pt x="296" y="202"/>
                  </a:lnTo>
                  <a:lnTo>
                    <a:pt x="290" y="194"/>
                  </a:lnTo>
                  <a:lnTo>
                    <a:pt x="285" y="185"/>
                  </a:lnTo>
                  <a:lnTo>
                    <a:pt x="272" y="169"/>
                  </a:lnTo>
                  <a:lnTo>
                    <a:pt x="261" y="156"/>
                  </a:lnTo>
                  <a:lnTo>
                    <a:pt x="257" y="145"/>
                  </a:lnTo>
                  <a:lnTo>
                    <a:pt x="255" y="128"/>
                  </a:lnTo>
                  <a:lnTo>
                    <a:pt x="255" y="111"/>
                  </a:lnTo>
                  <a:lnTo>
                    <a:pt x="255" y="91"/>
                  </a:lnTo>
                  <a:lnTo>
                    <a:pt x="248" y="95"/>
                  </a:lnTo>
                  <a:lnTo>
                    <a:pt x="240" y="98"/>
                  </a:lnTo>
                  <a:lnTo>
                    <a:pt x="240" y="104"/>
                  </a:lnTo>
                  <a:lnTo>
                    <a:pt x="238" y="109"/>
                  </a:lnTo>
                  <a:lnTo>
                    <a:pt x="237" y="113"/>
                  </a:lnTo>
                  <a:lnTo>
                    <a:pt x="231" y="115"/>
                  </a:lnTo>
                  <a:lnTo>
                    <a:pt x="227" y="113"/>
                  </a:lnTo>
                  <a:lnTo>
                    <a:pt x="226" y="111"/>
                  </a:lnTo>
                  <a:lnTo>
                    <a:pt x="226" y="109"/>
                  </a:lnTo>
                  <a:lnTo>
                    <a:pt x="224" y="106"/>
                  </a:lnTo>
                  <a:lnTo>
                    <a:pt x="224" y="98"/>
                  </a:lnTo>
                  <a:lnTo>
                    <a:pt x="222" y="93"/>
                  </a:lnTo>
                  <a:lnTo>
                    <a:pt x="218" y="84"/>
                  </a:lnTo>
                  <a:lnTo>
                    <a:pt x="216" y="72"/>
                  </a:lnTo>
                  <a:lnTo>
                    <a:pt x="216" y="65"/>
                  </a:lnTo>
                  <a:lnTo>
                    <a:pt x="220" y="58"/>
                  </a:lnTo>
                  <a:lnTo>
                    <a:pt x="224" y="54"/>
                  </a:lnTo>
                  <a:lnTo>
                    <a:pt x="229" y="52"/>
                  </a:lnTo>
                  <a:lnTo>
                    <a:pt x="240" y="45"/>
                  </a:lnTo>
                  <a:lnTo>
                    <a:pt x="244" y="39"/>
                  </a:lnTo>
                  <a:lnTo>
                    <a:pt x="246" y="34"/>
                  </a:lnTo>
                  <a:lnTo>
                    <a:pt x="246" y="28"/>
                  </a:lnTo>
                  <a:lnTo>
                    <a:pt x="244" y="24"/>
                  </a:lnTo>
                  <a:lnTo>
                    <a:pt x="238" y="23"/>
                  </a:lnTo>
                  <a:lnTo>
                    <a:pt x="235" y="23"/>
                  </a:lnTo>
                  <a:lnTo>
                    <a:pt x="229" y="21"/>
                  </a:lnTo>
                  <a:lnTo>
                    <a:pt x="222" y="15"/>
                  </a:lnTo>
                  <a:lnTo>
                    <a:pt x="216" y="13"/>
                  </a:lnTo>
                  <a:lnTo>
                    <a:pt x="214" y="15"/>
                  </a:lnTo>
                  <a:lnTo>
                    <a:pt x="213" y="21"/>
                  </a:lnTo>
                  <a:lnTo>
                    <a:pt x="211" y="23"/>
                  </a:lnTo>
                  <a:lnTo>
                    <a:pt x="209" y="23"/>
                  </a:lnTo>
                  <a:lnTo>
                    <a:pt x="205" y="23"/>
                  </a:lnTo>
                  <a:lnTo>
                    <a:pt x="200" y="21"/>
                  </a:lnTo>
                  <a:lnTo>
                    <a:pt x="194" y="17"/>
                  </a:lnTo>
                  <a:lnTo>
                    <a:pt x="192" y="11"/>
                  </a:lnTo>
                  <a:lnTo>
                    <a:pt x="190" y="8"/>
                  </a:lnTo>
                  <a:lnTo>
                    <a:pt x="190" y="2"/>
                  </a:lnTo>
                  <a:lnTo>
                    <a:pt x="181" y="0"/>
                  </a:lnTo>
                  <a:lnTo>
                    <a:pt x="170" y="0"/>
                  </a:lnTo>
                  <a:lnTo>
                    <a:pt x="166" y="10"/>
                  </a:lnTo>
                  <a:lnTo>
                    <a:pt x="163" y="21"/>
                  </a:lnTo>
                  <a:lnTo>
                    <a:pt x="159" y="24"/>
                  </a:lnTo>
                  <a:lnTo>
                    <a:pt x="154" y="28"/>
                  </a:lnTo>
                  <a:lnTo>
                    <a:pt x="148" y="32"/>
                  </a:lnTo>
                  <a:lnTo>
                    <a:pt x="142" y="34"/>
                  </a:lnTo>
                  <a:lnTo>
                    <a:pt x="131" y="30"/>
                  </a:lnTo>
                  <a:lnTo>
                    <a:pt x="122" y="30"/>
                  </a:lnTo>
                  <a:lnTo>
                    <a:pt x="109" y="47"/>
                  </a:lnTo>
                  <a:lnTo>
                    <a:pt x="91" y="65"/>
                  </a:lnTo>
                  <a:lnTo>
                    <a:pt x="74" y="65"/>
                  </a:lnTo>
                  <a:lnTo>
                    <a:pt x="59" y="67"/>
                  </a:lnTo>
                  <a:lnTo>
                    <a:pt x="46" y="69"/>
                  </a:lnTo>
                  <a:lnTo>
                    <a:pt x="32" y="72"/>
                  </a:lnTo>
                  <a:lnTo>
                    <a:pt x="24" y="72"/>
                  </a:lnTo>
                  <a:lnTo>
                    <a:pt x="17" y="74"/>
                  </a:lnTo>
                  <a:lnTo>
                    <a:pt x="9" y="76"/>
                  </a:lnTo>
                  <a:lnTo>
                    <a:pt x="2" y="82"/>
                  </a:lnTo>
                  <a:lnTo>
                    <a:pt x="13" y="98"/>
                  </a:lnTo>
                  <a:lnTo>
                    <a:pt x="22" y="111"/>
                  </a:lnTo>
                  <a:lnTo>
                    <a:pt x="11" y="115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auto">
            <a:xfrm>
              <a:off x="4764100" y="5598299"/>
              <a:ext cx="773484" cy="617282"/>
            </a:xfrm>
            <a:custGeom>
              <a:avLst/>
              <a:gdLst>
                <a:gd name="T0" fmla="*/ 19061 w 445"/>
                <a:gd name="T1" fmla="*/ 115888 h 328"/>
                <a:gd name="T2" fmla="*/ 41054 w 445"/>
                <a:gd name="T3" fmla="*/ 230188 h 328"/>
                <a:gd name="T4" fmla="*/ 54250 w 445"/>
                <a:gd name="T5" fmla="*/ 423863 h 328"/>
                <a:gd name="T6" fmla="*/ 61581 w 445"/>
                <a:gd name="T7" fmla="*/ 441325 h 328"/>
                <a:gd name="T8" fmla="*/ 102634 w 445"/>
                <a:gd name="T9" fmla="*/ 423863 h 328"/>
                <a:gd name="T10" fmla="*/ 118763 w 445"/>
                <a:gd name="T11" fmla="*/ 373062 h 328"/>
                <a:gd name="T12" fmla="*/ 149553 w 445"/>
                <a:gd name="T13" fmla="*/ 390525 h 328"/>
                <a:gd name="T14" fmla="*/ 153952 w 445"/>
                <a:gd name="T15" fmla="*/ 423863 h 328"/>
                <a:gd name="T16" fmla="*/ 165681 w 445"/>
                <a:gd name="T17" fmla="*/ 431800 h 328"/>
                <a:gd name="T18" fmla="*/ 178877 w 445"/>
                <a:gd name="T19" fmla="*/ 469900 h 328"/>
                <a:gd name="T20" fmla="*/ 192073 w 445"/>
                <a:gd name="T21" fmla="*/ 479425 h 328"/>
                <a:gd name="T22" fmla="*/ 262451 w 445"/>
                <a:gd name="T23" fmla="*/ 473075 h 328"/>
                <a:gd name="T24" fmla="*/ 281512 w 445"/>
                <a:gd name="T25" fmla="*/ 479425 h 328"/>
                <a:gd name="T26" fmla="*/ 291775 w 445"/>
                <a:gd name="T27" fmla="*/ 466725 h 328"/>
                <a:gd name="T28" fmla="*/ 325498 w 445"/>
                <a:gd name="T29" fmla="*/ 473075 h 328"/>
                <a:gd name="T30" fmla="*/ 360687 w 445"/>
                <a:gd name="T31" fmla="*/ 504825 h 328"/>
                <a:gd name="T32" fmla="*/ 368018 w 445"/>
                <a:gd name="T33" fmla="*/ 520700 h 328"/>
                <a:gd name="T34" fmla="*/ 387079 w 445"/>
                <a:gd name="T35" fmla="*/ 484188 h 328"/>
                <a:gd name="T36" fmla="*/ 392943 w 445"/>
                <a:gd name="T37" fmla="*/ 446088 h 328"/>
                <a:gd name="T38" fmla="*/ 435463 w 445"/>
                <a:gd name="T39" fmla="*/ 438150 h 328"/>
                <a:gd name="T40" fmla="*/ 501443 w 445"/>
                <a:gd name="T41" fmla="*/ 431800 h 328"/>
                <a:gd name="T42" fmla="*/ 560091 w 445"/>
                <a:gd name="T43" fmla="*/ 376237 h 328"/>
                <a:gd name="T44" fmla="*/ 593814 w 445"/>
                <a:gd name="T45" fmla="*/ 373062 h 328"/>
                <a:gd name="T46" fmla="*/ 611408 w 445"/>
                <a:gd name="T47" fmla="*/ 344487 h 328"/>
                <a:gd name="T48" fmla="*/ 646597 w 445"/>
                <a:gd name="T49" fmla="*/ 331787 h 328"/>
                <a:gd name="T50" fmla="*/ 636334 w 445"/>
                <a:gd name="T51" fmla="*/ 317500 h 328"/>
                <a:gd name="T52" fmla="*/ 645131 w 445"/>
                <a:gd name="T53" fmla="*/ 276225 h 328"/>
                <a:gd name="T54" fmla="*/ 639266 w 445"/>
                <a:gd name="T55" fmla="*/ 244475 h 328"/>
                <a:gd name="T56" fmla="*/ 623138 w 445"/>
                <a:gd name="T57" fmla="*/ 209550 h 328"/>
                <a:gd name="T58" fmla="*/ 609942 w 445"/>
                <a:gd name="T59" fmla="*/ 168275 h 328"/>
                <a:gd name="T60" fmla="*/ 582084 w 445"/>
                <a:gd name="T61" fmla="*/ 109538 h 328"/>
                <a:gd name="T62" fmla="*/ 546895 w 445"/>
                <a:gd name="T63" fmla="*/ 74612 h 328"/>
                <a:gd name="T64" fmla="*/ 536632 w 445"/>
                <a:gd name="T65" fmla="*/ 57150 h 328"/>
                <a:gd name="T66" fmla="*/ 521970 w 445"/>
                <a:gd name="T67" fmla="*/ 68262 h 328"/>
                <a:gd name="T68" fmla="*/ 492646 w 445"/>
                <a:gd name="T69" fmla="*/ 85725 h 328"/>
                <a:gd name="T70" fmla="*/ 447193 w 445"/>
                <a:gd name="T71" fmla="*/ 76200 h 328"/>
                <a:gd name="T72" fmla="*/ 403207 w 445"/>
                <a:gd name="T73" fmla="*/ 85725 h 328"/>
                <a:gd name="T74" fmla="*/ 379748 w 445"/>
                <a:gd name="T75" fmla="*/ 88900 h 328"/>
                <a:gd name="T76" fmla="*/ 351890 w 445"/>
                <a:gd name="T77" fmla="*/ 103188 h 328"/>
                <a:gd name="T78" fmla="*/ 346025 w 445"/>
                <a:gd name="T79" fmla="*/ 123825 h 328"/>
                <a:gd name="T80" fmla="*/ 316701 w 445"/>
                <a:gd name="T81" fmla="*/ 144462 h 328"/>
                <a:gd name="T82" fmla="*/ 303505 w 445"/>
                <a:gd name="T83" fmla="*/ 109538 h 328"/>
                <a:gd name="T84" fmla="*/ 319633 w 445"/>
                <a:gd name="T85" fmla="*/ 85725 h 328"/>
                <a:gd name="T86" fmla="*/ 310836 w 445"/>
                <a:gd name="T87" fmla="*/ 65088 h 328"/>
                <a:gd name="T88" fmla="*/ 271248 w 445"/>
                <a:gd name="T89" fmla="*/ 33337 h 328"/>
                <a:gd name="T90" fmla="*/ 249255 w 445"/>
                <a:gd name="T91" fmla="*/ 6350 h 328"/>
                <a:gd name="T92" fmla="*/ 186208 w 445"/>
                <a:gd name="T93" fmla="*/ 19050 h 328"/>
                <a:gd name="T94" fmla="*/ 114364 w 445"/>
                <a:gd name="T95" fmla="*/ 30163 h 328"/>
                <a:gd name="T96" fmla="*/ 43986 w 445"/>
                <a:gd name="T97" fmla="*/ 44450 h 328"/>
                <a:gd name="T98" fmla="*/ 7331 w 445"/>
                <a:gd name="T99" fmla="*/ 33337 h 32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45"/>
                <a:gd name="T151" fmla="*/ 0 h 328"/>
                <a:gd name="T152" fmla="*/ 445 w 445"/>
                <a:gd name="T153" fmla="*/ 328 h 32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45" h="328">
                  <a:moveTo>
                    <a:pt x="0" y="36"/>
                  </a:moveTo>
                  <a:lnTo>
                    <a:pt x="7" y="54"/>
                  </a:lnTo>
                  <a:lnTo>
                    <a:pt x="13" y="73"/>
                  </a:lnTo>
                  <a:lnTo>
                    <a:pt x="18" y="91"/>
                  </a:lnTo>
                  <a:lnTo>
                    <a:pt x="20" y="106"/>
                  </a:lnTo>
                  <a:lnTo>
                    <a:pt x="28" y="145"/>
                  </a:lnTo>
                  <a:lnTo>
                    <a:pt x="33" y="185"/>
                  </a:lnTo>
                  <a:lnTo>
                    <a:pt x="35" y="226"/>
                  </a:lnTo>
                  <a:lnTo>
                    <a:pt x="37" y="267"/>
                  </a:lnTo>
                  <a:lnTo>
                    <a:pt x="37" y="274"/>
                  </a:lnTo>
                  <a:lnTo>
                    <a:pt x="39" y="278"/>
                  </a:lnTo>
                  <a:lnTo>
                    <a:pt x="42" y="278"/>
                  </a:lnTo>
                  <a:lnTo>
                    <a:pt x="52" y="274"/>
                  </a:lnTo>
                  <a:lnTo>
                    <a:pt x="61" y="270"/>
                  </a:lnTo>
                  <a:lnTo>
                    <a:pt x="70" y="267"/>
                  </a:lnTo>
                  <a:lnTo>
                    <a:pt x="72" y="252"/>
                  </a:lnTo>
                  <a:lnTo>
                    <a:pt x="76" y="239"/>
                  </a:lnTo>
                  <a:lnTo>
                    <a:pt x="81" y="235"/>
                  </a:lnTo>
                  <a:lnTo>
                    <a:pt x="89" y="235"/>
                  </a:lnTo>
                  <a:lnTo>
                    <a:pt x="96" y="239"/>
                  </a:lnTo>
                  <a:lnTo>
                    <a:pt x="102" y="246"/>
                  </a:lnTo>
                  <a:lnTo>
                    <a:pt x="103" y="257"/>
                  </a:lnTo>
                  <a:lnTo>
                    <a:pt x="103" y="265"/>
                  </a:lnTo>
                  <a:lnTo>
                    <a:pt x="105" y="267"/>
                  </a:lnTo>
                  <a:lnTo>
                    <a:pt x="107" y="268"/>
                  </a:lnTo>
                  <a:lnTo>
                    <a:pt x="109" y="270"/>
                  </a:lnTo>
                  <a:lnTo>
                    <a:pt x="113" y="272"/>
                  </a:lnTo>
                  <a:lnTo>
                    <a:pt x="114" y="281"/>
                  </a:lnTo>
                  <a:lnTo>
                    <a:pt x="118" y="292"/>
                  </a:lnTo>
                  <a:lnTo>
                    <a:pt x="122" y="296"/>
                  </a:lnTo>
                  <a:lnTo>
                    <a:pt x="124" y="300"/>
                  </a:lnTo>
                  <a:lnTo>
                    <a:pt x="127" y="302"/>
                  </a:lnTo>
                  <a:lnTo>
                    <a:pt x="131" y="302"/>
                  </a:lnTo>
                  <a:lnTo>
                    <a:pt x="151" y="303"/>
                  </a:lnTo>
                  <a:lnTo>
                    <a:pt x="172" y="305"/>
                  </a:lnTo>
                  <a:lnTo>
                    <a:pt x="179" y="298"/>
                  </a:lnTo>
                  <a:lnTo>
                    <a:pt x="181" y="289"/>
                  </a:lnTo>
                  <a:lnTo>
                    <a:pt x="187" y="296"/>
                  </a:lnTo>
                  <a:lnTo>
                    <a:pt x="192" y="302"/>
                  </a:lnTo>
                  <a:lnTo>
                    <a:pt x="194" y="298"/>
                  </a:lnTo>
                  <a:lnTo>
                    <a:pt x="198" y="296"/>
                  </a:lnTo>
                  <a:lnTo>
                    <a:pt x="199" y="294"/>
                  </a:lnTo>
                  <a:lnTo>
                    <a:pt x="205" y="294"/>
                  </a:lnTo>
                  <a:lnTo>
                    <a:pt x="212" y="294"/>
                  </a:lnTo>
                  <a:lnTo>
                    <a:pt x="222" y="298"/>
                  </a:lnTo>
                  <a:lnTo>
                    <a:pt x="231" y="305"/>
                  </a:lnTo>
                  <a:lnTo>
                    <a:pt x="240" y="311"/>
                  </a:lnTo>
                  <a:lnTo>
                    <a:pt x="246" y="318"/>
                  </a:lnTo>
                  <a:lnTo>
                    <a:pt x="251" y="326"/>
                  </a:lnTo>
                  <a:lnTo>
                    <a:pt x="251" y="328"/>
                  </a:lnTo>
                  <a:lnTo>
                    <a:pt x="262" y="322"/>
                  </a:lnTo>
                  <a:lnTo>
                    <a:pt x="273" y="318"/>
                  </a:lnTo>
                  <a:lnTo>
                    <a:pt x="264" y="305"/>
                  </a:lnTo>
                  <a:lnTo>
                    <a:pt x="253" y="289"/>
                  </a:lnTo>
                  <a:lnTo>
                    <a:pt x="260" y="283"/>
                  </a:lnTo>
                  <a:lnTo>
                    <a:pt x="268" y="281"/>
                  </a:lnTo>
                  <a:lnTo>
                    <a:pt x="275" y="279"/>
                  </a:lnTo>
                  <a:lnTo>
                    <a:pt x="283" y="279"/>
                  </a:lnTo>
                  <a:lnTo>
                    <a:pt x="297" y="276"/>
                  </a:lnTo>
                  <a:lnTo>
                    <a:pt x="310" y="274"/>
                  </a:lnTo>
                  <a:lnTo>
                    <a:pt x="325" y="272"/>
                  </a:lnTo>
                  <a:lnTo>
                    <a:pt x="342" y="272"/>
                  </a:lnTo>
                  <a:lnTo>
                    <a:pt x="360" y="254"/>
                  </a:lnTo>
                  <a:lnTo>
                    <a:pt x="373" y="237"/>
                  </a:lnTo>
                  <a:lnTo>
                    <a:pt x="382" y="237"/>
                  </a:lnTo>
                  <a:lnTo>
                    <a:pt x="393" y="241"/>
                  </a:lnTo>
                  <a:lnTo>
                    <a:pt x="399" y="239"/>
                  </a:lnTo>
                  <a:lnTo>
                    <a:pt x="405" y="235"/>
                  </a:lnTo>
                  <a:lnTo>
                    <a:pt x="410" y="231"/>
                  </a:lnTo>
                  <a:lnTo>
                    <a:pt x="414" y="228"/>
                  </a:lnTo>
                  <a:lnTo>
                    <a:pt x="417" y="217"/>
                  </a:lnTo>
                  <a:lnTo>
                    <a:pt x="421" y="207"/>
                  </a:lnTo>
                  <a:lnTo>
                    <a:pt x="432" y="207"/>
                  </a:lnTo>
                  <a:lnTo>
                    <a:pt x="441" y="209"/>
                  </a:lnTo>
                  <a:lnTo>
                    <a:pt x="441" y="207"/>
                  </a:lnTo>
                  <a:lnTo>
                    <a:pt x="440" y="206"/>
                  </a:lnTo>
                  <a:lnTo>
                    <a:pt x="434" y="200"/>
                  </a:lnTo>
                  <a:lnTo>
                    <a:pt x="429" y="191"/>
                  </a:lnTo>
                  <a:lnTo>
                    <a:pt x="434" y="180"/>
                  </a:lnTo>
                  <a:lnTo>
                    <a:pt x="440" y="174"/>
                  </a:lnTo>
                  <a:lnTo>
                    <a:pt x="432" y="167"/>
                  </a:lnTo>
                  <a:lnTo>
                    <a:pt x="427" y="159"/>
                  </a:lnTo>
                  <a:lnTo>
                    <a:pt x="436" y="154"/>
                  </a:lnTo>
                  <a:lnTo>
                    <a:pt x="445" y="148"/>
                  </a:lnTo>
                  <a:lnTo>
                    <a:pt x="436" y="141"/>
                  </a:lnTo>
                  <a:lnTo>
                    <a:pt x="425" y="132"/>
                  </a:lnTo>
                  <a:lnTo>
                    <a:pt x="425" y="122"/>
                  </a:lnTo>
                  <a:lnTo>
                    <a:pt x="425" y="111"/>
                  </a:lnTo>
                  <a:lnTo>
                    <a:pt x="416" y="106"/>
                  </a:lnTo>
                  <a:lnTo>
                    <a:pt x="408" y="98"/>
                  </a:lnTo>
                  <a:lnTo>
                    <a:pt x="405" y="82"/>
                  </a:lnTo>
                  <a:lnTo>
                    <a:pt x="397" y="69"/>
                  </a:lnTo>
                  <a:lnTo>
                    <a:pt x="388" y="61"/>
                  </a:lnTo>
                  <a:lnTo>
                    <a:pt x="379" y="54"/>
                  </a:lnTo>
                  <a:lnTo>
                    <a:pt x="373" y="47"/>
                  </a:lnTo>
                  <a:lnTo>
                    <a:pt x="368" y="39"/>
                  </a:lnTo>
                  <a:lnTo>
                    <a:pt x="366" y="37"/>
                  </a:lnTo>
                  <a:lnTo>
                    <a:pt x="366" y="36"/>
                  </a:lnTo>
                  <a:lnTo>
                    <a:pt x="364" y="36"/>
                  </a:lnTo>
                  <a:lnTo>
                    <a:pt x="360" y="37"/>
                  </a:lnTo>
                  <a:lnTo>
                    <a:pt x="356" y="43"/>
                  </a:lnTo>
                  <a:lnTo>
                    <a:pt x="349" y="47"/>
                  </a:lnTo>
                  <a:lnTo>
                    <a:pt x="344" y="50"/>
                  </a:lnTo>
                  <a:lnTo>
                    <a:pt x="336" y="54"/>
                  </a:lnTo>
                  <a:lnTo>
                    <a:pt x="325" y="54"/>
                  </a:lnTo>
                  <a:lnTo>
                    <a:pt x="316" y="56"/>
                  </a:lnTo>
                  <a:lnTo>
                    <a:pt x="305" y="48"/>
                  </a:lnTo>
                  <a:lnTo>
                    <a:pt x="292" y="45"/>
                  </a:lnTo>
                  <a:lnTo>
                    <a:pt x="284" y="48"/>
                  </a:lnTo>
                  <a:lnTo>
                    <a:pt x="275" y="54"/>
                  </a:lnTo>
                  <a:lnTo>
                    <a:pt x="270" y="50"/>
                  </a:lnTo>
                  <a:lnTo>
                    <a:pt x="262" y="48"/>
                  </a:lnTo>
                  <a:lnTo>
                    <a:pt x="259" y="56"/>
                  </a:lnTo>
                  <a:lnTo>
                    <a:pt x="253" y="65"/>
                  </a:lnTo>
                  <a:lnTo>
                    <a:pt x="247" y="65"/>
                  </a:lnTo>
                  <a:lnTo>
                    <a:pt x="240" y="65"/>
                  </a:lnTo>
                  <a:lnTo>
                    <a:pt x="240" y="71"/>
                  </a:lnTo>
                  <a:lnTo>
                    <a:pt x="238" y="74"/>
                  </a:lnTo>
                  <a:lnTo>
                    <a:pt x="236" y="78"/>
                  </a:lnTo>
                  <a:lnTo>
                    <a:pt x="233" y="82"/>
                  </a:lnTo>
                  <a:lnTo>
                    <a:pt x="225" y="87"/>
                  </a:lnTo>
                  <a:lnTo>
                    <a:pt x="216" y="91"/>
                  </a:lnTo>
                  <a:lnTo>
                    <a:pt x="212" y="84"/>
                  </a:lnTo>
                  <a:lnTo>
                    <a:pt x="209" y="74"/>
                  </a:lnTo>
                  <a:lnTo>
                    <a:pt x="207" y="69"/>
                  </a:lnTo>
                  <a:lnTo>
                    <a:pt x="211" y="65"/>
                  </a:lnTo>
                  <a:lnTo>
                    <a:pt x="214" y="60"/>
                  </a:lnTo>
                  <a:lnTo>
                    <a:pt x="218" y="54"/>
                  </a:lnTo>
                  <a:lnTo>
                    <a:pt x="218" y="48"/>
                  </a:lnTo>
                  <a:lnTo>
                    <a:pt x="216" y="45"/>
                  </a:lnTo>
                  <a:lnTo>
                    <a:pt x="212" y="41"/>
                  </a:lnTo>
                  <a:lnTo>
                    <a:pt x="209" y="39"/>
                  </a:lnTo>
                  <a:lnTo>
                    <a:pt x="196" y="30"/>
                  </a:lnTo>
                  <a:lnTo>
                    <a:pt x="185" y="21"/>
                  </a:lnTo>
                  <a:lnTo>
                    <a:pt x="179" y="10"/>
                  </a:lnTo>
                  <a:lnTo>
                    <a:pt x="177" y="0"/>
                  </a:lnTo>
                  <a:lnTo>
                    <a:pt x="170" y="4"/>
                  </a:lnTo>
                  <a:lnTo>
                    <a:pt x="157" y="12"/>
                  </a:lnTo>
                  <a:lnTo>
                    <a:pt x="142" y="12"/>
                  </a:lnTo>
                  <a:lnTo>
                    <a:pt x="127" y="12"/>
                  </a:lnTo>
                  <a:lnTo>
                    <a:pt x="113" y="17"/>
                  </a:lnTo>
                  <a:lnTo>
                    <a:pt x="96" y="21"/>
                  </a:lnTo>
                  <a:lnTo>
                    <a:pt x="78" y="19"/>
                  </a:lnTo>
                  <a:lnTo>
                    <a:pt x="59" y="17"/>
                  </a:lnTo>
                  <a:lnTo>
                    <a:pt x="44" y="21"/>
                  </a:lnTo>
                  <a:lnTo>
                    <a:pt x="30" y="28"/>
                  </a:lnTo>
                  <a:lnTo>
                    <a:pt x="17" y="19"/>
                  </a:lnTo>
                  <a:lnTo>
                    <a:pt x="9" y="12"/>
                  </a:lnTo>
                  <a:lnTo>
                    <a:pt x="5" y="21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auto">
            <a:xfrm>
              <a:off x="6503029" y="2438494"/>
              <a:ext cx="33875" cy="13174"/>
            </a:xfrm>
            <a:custGeom>
              <a:avLst/>
              <a:gdLst>
                <a:gd name="T0" fmla="*/ 0 w 19"/>
                <a:gd name="T1" fmla="*/ 4763 h 7"/>
                <a:gd name="T2" fmla="*/ 6016 w 19"/>
                <a:gd name="T3" fmla="*/ 3175 h 7"/>
                <a:gd name="T4" fmla="*/ 13536 w 19"/>
                <a:gd name="T5" fmla="*/ 0 h 7"/>
                <a:gd name="T6" fmla="*/ 22559 w 19"/>
                <a:gd name="T7" fmla="*/ 3175 h 7"/>
                <a:gd name="T8" fmla="*/ 28575 w 19"/>
                <a:gd name="T9" fmla="*/ 4763 h 7"/>
                <a:gd name="T10" fmla="*/ 22559 w 19"/>
                <a:gd name="T11" fmla="*/ 11113 h 7"/>
                <a:gd name="T12" fmla="*/ 12032 w 19"/>
                <a:gd name="T13" fmla="*/ 11113 h 7"/>
                <a:gd name="T14" fmla="*/ 3008 w 19"/>
                <a:gd name="T15" fmla="*/ 7938 h 7"/>
                <a:gd name="T16" fmla="*/ 0 w 19"/>
                <a:gd name="T17" fmla="*/ 4763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7"/>
                <a:gd name="T29" fmla="*/ 19 w 19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7">
                  <a:moveTo>
                    <a:pt x="0" y="3"/>
                  </a:moveTo>
                  <a:lnTo>
                    <a:pt x="4" y="2"/>
                  </a:lnTo>
                  <a:lnTo>
                    <a:pt x="9" y="0"/>
                  </a:lnTo>
                  <a:lnTo>
                    <a:pt x="15" y="2"/>
                  </a:lnTo>
                  <a:lnTo>
                    <a:pt x="19" y="3"/>
                  </a:lnTo>
                  <a:lnTo>
                    <a:pt x="15" y="7"/>
                  </a:lnTo>
                  <a:lnTo>
                    <a:pt x="8" y="7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31" name="Freeform 27"/>
            <p:cNvSpPr>
              <a:spLocks noEditPoints="1"/>
            </p:cNvSpPr>
            <p:nvPr/>
          </p:nvSpPr>
          <p:spPr bwMode="auto">
            <a:xfrm>
              <a:off x="5733307" y="1621725"/>
              <a:ext cx="1166813" cy="1210099"/>
            </a:xfrm>
            <a:custGeom>
              <a:avLst/>
              <a:gdLst>
                <a:gd name="T0" fmla="*/ 205052 w 672"/>
                <a:gd name="T1" fmla="*/ 636588 h 643"/>
                <a:gd name="T2" fmla="*/ 200658 w 672"/>
                <a:gd name="T3" fmla="*/ 688975 h 643"/>
                <a:gd name="T4" fmla="*/ 246063 w 672"/>
                <a:gd name="T5" fmla="*/ 630238 h 643"/>
                <a:gd name="T6" fmla="*/ 229951 w 672"/>
                <a:gd name="T7" fmla="*/ 627063 h 643"/>
                <a:gd name="T8" fmla="*/ 197729 w 672"/>
                <a:gd name="T9" fmla="*/ 876300 h 643"/>
                <a:gd name="T10" fmla="*/ 188941 w 672"/>
                <a:gd name="T11" fmla="*/ 869950 h 643"/>
                <a:gd name="T12" fmla="*/ 227022 w 672"/>
                <a:gd name="T13" fmla="*/ 890588 h 643"/>
                <a:gd name="T14" fmla="*/ 281214 w 672"/>
                <a:gd name="T15" fmla="*/ 885825 h 643"/>
                <a:gd name="T16" fmla="*/ 268032 w 672"/>
                <a:gd name="T17" fmla="*/ 887413 h 643"/>
                <a:gd name="T18" fmla="*/ 281214 w 672"/>
                <a:gd name="T19" fmla="*/ 852488 h 643"/>
                <a:gd name="T20" fmla="*/ 10253 w 672"/>
                <a:gd name="T21" fmla="*/ 955675 h 643"/>
                <a:gd name="T22" fmla="*/ 26364 w 672"/>
                <a:gd name="T23" fmla="*/ 966788 h 643"/>
                <a:gd name="T24" fmla="*/ 5859 w 672"/>
                <a:gd name="T25" fmla="*/ 1014413 h 643"/>
                <a:gd name="T26" fmla="*/ 979856 w 672"/>
                <a:gd name="T27" fmla="*/ 530225 h 643"/>
                <a:gd name="T28" fmla="*/ 984250 w 672"/>
                <a:gd name="T29" fmla="*/ 527050 h 643"/>
                <a:gd name="T30" fmla="*/ 949098 w 672"/>
                <a:gd name="T31" fmla="*/ 509588 h 643"/>
                <a:gd name="T32" fmla="*/ 660561 w 672"/>
                <a:gd name="T33" fmla="*/ 676275 h 643"/>
                <a:gd name="T34" fmla="*/ 622479 w 672"/>
                <a:gd name="T35" fmla="*/ 658813 h 643"/>
                <a:gd name="T36" fmla="*/ 622479 w 672"/>
                <a:gd name="T37" fmla="*/ 674688 h 643"/>
                <a:gd name="T38" fmla="*/ 590257 w 672"/>
                <a:gd name="T39" fmla="*/ 665163 h 643"/>
                <a:gd name="T40" fmla="*/ 578540 w 672"/>
                <a:gd name="T41" fmla="*/ 630238 h 643"/>
                <a:gd name="T42" fmla="*/ 616621 w 672"/>
                <a:gd name="T43" fmla="*/ 623888 h 643"/>
                <a:gd name="T44" fmla="*/ 638591 w 672"/>
                <a:gd name="T45" fmla="*/ 609600 h 643"/>
                <a:gd name="T46" fmla="*/ 629803 w 672"/>
                <a:gd name="T47" fmla="*/ 615950 h 643"/>
                <a:gd name="T48" fmla="*/ 662025 w 672"/>
                <a:gd name="T49" fmla="*/ 582613 h 643"/>
                <a:gd name="T50" fmla="*/ 638591 w 672"/>
                <a:gd name="T51" fmla="*/ 547688 h 643"/>
                <a:gd name="T52" fmla="*/ 625409 w 672"/>
                <a:gd name="T53" fmla="*/ 574675 h 643"/>
                <a:gd name="T54" fmla="*/ 440862 w 672"/>
                <a:gd name="T55" fmla="*/ 520700 h 643"/>
                <a:gd name="T56" fmla="*/ 587328 w 672"/>
                <a:gd name="T57" fmla="*/ 90488 h 643"/>
                <a:gd name="T58" fmla="*/ 641520 w 672"/>
                <a:gd name="T59" fmla="*/ 34925 h 643"/>
                <a:gd name="T60" fmla="*/ 679601 w 672"/>
                <a:gd name="T61" fmla="*/ 1588 h 643"/>
                <a:gd name="T62" fmla="*/ 714753 w 672"/>
                <a:gd name="T63" fmla="*/ 76200 h 643"/>
                <a:gd name="T64" fmla="*/ 697177 w 672"/>
                <a:gd name="T65" fmla="*/ 139700 h 643"/>
                <a:gd name="T66" fmla="*/ 607833 w 672"/>
                <a:gd name="T67" fmla="*/ 169863 h 643"/>
                <a:gd name="T68" fmla="*/ 581469 w 672"/>
                <a:gd name="T69" fmla="*/ 128588 h 643"/>
                <a:gd name="T70" fmla="*/ 641520 w 672"/>
                <a:gd name="T71" fmla="*/ 169863 h 643"/>
                <a:gd name="T72" fmla="*/ 705965 w 672"/>
                <a:gd name="T73" fmla="*/ 173038 h 643"/>
                <a:gd name="T74" fmla="*/ 711824 w 672"/>
                <a:gd name="T75" fmla="*/ 192088 h 643"/>
                <a:gd name="T76" fmla="*/ 766016 w 672"/>
                <a:gd name="T77" fmla="*/ 239713 h 643"/>
                <a:gd name="T78" fmla="*/ 746975 w 672"/>
                <a:gd name="T79" fmla="*/ 284163 h 643"/>
                <a:gd name="T80" fmla="*/ 711824 w 672"/>
                <a:gd name="T81" fmla="*/ 346075 h 643"/>
                <a:gd name="T82" fmla="*/ 654702 w 672"/>
                <a:gd name="T83" fmla="*/ 312738 h 643"/>
                <a:gd name="T84" fmla="*/ 610762 w 672"/>
                <a:gd name="T85" fmla="*/ 242888 h 643"/>
                <a:gd name="T86" fmla="*/ 629803 w 672"/>
                <a:gd name="T87" fmla="*/ 198438 h 643"/>
                <a:gd name="T88" fmla="*/ 606368 w 672"/>
                <a:gd name="T89" fmla="*/ 190500 h 643"/>
                <a:gd name="T90" fmla="*/ 562429 w 672"/>
                <a:gd name="T91" fmla="*/ 198438 h 643"/>
                <a:gd name="T92" fmla="*/ 789451 w 672"/>
                <a:gd name="T93" fmla="*/ 315913 h 643"/>
                <a:gd name="T94" fmla="*/ 814350 w 672"/>
                <a:gd name="T95" fmla="*/ 271463 h 643"/>
                <a:gd name="T96" fmla="*/ 846572 w 672"/>
                <a:gd name="T97" fmla="*/ 263525 h 643"/>
                <a:gd name="T98" fmla="*/ 871471 w 672"/>
                <a:gd name="T99" fmla="*/ 288925 h 643"/>
                <a:gd name="T100" fmla="*/ 906623 w 672"/>
                <a:gd name="T101" fmla="*/ 330200 h 643"/>
                <a:gd name="T102" fmla="*/ 890512 w 672"/>
                <a:gd name="T103" fmla="*/ 398463 h 643"/>
                <a:gd name="T104" fmla="*/ 789451 w 672"/>
                <a:gd name="T105" fmla="*/ 436563 h 643"/>
                <a:gd name="T106" fmla="*/ 749905 w 672"/>
                <a:gd name="T107" fmla="*/ 419100 h 643"/>
                <a:gd name="T108" fmla="*/ 537529 w 672"/>
                <a:gd name="T109" fmla="*/ 215900 h 643"/>
                <a:gd name="T110" fmla="*/ 546317 w 672"/>
                <a:gd name="T111" fmla="*/ 231775 h 643"/>
                <a:gd name="T112" fmla="*/ 559499 w 672"/>
                <a:gd name="T113" fmla="*/ 201613 h 643"/>
                <a:gd name="T114" fmla="*/ 562429 w 672"/>
                <a:gd name="T115" fmla="*/ 233363 h 643"/>
                <a:gd name="T116" fmla="*/ 562429 w 672"/>
                <a:gd name="T117" fmla="*/ 233363 h 643"/>
                <a:gd name="T118" fmla="*/ 575610 w 672"/>
                <a:gd name="T119" fmla="*/ 242888 h 643"/>
                <a:gd name="T120" fmla="*/ 714753 w 672"/>
                <a:gd name="T121" fmla="*/ 96838 h 643"/>
                <a:gd name="T122" fmla="*/ 613692 w 672"/>
                <a:gd name="T123" fmla="*/ 11113 h 64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2"/>
                <a:gd name="T187" fmla="*/ 0 h 643"/>
                <a:gd name="T188" fmla="*/ 672 w 672"/>
                <a:gd name="T189" fmla="*/ 643 h 64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2" h="643">
                  <a:moveTo>
                    <a:pt x="140" y="395"/>
                  </a:moveTo>
                  <a:lnTo>
                    <a:pt x="142" y="395"/>
                  </a:lnTo>
                  <a:lnTo>
                    <a:pt x="142" y="393"/>
                  </a:lnTo>
                  <a:lnTo>
                    <a:pt x="144" y="393"/>
                  </a:lnTo>
                  <a:lnTo>
                    <a:pt x="146" y="393"/>
                  </a:lnTo>
                  <a:lnTo>
                    <a:pt x="146" y="395"/>
                  </a:lnTo>
                  <a:lnTo>
                    <a:pt x="148" y="395"/>
                  </a:lnTo>
                  <a:lnTo>
                    <a:pt x="148" y="397"/>
                  </a:lnTo>
                  <a:lnTo>
                    <a:pt x="149" y="397"/>
                  </a:lnTo>
                  <a:lnTo>
                    <a:pt x="149" y="401"/>
                  </a:lnTo>
                  <a:lnTo>
                    <a:pt x="151" y="402"/>
                  </a:lnTo>
                  <a:lnTo>
                    <a:pt x="151" y="404"/>
                  </a:lnTo>
                  <a:lnTo>
                    <a:pt x="151" y="406"/>
                  </a:lnTo>
                  <a:lnTo>
                    <a:pt x="151" y="408"/>
                  </a:lnTo>
                  <a:lnTo>
                    <a:pt x="149" y="410"/>
                  </a:lnTo>
                  <a:lnTo>
                    <a:pt x="146" y="408"/>
                  </a:lnTo>
                  <a:lnTo>
                    <a:pt x="144" y="406"/>
                  </a:lnTo>
                  <a:lnTo>
                    <a:pt x="142" y="404"/>
                  </a:lnTo>
                  <a:lnTo>
                    <a:pt x="140" y="402"/>
                  </a:lnTo>
                  <a:lnTo>
                    <a:pt x="140" y="401"/>
                  </a:lnTo>
                  <a:lnTo>
                    <a:pt x="140" y="399"/>
                  </a:lnTo>
                  <a:lnTo>
                    <a:pt x="140" y="397"/>
                  </a:lnTo>
                  <a:lnTo>
                    <a:pt x="140" y="395"/>
                  </a:lnTo>
                  <a:close/>
                  <a:moveTo>
                    <a:pt x="142" y="449"/>
                  </a:moveTo>
                  <a:lnTo>
                    <a:pt x="142" y="450"/>
                  </a:lnTo>
                  <a:lnTo>
                    <a:pt x="140" y="452"/>
                  </a:lnTo>
                  <a:lnTo>
                    <a:pt x="135" y="454"/>
                  </a:lnTo>
                  <a:lnTo>
                    <a:pt x="129" y="454"/>
                  </a:lnTo>
                  <a:lnTo>
                    <a:pt x="127" y="452"/>
                  </a:lnTo>
                  <a:lnTo>
                    <a:pt x="125" y="452"/>
                  </a:lnTo>
                  <a:lnTo>
                    <a:pt x="124" y="452"/>
                  </a:lnTo>
                  <a:lnTo>
                    <a:pt x="124" y="450"/>
                  </a:lnTo>
                  <a:lnTo>
                    <a:pt x="122" y="450"/>
                  </a:lnTo>
                  <a:lnTo>
                    <a:pt x="122" y="449"/>
                  </a:lnTo>
                  <a:lnTo>
                    <a:pt x="122" y="447"/>
                  </a:lnTo>
                  <a:lnTo>
                    <a:pt x="122" y="445"/>
                  </a:lnTo>
                  <a:lnTo>
                    <a:pt x="124" y="443"/>
                  </a:lnTo>
                  <a:lnTo>
                    <a:pt x="124" y="441"/>
                  </a:lnTo>
                  <a:lnTo>
                    <a:pt x="125" y="441"/>
                  </a:lnTo>
                  <a:lnTo>
                    <a:pt x="127" y="439"/>
                  </a:lnTo>
                  <a:lnTo>
                    <a:pt x="129" y="437"/>
                  </a:lnTo>
                  <a:lnTo>
                    <a:pt x="133" y="436"/>
                  </a:lnTo>
                  <a:lnTo>
                    <a:pt x="137" y="434"/>
                  </a:lnTo>
                  <a:lnTo>
                    <a:pt x="138" y="434"/>
                  </a:lnTo>
                  <a:lnTo>
                    <a:pt x="140" y="432"/>
                  </a:lnTo>
                  <a:lnTo>
                    <a:pt x="142" y="432"/>
                  </a:lnTo>
                  <a:lnTo>
                    <a:pt x="144" y="432"/>
                  </a:lnTo>
                  <a:lnTo>
                    <a:pt x="144" y="434"/>
                  </a:lnTo>
                  <a:lnTo>
                    <a:pt x="146" y="434"/>
                  </a:lnTo>
                  <a:lnTo>
                    <a:pt x="146" y="436"/>
                  </a:lnTo>
                  <a:lnTo>
                    <a:pt x="146" y="437"/>
                  </a:lnTo>
                  <a:lnTo>
                    <a:pt x="146" y="439"/>
                  </a:lnTo>
                  <a:lnTo>
                    <a:pt x="146" y="441"/>
                  </a:lnTo>
                  <a:lnTo>
                    <a:pt x="144" y="443"/>
                  </a:lnTo>
                  <a:lnTo>
                    <a:pt x="142" y="445"/>
                  </a:lnTo>
                  <a:lnTo>
                    <a:pt x="142" y="447"/>
                  </a:lnTo>
                  <a:lnTo>
                    <a:pt x="142" y="449"/>
                  </a:lnTo>
                  <a:close/>
                  <a:moveTo>
                    <a:pt x="159" y="391"/>
                  </a:moveTo>
                  <a:lnTo>
                    <a:pt x="161" y="389"/>
                  </a:lnTo>
                  <a:lnTo>
                    <a:pt x="162" y="391"/>
                  </a:lnTo>
                  <a:lnTo>
                    <a:pt x="164" y="391"/>
                  </a:lnTo>
                  <a:lnTo>
                    <a:pt x="166" y="391"/>
                  </a:lnTo>
                  <a:lnTo>
                    <a:pt x="166" y="393"/>
                  </a:lnTo>
                  <a:lnTo>
                    <a:pt x="168" y="395"/>
                  </a:lnTo>
                  <a:lnTo>
                    <a:pt x="168" y="397"/>
                  </a:lnTo>
                  <a:lnTo>
                    <a:pt x="170" y="397"/>
                  </a:lnTo>
                  <a:lnTo>
                    <a:pt x="172" y="397"/>
                  </a:lnTo>
                  <a:lnTo>
                    <a:pt x="173" y="397"/>
                  </a:lnTo>
                  <a:lnTo>
                    <a:pt x="175" y="399"/>
                  </a:lnTo>
                  <a:lnTo>
                    <a:pt x="175" y="401"/>
                  </a:lnTo>
                  <a:lnTo>
                    <a:pt x="177" y="401"/>
                  </a:lnTo>
                  <a:lnTo>
                    <a:pt x="177" y="402"/>
                  </a:lnTo>
                  <a:lnTo>
                    <a:pt x="177" y="404"/>
                  </a:lnTo>
                  <a:lnTo>
                    <a:pt x="177" y="406"/>
                  </a:lnTo>
                  <a:lnTo>
                    <a:pt x="177" y="410"/>
                  </a:lnTo>
                  <a:lnTo>
                    <a:pt x="177" y="412"/>
                  </a:lnTo>
                  <a:lnTo>
                    <a:pt x="175" y="412"/>
                  </a:lnTo>
                  <a:lnTo>
                    <a:pt x="173" y="412"/>
                  </a:lnTo>
                  <a:lnTo>
                    <a:pt x="172" y="410"/>
                  </a:lnTo>
                  <a:lnTo>
                    <a:pt x="170" y="410"/>
                  </a:lnTo>
                  <a:lnTo>
                    <a:pt x="168" y="408"/>
                  </a:lnTo>
                  <a:lnTo>
                    <a:pt x="166" y="408"/>
                  </a:lnTo>
                  <a:lnTo>
                    <a:pt x="166" y="406"/>
                  </a:lnTo>
                  <a:lnTo>
                    <a:pt x="161" y="401"/>
                  </a:lnTo>
                  <a:lnTo>
                    <a:pt x="157" y="395"/>
                  </a:lnTo>
                  <a:lnTo>
                    <a:pt x="155" y="391"/>
                  </a:lnTo>
                  <a:lnTo>
                    <a:pt x="157" y="391"/>
                  </a:lnTo>
                  <a:lnTo>
                    <a:pt x="159" y="391"/>
                  </a:lnTo>
                  <a:close/>
                  <a:moveTo>
                    <a:pt x="137" y="548"/>
                  </a:moveTo>
                  <a:lnTo>
                    <a:pt x="138" y="546"/>
                  </a:lnTo>
                  <a:lnTo>
                    <a:pt x="140" y="546"/>
                  </a:lnTo>
                  <a:lnTo>
                    <a:pt x="142" y="546"/>
                  </a:lnTo>
                  <a:lnTo>
                    <a:pt x="142" y="548"/>
                  </a:lnTo>
                  <a:lnTo>
                    <a:pt x="144" y="548"/>
                  </a:lnTo>
                  <a:lnTo>
                    <a:pt x="146" y="548"/>
                  </a:lnTo>
                  <a:lnTo>
                    <a:pt x="146" y="550"/>
                  </a:lnTo>
                  <a:lnTo>
                    <a:pt x="148" y="550"/>
                  </a:lnTo>
                  <a:lnTo>
                    <a:pt x="148" y="552"/>
                  </a:lnTo>
                  <a:lnTo>
                    <a:pt x="148" y="554"/>
                  </a:lnTo>
                  <a:lnTo>
                    <a:pt x="148" y="556"/>
                  </a:lnTo>
                  <a:lnTo>
                    <a:pt x="149" y="558"/>
                  </a:lnTo>
                  <a:lnTo>
                    <a:pt x="144" y="558"/>
                  </a:lnTo>
                  <a:lnTo>
                    <a:pt x="142" y="558"/>
                  </a:lnTo>
                  <a:lnTo>
                    <a:pt x="138" y="556"/>
                  </a:lnTo>
                  <a:lnTo>
                    <a:pt x="137" y="556"/>
                  </a:lnTo>
                  <a:lnTo>
                    <a:pt x="137" y="554"/>
                  </a:lnTo>
                  <a:lnTo>
                    <a:pt x="135" y="554"/>
                  </a:lnTo>
                  <a:lnTo>
                    <a:pt x="135" y="552"/>
                  </a:lnTo>
                  <a:lnTo>
                    <a:pt x="135" y="550"/>
                  </a:lnTo>
                  <a:lnTo>
                    <a:pt x="137" y="550"/>
                  </a:lnTo>
                  <a:lnTo>
                    <a:pt x="137" y="548"/>
                  </a:lnTo>
                  <a:close/>
                  <a:moveTo>
                    <a:pt x="114" y="550"/>
                  </a:moveTo>
                  <a:lnTo>
                    <a:pt x="114" y="550"/>
                  </a:lnTo>
                  <a:lnTo>
                    <a:pt x="114" y="548"/>
                  </a:lnTo>
                  <a:lnTo>
                    <a:pt x="114" y="546"/>
                  </a:lnTo>
                  <a:lnTo>
                    <a:pt x="116" y="546"/>
                  </a:lnTo>
                  <a:lnTo>
                    <a:pt x="116" y="545"/>
                  </a:lnTo>
                  <a:lnTo>
                    <a:pt x="118" y="545"/>
                  </a:lnTo>
                  <a:lnTo>
                    <a:pt x="120" y="545"/>
                  </a:lnTo>
                  <a:lnTo>
                    <a:pt x="122" y="545"/>
                  </a:lnTo>
                  <a:lnTo>
                    <a:pt x="124" y="546"/>
                  </a:lnTo>
                  <a:lnTo>
                    <a:pt x="125" y="546"/>
                  </a:lnTo>
                  <a:lnTo>
                    <a:pt x="127" y="548"/>
                  </a:lnTo>
                  <a:lnTo>
                    <a:pt x="129" y="548"/>
                  </a:lnTo>
                  <a:lnTo>
                    <a:pt x="131" y="550"/>
                  </a:lnTo>
                  <a:lnTo>
                    <a:pt x="129" y="552"/>
                  </a:lnTo>
                  <a:lnTo>
                    <a:pt x="127" y="554"/>
                  </a:lnTo>
                  <a:lnTo>
                    <a:pt x="125" y="554"/>
                  </a:lnTo>
                  <a:lnTo>
                    <a:pt x="124" y="554"/>
                  </a:lnTo>
                  <a:lnTo>
                    <a:pt x="122" y="554"/>
                  </a:lnTo>
                  <a:lnTo>
                    <a:pt x="120" y="554"/>
                  </a:lnTo>
                  <a:lnTo>
                    <a:pt x="118" y="554"/>
                  </a:lnTo>
                  <a:lnTo>
                    <a:pt x="116" y="554"/>
                  </a:lnTo>
                  <a:lnTo>
                    <a:pt x="116" y="552"/>
                  </a:lnTo>
                  <a:lnTo>
                    <a:pt x="114" y="552"/>
                  </a:lnTo>
                  <a:lnTo>
                    <a:pt x="114" y="550"/>
                  </a:lnTo>
                  <a:close/>
                  <a:moveTo>
                    <a:pt x="153" y="572"/>
                  </a:moveTo>
                  <a:lnTo>
                    <a:pt x="151" y="571"/>
                  </a:lnTo>
                  <a:lnTo>
                    <a:pt x="151" y="569"/>
                  </a:lnTo>
                  <a:lnTo>
                    <a:pt x="151" y="567"/>
                  </a:lnTo>
                  <a:lnTo>
                    <a:pt x="153" y="565"/>
                  </a:lnTo>
                  <a:lnTo>
                    <a:pt x="153" y="563"/>
                  </a:lnTo>
                  <a:lnTo>
                    <a:pt x="155" y="563"/>
                  </a:lnTo>
                  <a:lnTo>
                    <a:pt x="155" y="561"/>
                  </a:lnTo>
                  <a:lnTo>
                    <a:pt x="157" y="561"/>
                  </a:lnTo>
                  <a:lnTo>
                    <a:pt x="159" y="561"/>
                  </a:lnTo>
                  <a:lnTo>
                    <a:pt x="161" y="561"/>
                  </a:lnTo>
                  <a:lnTo>
                    <a:pt x="162" y="563"/>
                  </a:lnTo>
                  <a:lnTo>
                    <a:pt x="162" y="565"/>
                  </a:lnTo>
                  <a:lnTo>
                    <a:pt x="162" y="567"/>
                  </a:lnTo>
                  <a:lnTo>
                    <a:pt x="161" y="569"/>
                  </a:lnTo>
                  <a:lnTo>
                    <a:pt x="161" y="571"/>
                  </a:lnTo>
                  <a:lnTo>
                    <a:pt x="159" y="571"/>
                  </a:lnTo>
                  <a:lnTo>
                    <a:pt x="159" y="572"/>
                  </a:lnTo>
                  <a:lnTo>
                    <a:pt x="157" y="572"/>
                  </a:lnTo>
                  <a:lnTo>
                    <a:pt x="155" y="572"/>
                  </a:lnTo>
                  <a:lnTo>
                    <a:pt x="153" y="572"/>
                  </a:lnTo>
                  <a:close/>
                  <a:moveTo>
                    <a:pt x="188" y="556"/>
                  </a:moveTo>
                  <a:lnTo>
                    <a:pt x="190" y="556"/>
                  </a:lnTo>
                  <a:lnTo>
                    <a:pt x="192" y="556"/>
                  </a:lnTo>
                  <a:lnTo>
                    <a:pt x="192" y="558"/>
                  </a:lnTo>
                  <a:lnTo>
                    <a:pt x="194" y="559"/>
                  </a:lnTo>
                  <a:lnTo>
                    <a:pt x="194" y="561"/>
                  </a:lnTo>
                  <a:lnTo>
                    <a:pt x="194" y="563"/>
                  </a:lnTo>
                  <a:lnTo>
                    <a:pt x="192" y="565"/>
                  </a:lnTo>
                  <a:lnTo>
                    <a:pt x="192" y="567"/>
                  </a:lnTo>
                  <a:lnTo>
                    <a:pt x="190" y="567"/>
                  </a:lnTo>
                  <a:lnTo>
                    <a:pt x="188" y="567"/>
                  </a:lnTo>
                  <a:lnTo>
                    <a:pt x="186" y="567"/>
                  </a:lnTo>
                  <a:lnTo>
                    <a:pt x="185" y="567"/>
                  </a:lnTo>
                  <a:lnTo>
                    <a:pt x="185" y="565"/>
                  </a:lnTo>
                  <a:lnTo>
                    <a:pt x="183" y="565"/>
                  </a:lnTo>
                  <a:lnTo>
                    <a:pt x="183" y="563"/>
                  </a:lnTo>
                  <a:lnTo>
                    <a:pt x="183" y="561"/>
                  </a:lnTo>
                  <a:lnTo>
                    <a:pt x="183" y="559"/>
                  </a:lnTo>
                  <a:lnTo>
                    <a:pt x="183" y="558"/>
                  </a:lnTo>
                  <a:lnTo>
                    <a:pt x="185" y="558"/>
                  </a:lnTo>
                  <a:lnTo>
                    <a:pt x="185" y="556"/>
                  </a:lnTo>
                  <a:lnTo>
                    <a:pt x="186" y="556"/>
                  </a:lnTo>
                  <a:lnTo>
                    <a:pt x="188" y="556"/>
                  </a:lnTo>
                  <a:close/>
                  <a:moveTo>
                    <a:pt x="188" y="528"/>
                  </a:moveTo>
                  <a:lnTo>
                    <a:pt x="190" y="528"/>
                  </a:lnTo>
                  <a:lnTo>
                    <a:pt x="192" y="528"/>
                  </a:lnTo>
                  <a:lnTo>
                    <a:pt x="192" y="530"/>
                  </a:lnTo>
                  <a:lnTo>
                    <a:pt x="194" y="530"/>
                  </a:lnTo>
                  <a:lnTo>
                    <a:pt x="194" y="532"/>
                  </a:lnTo>
                  <a:lnTo>
                    <a:pt x="194" y="534"/>
                  </a:lnTo>
                  <a:lnTo>
                    <a:pt x="194" y="535"/>
                  </a:lnTo>
                  <a:lnTo>
                    <a:pt x="192" y="535"/>
                  </a:lnTo>
                  <a:lnTo>
                    <a:pt x="192" y="537"/>
                  </a:lnTo>
                  <a:lnTo>
                    <a:pt x="190" y="537"/>
                  </a:lnTo>
                  <a:lnTo>
                    <a:pt x="188" y="537"/>
                  </a:lnTo>
                  <a:lnTo>
                    <a:pt x="186" y="537"/>
                  </a:lnTo>
                  <a:lnTo>
                    <a:pt x="186" y="535"/>
                  </a:lnTo>
                  <a:lnTo>
                    <a:pt x="185" y="535"/>
                  </a:lnTo>
                  <a:lnTo>
                    <a:pt x="185" y="534"/>
                  </a:lnTo>
                  <a:lnTo>
                    <a:pt x="185" y="532"/>
                  </a:lnTo>
                  <a:lnTo>
                    <a:pt x="185" y="530"/>
                  </a:lnTo>
                  <a:lnTo>
                    <a:pt x="186" y="528"/>
                  </a:lnTo>
                  <a:lnTo>
                    <a:pt x="188" y="528"/>
                  </a:lnTo>
                  <a:close/>
                  <a:moveTo>
                    <a:pt x="7" y="602"/>
                  </a:moveTo>
                  <a:lnTo>
                    <a:pt x="7" y="602"/>
                  </a:lnTo>
                  <a:lnTo>
                    <a:pt x="7" y="600"/>
                  </a:lnTo>
                  <a:lnTo>
                    <a:pt x="9" y="598"/>
                  </a:lnTo>
                  <a:lnTo>
                    <a:pt x="9" y="596"/>
                  </a:lnTo>
                  <a:lnTo>
                    <a:pt x="9" y="595"/>
                  </a:lnTo>
                  <a:lnTo>
                    <a:pt x="11" y="595"/>
                  </a:lnTo>
                  <a:lnTo>
                    <a:pt x="13" y="593"/>
                  </a:lnTo>
                  <a:lnTo>
                    <a:pt x="15" y="593"/>
                  </a:lnTo>
                  <a:lnTo>
                    <a:pt x="16" y="593"/>
                  </a:lnTo>
                  <a:lnTo>
                    <a:pt x="18" y="593"/>
                  </a:lnTo>
                  <a:lnTo>
                    <a:pt x="20" y="595"/>
                  </a:lnTo>
                  <a:lnTo>
                    <a:pt x="20" y="596"/>
                  </a:lnTo>
                  <a:lnTo>
                    <a:pt x="20" y="598"/>
                  </a:lnTo>
                  <a:lnTo>
                    <a:pt x="20" y="600"/>
                  </a:lnTo>
                  <a:lnTo>
                    <a:pt x="18" y="600"/>
                  </a:lnTo>
                  <a:lnTo>
                    <a:pt x="18" y="602"/>
                  </a:lnTo>
                  <a:lnTo>
                    <a:pt x="16" y="602"/>
                  </a:lnTo>
                  <a:lnTo>
                    <a:pt x="13" y="604"/>
                  </a:lnTo>
                  <a:lnTo>
                    <a:pt x="11" y="604"/>
                  </a:lnTo>
                  <a:lnTo>
                    <a:pt x="7" y="602"/>
                  </a:lnTo>
                  <a:close/>
                  <a:moveTo>
                    <a:pt x="16" y="607"/>
                  </a:moveTo>
                  <a:lnTo>
                    <a:pt x="16" y="607"/>
                  </a:lnTo>
                  <a:lnTo>
                    <a:pt x="18" y="609"/>
                  </a:lnTo>
                  <a:lnTo>
                    <a:pt x="20" y="611"/>
                  </a:lnTo>
                  <a:lnTo>
                    <a:pt x="20" y="613"/>
                  </a:lnTo>
                  <a:lnTo>
                    <a:pt x="20" y="615"/>
                  </a:lnTo>
                  <a:lnTo>
                    <a:pt x="20" y="617"/>
                  </a:lnTo>
                  <a:lnTo>
                    <a:pt x="20" y="619"/>
                  </a:lnTo>
                  <a:lnTo>
                    <a:pt x="20" y="620"/>
                  </a:lnTo>
                  <a:lnTo>
                    <a:pt x="20" y="624"/>
                  </a:lnTo>
                  <a:lnTo>
                    <a:pt x="20" y="628"/>
                  </a:lnTo>
                  <a:lnTo>
                    <a:pt x="20" y="631"/>
                  </a:lnTo>
                  <a:lnTo>
                    <a:pt x="18" y="635"/>
                  </a:lnTo>
                  <a:lnTo>
                    <a:pt x="18" y="639"/>
                  </a:lnTo>
                  <a:lnTo>
                    <a:pt x="16" y="641"/>
                  </a:lnTo>
                  <a:lnTo>
                    <a:pt x="15" y="643"/>
                  </a:lnTo>
                  <a:lnTo>
                    <a:pt x="13" y="643"/>
                  </a:lnTo>
                  <a:lnTo>
                    <a:pt x="11" y="643"/>
                  </a:lnTo>
                  <a:lnTo>
                    <a:pt x="9" y="643"/>
                  </a:lnTo>
                  <a:lnTo>
                    <a:pt x="7" y="643"/>
                  </a:lnTo>
                  <a:lnTo>
                    <a:pt x="7" y="641"/>
                  </a:lnTo>
                  <a:lnTo>
                    <a:pt x="5" y="641"/>
                  </a:lnTo>
                  <a:lnTo>
                    <a:pt x="4" y="639"/>
                  </a:lnTo>
                  <a:lnTo>
                    <a:pt x="2" y="637"/>
                  </a:lnTo>
                  <a:lnTo>
                    <a:pt x="2" y="635"/>
                  </a:lnTo>
                  <a:lnTo>
                    <a:pt x="2" y="633"/>
                  </a:lnTo>
                  <a:lnTo>
                    <a:pt x="0" y="631"/>
                  </a:lnTo>
                  <a:lnTo>
                    <a:pt x="0" y="630"/>
                  </a:lnTo>
                  <a:lnTo>
                    <a:pt x="0" y="628"/>
                  </a:lnTo>
                  <a:lnTo>
                    <a:pt x="0" y="626"/>
                  </a:lnTo>
                  <a:lnTo>
                    <a:pt x="0" y="624"/>
                  </a:lnTo>
                  <a:lnTo>
                    <a:pt x="0" y="622"/>
                  </a:lnTo>
                  <a:lnTo>
                    <a:pt x="2" y="620"/>
                  </a:lnTo>
                  <a:lnTo>
                    <a:pt x="2" y="619"/>
                  </a:lnTo>
                  <a:lnTo>
                    <a:pt x="2" y="617"/>
                  </a:lnTo>
                  <a:lnTo>
                    <a:pt x="4" y="615"/>
                  </a:lnTo>
                  <a:lnTo>
                    <a:pt x="5" y="613"/>
                  </a:lnTo>
                  <a:lnTo>
                    <a:pt x="7" y="611"/>
                  </a:lnTo>
                  <a:lnTo>
                    <a:pt x="9" y="611"/>
                  </a:lnTo>
                  <a:lnTo>
                    <a:pt x="11" y="609"/>
                  </a:lnTo>
                  <a:lnTo>
                    <a:pt x="13" y="609"/>
                  </a:lnTo>
                  <a:lnTo>
                    <a:pt x="13" y="607"/>
                  </a:lnTo>
                  <a:lnTo>
                    <a:pt x="16" y="607"/>
                  </a:lnTo>
                  <a:close/>
                  <a:moveTo>
                    <a:pt x="670" y="332"/>
                  </a:moveTo>
                  <a:lnTo>
                    <a:pt x="670" y="334"/>
                  </a:lnTo>
                  <a:lnTo>
                    <a:pt x="669" y="334"/>
                  </a:lnTo>
                  <a:lnTo>
                    <a:pt x="667" y="334"/>
                  </a:lnTo>
                  <a:lnTo>
                    <a:pt x="665" y="332"/>
                  </a:lnTo>
                  <a:lnTo>
                    <a:pt x="663" y="330"/>
                  </a:lnTo>
                  <a:lnTo>
                    <a:pt x="663" y="328"/>
                  </a:lnTo>
                  <a:lnTo>
                    <a:pt x="663" y="327"/>
                  </a:lnTo>
                  <a:lnTo>
                    <a:pt x="663" y="325"/>
                  </a:lnTo>
                  <a:lnTo>
                    <a:pt x="665" y="325"/>
                  </a:lnTo>
                  <a:lnTo>
                    <a:pt x="667" y="325"/>
                  </a:lnTo>
                  <a:lnTo>
                    <a:pt x="669" y="325"/>
                  </a:lnTo>
                  <a:lnTo>
                    <a:pt x="669" y="327"/>
                  </a:lnTo>
                  <a:lnTo>
                    <a:pt x="670" y="327"/>
                  </a:lnTo>
                  <a:lnTo>
                    <a:pt x="670" y="328"/>
                  </a:lnTo>
                  <a:lnTo>
                    <a:pt x="672" y="328"/>
                  </a:lnTo>
                  <a:lnTo>
                    <a:pt x="672" y="330"/>
                  </a:lnTo>
                  <a:lnTo>
                    <a:pt x="672" y="332"/>
                  </a:lnTo>
                  <a:lnTo>
                    <a:pt x="670" y="332"/>
                  </a:lnTo>
                  <a:close/>
                  <a:moveTo>
                    <a:pt x="654" y="314"/>
                  </a:moveTo>
                  <a:lnTo>
                    <a:pt x="656" y="314"/>
                  </a:lnTo>
                  <a:lnTo>
                    <a:pt x="656" y="316"/>
                  </a:lnTo>
                  <a:lnTo>
                    <a:pt x="657" y="316"/>
                  </a:lnTo>
                  <a:lnTo>
                    <a:pt x="659" y="316"/>
                  </a:lnTo>
                  <a:lnTo>
                    <a:pt x="659" y="317"/>
                  </a:lnTo>
                  <a:lnTo>
                    <a:pt x="661" y="317"/>
                  </a:lnTo>
                  <a:lnTo>
                    <a:pt x="661" y="319"/>
                  </a:lnTo>
                  <a:lnTo>
                    <a:pt x="661" y="321"/>
                  </a:lnTo>
                  <a:lnTo>
                    <a:pt x="659" y="321"/>
                  </a:lnTo>
                  <a:lnTo>
                    <a:pt x="659" y="323"/>
                  </a:lnTo>
                  <a:lnTo>
                    <a:pt x="657" y="323"/>
                  </a:lnTo>
                  <a:lnTo>
                    <a:pt x="656" y="323"/>
                  </a:lnTo>
                  <a:lnTo>
                    <a:pt x="654" y="323"/>
                  </a:lnTo>
                  <a:lnTo>
                    <a:pt x="652" y="323"/>
                  </a:lnTo>
                  <a:lnTo>
                    <a:pt x="650" y="323"/>
                  </a:lnTo>
                  <a:lnTo>
                    <a:pt x="650" y="321"/>
                  </a:lnTo>
                  <a:lnTo>
                    <a:pt x="648" y="321"/>
                  </a:lnTo>
                  <a:lnTo>
                    <a:pt x="648" y="319"/>
                  </a:lnTo>
                  <a:lnTo>
                    <a:pt x="648" y="317"/>
                  </a:lnTo>
                  <a:lnTo>
                    <a:pt x="650" y="316"/>
                  </a:lnTo>
                  <a:lnTo>
                    <a:pt x="652" y="316"/>
                  </a:lnTo>
                  <a:lnTo>
                    <a:pt x="654" y="316"/>
                  </a:lnTo>
                  <a:lnTo>
                    <a:pt x="654" y="314"/>
                  </a:lnTo>
                  <a:close/>
                  <a:moveTo>
                    <a:pt x="441" y="417"/>
                  </a:moveTo>
                  <a:lnTo>
                    <a:pt x="441" y="417"/>
                  </a:lnTo>
                  <a:lnTo>
                    <a:pt x="443" y="417"/>
                  </a:lnTo>
                  <a:lnTo>
                    <a:pt x="443" y="415"/>
                  </a:lnTo>
                  <a:lnTo>
                    <a:pt x="445" y="415"/>
                  </a:lnTo>
                  <a:lnTo>
                    <a:pt x="445" y="417"/>
                  </a:lnTo>
                  <a:lnTo>
                    <a:pt x="447" y="417"/>
                  </a:lnTo>
                  <a:lnTo>
                    <a:pt x="449" y="421"/>
                  </a:lnTo>
                  <a:lnTo>
                    <a:pt x="451" y="426"/>
                  </a:lnTo>
                  <a:lnTo>
                    <a:pt x="451" y="428"/>
                  </a:lnTo>
                  <a:lnTo>
                    <a:pt x="451" y="430"/>
                  </a:lnTo>
                  <a:lnTo>
                    <a:pt x="449" y="432"/>
                  </a:lnTo>
                  <a:lnTo>
                    <a:pt x="447" y="432"/>
                  </a:lnTo>
                  <a:lnTo>
                    <a:pt x="445" y="432"/>
                  </a:lnTo>
                  <a:lnTo>
                    <a:pt x="445" y="430"/>
                  </a:lnTo>
                  <a:lnTo>
                    <a:pt x="443" y="430"/>
                  </a:lnTo>
                  <a:lnTo>
                    <a:pt x="443" y="428"/>
                  </a:lnTo>
                  <a:lnTo>
                    <a:pt x="441" y="428"/>
                  </a:lnTo>
                  <a:lnTo>
                    <a:pt x="441" y="426"/>
                  </a:lnTo>
                  <a:lnTo>
                    <a:pt x="441" y="425"/>
                  </a:lnTo>
                  <a:lnTo>
                    <a:pt x="439" y="425"/>
                  </a:lnTo>
                  <a:lnTo>
                    <a:pt x="439" y="423"/>
                  </a:lnTo>
                  <a:lnTo>
                    <a:pt x="439" y="421"/>
                  </a:lnTo>
                  <a:lnTo>
                    <a:pt x="441" y="419"/>
                  </a:lnTo>
                  <a:lnTo>
                    <a:pt x="441" y="417"/>
                  </a:lnTo>
                  <a:close/>
                  <a:moveTo>
                    <a:pt x="421" y="419"/>
                  </a:moveTo>
                  <a:lnTo>
                    <a:pt x="421" y="417"/>
                  </a:lnTo>
                  <a:lnTo>
                    <a:pt x="423" y="417"/>
                  </a:lnTo>
                  <a:lnTo>
                    <a:pt x="425" y="415"/>
                  </a:lnTo>
                  <a:lnTo>
                    <a:pt x="427" y="415"/>
                  </a:lnTo>
                  <a:lnTo>
                    <a:pt x="428" y="415"/>
                  </a:lnTo>
                  <a:lnTo>
                    <a:pt x="428" y="417"/>
                  </a:lnTo>
                  <a:lnTo>
                    <a:pt x="430" y="417"/>
                  </a:lnTo>
                  <a:lnTo>
                    <a:pt x="432" y="417"/>
                  </a:lnTo>
                  <a:lnTo>
                    <a:pt x="434" y="419"/>
                  </a:lnTo>
                  <a:lnTo>
                    <a:pt x="436" y="421"/>
                  </a:lnTo>
                  <a:lnTo>
                    <a:pt x="436" y="423"/>
                  </a:lnTo>
                  <a:lnTo>
                    <a:pt x="438" y="426"/>
                  </a:lnTo>
                  <a:lnTo>
                    <a:pt x="436" y="426"/>
                  </a:lnTo>
                  <a:lnTo>
                    <a:pt x="436" y="428"/>
                  </a:lnTo>
                  <a:lnTo>
                    <a:pt x="434" y="428"/>
                  </a:lnTo>
                  <a:lnTo>
                    <a:pt x="432" y="428"/>
                  </a:lnTo>
                  <a:lnTo>
                    <a:pt x="430" y="428"/>
                  </a:lnTo>
                  <a:lnTo>
                    <a:pt x="428" y="426"/>
                  </a:lnTo>
                  <a:lnTo>
                    <a:pt x="427" y="426"/>
                  </a:lnTo>
                  <a:lnTo>
                    <a:pt x="425" y="425"/>
                  </a:lnTo>
                  <a:lnTo>
                    <a:pt x="423" y="425"/>
                  </a:lnTo>
                  <a:lnTo>
                    <a:pt x="421" y="423"/>
                  </a:lnTo>
                  <a:lnTo>
                    <a:pt x="421" y="421"/>
                  </a:lnTo>
                  <a:lnTo>
                    <a:pt x="421" y="419"/>
                  </a:lnTo>
                  <a:close/>
                  <a:moveTo>
                    <a:pt x="419" y="421"/>
                  </a:moveTo>
                  <a:lnTo>
                    <a:pt x="419" y="423"/>
                  </a:lnTo>
                  <a:lnTo>
                    <a:pt x="417" y="423"/>
                  </a:lnTo>
                  <a:lnTo>
                    <a:pt x="415" y="425"/>
                  </a:lnTo>
                  <a:lnTo>
                    <a:pt x="412" y="425"/>
                  </a:lnTo>
                  <a:lnTo>
                    <a:pt x="406" y="425"/>
                  </a:lnTo>
                  <a:lnTo>
                    <a:pt x="404" y="425"/>
                  </a:lnTo>
                  <a:lnTo>
                    <a:pt x="403" y="423"/>
                  </a:lnTo>
                  <a:lnTo>
                    <a:pt x="401" y="421"/>
                  </a:lnTo>
                  <a:lnTo>
                    <a:pt x="403" y="419"/>
                  </a:lnTo>
                  <a:lnTo>
                    <a:pt x="403" y="417"/>
                  </a:lnTo>
                  <a:lnTo>
                    <a:pt x="404" y="417"/>
                  </a:lnTo>
                  <a:lnTo>
                    <a:pt x="406" y="417"/>
                  </a:lnTo>
                  <a:lnTo>
                    <a:pt x="406" y="415"/>
                  </a:lnTo>
                  <a:lnTo>
                    <a:pt x="408" y="415"/>
                  </a:lnTo>
                  <a:lnTo>
                    <a:pt x="410" y="415"/>
                  </a:lnTo>
                  <a:lnTo>
                    <a:pt x="412" y="415"/>
                  </a:lnTo>
                  <a:lnTo>
                    <a:pt x="414" y="415"/>
                  </a:lnTo>
                  <a:lnTo>
                    <a:pt x="415" y="417"/>
                  </a:lnTo>
                  <a:lnTo>
                    <a:pt x="417" y="417"/>
                  </a:lnTo>
                  <a:lnTo>
                    <a:pt x="419" y="419"/>
                  </a:lnTo>
                  <a:lnTo>
                    <a:pt x="419" y="421"/>
                  </a:lnTo>
                  <a:close/>
                  <a:moveTo>
                    <a:pt x="408" y="393"/>
                  </a:moveTo>
                  <a:lnTo>
                    <a:pt x="406" y="395"/>
                  </a:lnTo>
                  <a:lnTo>
                    <a:pt x="403" y="397"/>
                  </a:lnTo>
                  <a:lnTo>
                    <a:pt x="399" y="397"/>
                  </a:lnTo>
                  <a:lnTo>
                    <a:pt x="397" y="397"/>
                  </a:lnTo>
                  <a:lnTo>
                    <a:pt x="395" y="397"/>
                  </a:lnTo>
                  <a:lnTo>
                    <a:pt x="395" y="395"/>
                  </a:lnTo>
                  <a:lnTo>
                    <a:pt x="393" y="393"/>
                  </a:lnTo>
                  <a:lnTo>
                    <a:pt x="391" y="393"/>
                  </a:lnTo>
                  <a:lnTo>
                    <a:pt x="393" y="391"/>
                  </a:lnTo>
                  <a:lnTo>
                    <a:pt x="395" y="389"/>
                  </a:lnTo>
                  <a:lnTo>
                    <a:pt x="397" y="388"/>
                  </a:lnTo>
                  <a:lnTo>
                    <a:pt x="399" y="388"/>
                  </a:lnTo>
                  <a:lnTo>
                    <a:pt x="401" y="388"/>
                  </a:lnTo>
                  <a:lnTo>
                    <a:pt x="403" y="388"/>
                  </a:lnTo>
                  <a:lnTo>
                    <a:pt x="404" y="389"/>
                  </a:lnTo>
                  <a:lnTo>
                    <a:pt x="406" y="391"/>
                  </a:lnTo>
                  <a:lnTo>
                    <a:pt x="408" y="393"/>
                  </a:lnTo>
                  <a:close/>
                  <a:moveTo>
                    <a:pt x="419" y="382"/>
                  </a:moveTo>
                  <a:lnTo>
                    <a:pt x="419" y="384"/>
                  </a:lnTo>
                  <a:lnTo>
                    <a:pt x="421" y="384"/>
                  </a:lnTo>
                  <a:lnTo>
                    <a:pt x="421" y="388"/>
                  </a:lnTo>
                  <a:lnTo>
                    <a:pt x="423" y="391"/>
                  </a:lnTo>
                  <a:lnTo>
                    <a:pt x="421" y="393"/>
                  </a:lnTo>
                  <a:lnTo>
                    <a:pt x="419" y="393"/>
                  </a:lnTo>
                  <a:lnTo>
                    <a:pt x="419" y="395"/>
                  </a:lnTo>
                  <a:lnTo>
                    <a:pt x="417" y="395"/>
                  </a:lnTo>
                  <a:lnTo>
                    <a:pt x="417" y="393"/>
                  </a:lnTo>
                  <a:lnTo>
                    <a:pt x="415" y="393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4" y="389"/>
                  </a:lnTo>
                  <a:lnTo>
                    <a:pt x="414" y="388"/>
                  </a:lnTo>
                  <a:lnTo>
                    <a:pt x="414" y="386"/>
                  </a:lnTo>
                  <a:lnTo>
                    <a:pt x="415" y="384"/>
                  </a:lnTo>
                  <a:lnTo>
                    <a:pt x="417" y="384"/>
                  </a:lnTo>
                  <a:lnTo>
                    <a:pt x="419" y="382"/>
                  </a:lnTo>
                  <a:close/>
                  <a:moveTo>
                    <a:pt x="432" y="384"/>
                  </a:moveTo>
                  <a:lnTo>
                    <a:pt x="434" y="384"/>
                  </a:lnTo>
                  <a:lnTo>
                    <a:pt x="436" y="384"/>
                  </a:lnTo>
                  <a:lnTo>
                    <a:pt x="438" y="384"/>
                  </a:lnTo>
                  <a:lnTo>
                    <a:pt x="439" y="384"/>
                  </a:lnTo>
                  <a:lnTo>
                    <a:pt x="441" y="384"/>
                  </a:lnTo>
                  <a:lnTo>
                    <a:pt x="443" y="386"/>
                  </a:lnTo>
                  <a:lnTo>
                    <a:pt x="445" y="386"/>
                  </a:lnTo>
                  <a:lnTo>
                    <a:pt x="445" y="388"/>
                  </a:lnTo>
                  <a:lnTo>
                    <a:pt x="447" y="388"/>
                  </a:lnTo>
                  <a:lnTo>
                    <a:pt x="447" y="389"/>
                  </a:lnTo>
                  <a:lnTo>
                    <a:pt x="449" y="391"/>
                  </a:lnTo>
                  <a:lnTo>
                    <a:pt x="449" y="395"/>
                  </a:lnTo>
                  <a:lnTo>
                    <a:pt x="451" y="397"/>
                  </a:lnTo>
                  <a:lnTo>
                    <a:pt x="445" y="395"/>
                  </a:lnTo>
                  <a:lnTo>
                    <a:pt x="441" y="395"/>
                  </a:lnTo>
                  <a:lnTo>
                    <a:pt x="436" y="393"/>
                  </a:lnTo>
                  <a:lnTo>
                    <a:pt x="434" y="393"/>
                  </a:lnTo>
                  <a:lnTo>
                    <a:pt x="434" y="391"/>
                  </a:lnTo>
                  <a:lnTo>
                    <a:pt x="432" y="391"/>
                  </a:lnTo>
                  <a:lnTo>
                    <a:pt x="430" y="389"/>
                  </a:lnTo>
                  <a:lnTo>
                    <a:pt x="430" y="388"/>
                  </a:lnTo>
                  <a:lnTo>
                    <a:pt x="430" y="386"/>
                  </a:lnTo>
                  <a:lnTo>
                    <a:pt x="432" y="384"/>
                  </a:lnTo>
                  <a:close/>
                  <a:moveTo>
                    <a:pt x="428" y="375"/>
                  </a:moveTo>
                  <a:lnTo>
                    <a:pt x="428" y="375"/>
                  </a:lnTo>
                  <a:lnTo>
                    <a:pt x="428" y="373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32" y="367"/>
                  </a:lnTo>
                  <a:lnTo>
                    <a:pt x="434" y="367"/>
                  </a:lnTo>
                  <a:lnTo>
                    <a:pt x="439" y="365"/>
                  </a:lnTo>
                  <a:lnTo>
                    <a:pt x="445" y="362"/>
                  </a:lnTo>
                  <a:lnTo>
                    <a:pt x="447" y="362"/>
                  </a:lnTo>
                  <a:lnTo>
                    <a:pt x="449" y="362"/>
                  </a:lnTo>
                  <a:lnTo>
                    <a:pt x="451" y="362"/>
                  </a:lnTo>
                  <a:lnTo>
                    <a:pt x="451" y="364"/>
                  </a:lnTo>
                  <a:lnTo>
                    <a:pt x="452" y="364"/>
                  </a:lnTo>
                  <a:lnTo>
                    <a:pt x="452" y="365"/>
                  </a:lnTo>
                  <a:lnTo>
                    <a:pt x="454" y="365"/>
                  </a:lnTo>
                  <a:lnTo>
                    <a:pt x="452" y="367"/>
                  </a:lnTo>
                  <a:lnTo>
                    <a:pt x="452" y="369"/>
                  </a:lnTo>
                  <a:lnTo>
                    <a:pt x="452" y="371"/>
                  </a:lnTo>
                  <a:lnTo>
                    <a:pt x="451" y="371"/>
                  </a:lnTo>
                  <a:lnTo>
                    <a:pt x="447" y="373"/>
                  </a:lnTo>
                  <a:lnTo>
                    <a:pt x="443" y="373"/>
                  </a:lnTo>
                  <a:lnTo>
                    <a:pt x="441" y="373"/>
                  </a:lnTo>
                  <a:lnTo>
                    <a:pt x="439" y="373"/>
                  </a:lnTo>
                  <a:lnTo>
                    <a:pt x="438" y="375"/>
                  </a:lnTo>
                  <a:lnTo>
                    <a:pt x="436" y="375"/>
                  </a:lnTo>
                  <a:lnTo>
                    <a:pt x="432" y="375"/>
                  </a:lnTo>
                  <a:lnTo>
                    <a:pt x="430" y="375"/>
                  </a:lnTo>
                  <a:lnTo>
                    <a:pt x="428" y="375"/>
                  </a:lnTo>
                  <a:close/>
                  <a:moveTo>
                    <a:pt x="425" y="360"/>
                  </a:moveTo>
                  <a:lnTo>
                    <a:pt x="425" y="360"/>
                  </a:lnTo>
                  <a:lnTo>
                    <a:pt x="425" y="358"/>
                  </a:lnTo>
                  <a:lnTo>
                    <a:pt x="425" y="356"/>
                  </a:lnTo>
                  <a:lnTo>
                    <a:pt x="427" y="354"/>
                  </a:lnTo>
                  <a:lnTo>
                    <a:pt x="428" y="354"/>
                  </a:lnTo>
                  <a:lnTo>
                    <a:pt x="430" y="352"/>
                  </a:lnTo>
                  <a:lnTo>
                    <a:pt x="432" y="351"/>
                  </a:lnTo>
                  <a:lnTo>
                    <a:pt x="434" y="349"/>
                  </a:lnTo>
                  <a:lnTo>
                    <a:pt x="436" y="347"/>
                  </a:lnTo>
                  <a:lnTo>
                    <a:pt x="436" y="345"/>
                  </a:lnTo>
                  <a:lnTo>
                    <a:pt x="438" y="343"/>
                  </a:lnTo>
                  <a:lnTo>
                    <a:pt x="439" y="343"/>
                  </a:lnTo>
                  <a:lnTo>
                    <a:pt x="441" y="343"/>
                  </a:lnTo>
                  <a:lnTo>
                    <a:pt x="443" y="343"/>
                  </a:lnTo>
                  <a:lnTo>
                    <a:pt x="445" y="343"/>
                  </a:lnTo>
                  <a:lnTo>
                    <a:pt x="447" y="343"/>
                  </a:lnTo>
                  <a:lnTo>
                    <a:pt x="447" y="345"/>
                  </a:lnTo>
                  <a:lnTo>
                    <a:pt x="449" y="347"/>
                  </a:lnTo>
                  <a:lnTo>
                    <a:pt x="449" y="349"/>
                  </a:lnTo>
                  <a:lnTo>
                    <a:pt x="447" y="351"/>
                  </a:lnTo>
                  <a:lnTo>
                    <a:pt x="445" y="356"/>
                  </a:lnTo>
                  <a:lnTo>
                    <a:pt x="441" y="360"/>
                  </a:lnTo>
                  <a:lnTo>
                    <a:pt x="439" y="362"/>
                  </a:lnTo>
                  <a:lnTo>
                    <a:pt x="438" y="362"/>
                  </a:lnTo>
                  <a:lnTo>
                    <a:pt x="434" y="364"/>
                  </a:lnTo>
                  <a:lnTo>
                    <a:pt x="430" y="364"/>
                  </a:lnTo>
                  <a:lnTo>
                    <a:pt x="428" y="364"/>
                  </a:lnTo>
                  <a:lnTo>
                    <a:pt x="427" y="362"/>
                  </a:lnTo>
                  <a:lnTo>
                    <a:pt x="425" y="360"/>
                  </a:lnTo>
                  <a:close/>
                  <a:moveTo>
                    <a:pt x="318" y="323"/>
                  </a:moveTo>
                  <a:lnTo>
                    <a:pt x="318" y="323"/>
                  </a:lnTo>
                  <a:lnTo>
                    <a:pt x="318" y="325"/>
                  </a:lnTo>
                  <a:lnTo>
                    <a:pt x="318" y="327"/>
                  </a:lnTo>
                  <a:lnTo>
                    <a:pt x="316" y="327"/>
                  </a:lnTo>
                  <a:lnTo>
                    <a:pt x="316" y="328"/>
                  </a:lnTo>
                  <a:lnTo>
                    <a:pt x="314" y="328"/>
                  </a:lnTo>
                  <a:lnTo>
                    <a:pt x="314" y="330"/>
                  </a:lnTo>
                  <a:lnTo>
                    <a:pt x="312" y="330"/>
                  </a:lnTo>
                  <a:lnTo>
                    <a:pt x="310" y="330"/>
                  </a:lnTo>
                  <a:lnTo>
                    <a:pt x="308" y="332"/>
                  </a:lnTo>
                  <a:lnTo>
                    <a:pt x="306" y="332"/>
                  </a:lnTo>
                  <a:lnTo>
                    <a:pt x="305" y="332"/>
                  </a:lnTo>
                  <a:lnTo>
                    <a:pt x="305" y="330"/>
                  </a:lnTo>
                  <a:lnTo>
                    <a:pt x="303" y="330"/>
                  </a:lnTo>
                  <a:lnTo>
                    <a:pt x="301" y="330"/>
                  </a:lnTo>
                  <a:lnTo>
                    <a:pt x="301" y="328"/>
                  </a:lnTo>
                  <a:lnTo>
                    <a:pt x="301" y="327"/>
                  </a:lnTo>
                  <a:lnTo>
                    <a:pt x="301" y="325"/>
                  </a:lnTo>
                  <a:lnTo>
                    <a:pt x="301" y="323"/>
                  </a:lnTo>
                  <a:lnTo>
                    <a:pt x="303" y="323"/>
                  </a:lnTo>
                  <a:lnTo>
                    <a:pt x="303" y="321"/>
                  </a:lnTo>
                  <a:lnTo>
                    <a:pt x="305" y="321"/>
                  </a:lnTo>
                  <a:lnTo>
                    <a:pt x="306" y="319"/>
                  </a:lnTo>
                  <a:lnTo>
                    <a:pt x="308" y="319"/>
                  </a:lnTo>
                  <a:lnTo>
                    <a:pt x="310" y="319"/>
                  </a:lnTo>
                  <a:lnTo>
                    <a:pt x="312" y="319"/>
                  </a:lnTo>
                  <a:lnTo>
                    <a:pt x="314" y="319"/>
                  </a:lnTo>
                  <a:lnTo>
                    <a:pt x="314" y="321"/>
                  </a:lnTo>
                  <a:lnTo>
                    <a:pt x="316" y="321"/>
                  </a:lnTo>
                  <a:lnTo>
                    <a:pt x="318" y="323"/>
                  </a:lnTo>
                  <a:close/>
                  <a:moveTo>
                    <a:pt x="395" y="64"/>
                  </a:moveTo>
                  <a:lnTo>
                    <a:pt x="397" y="62"/>
                  </a:lnTo>
                  <a:lnTo>
                    <a:pt x="399" y="61"/>
                  </a:lnTo>
                  <a:lnTo>
                    <a:pt x="401" y="57"/>
                  </a:lnTo>
                  <a:lnTo>
                    <a:pt x="404" y="55"/>
                  </a:lnTo>
                  <a:lnTo>
                    <a:pt x="406" y="53"/>
                  </a:lnTo>
                  <a:lnTo>
                    <a:pt x="408" y="51"/>
                  </a:lnTo>
                  <a:lnTo>
                    <a:pt x="406" y="48"/>
                  </a:lnTo>
                  <a:lnTo>
                    <a:pt x="404" y="42"/>
                  </a:lnTo>
                  <a:lnTo>
                    <a:pt x="404" y="40"/>
                  </a:lnTo>
                  <a:lnTo>
                    <a:pt x="404" y="38"/>
                  </a:lnTo>
                  <a:lnTo>
                    <a:pt x="404" y="36"/>
                  </a:lnTo>
                  <a:lnTo>
                    <a:pt x="404" y="35"/>
                  </a:lnTo>
                  <a:lnTo>
                    <a:pt x="406" y="35"/>
                  </a:lnTo>
                  <a:lnTo>
                    <a:pt x="408" y="35"/>
                  </a:lnTo>
                  <a:lnTo>
                    <a:pt x="412" y="33"/>
                  </a:lnTo>
                  <a:lnTo>
                    <a:pt x="417" y="31"/>
                  </a:lnTo>
                  <a:lnTo>
                    <a:pt x="419" y="29"/>
                  </a:lnTo>
                  <a:lnTo>
                    <a:pt x="421" y="29"/>
                  </a:lnTo>
                  <a:lnTo>
                    <a:pt x="421" y="27"/>
                  </a:lnTo>
                  <a:lnTo>
                    <a:pt x="423" y="25"/>
                  </a:lnTo>
                  <a:lnTo>
                    <a:pt x="425" y="24"/>
                  </a:lnTo>
                  <a:lnTo>
                    <a:pt x="427" y="24"/>
                  </a:lnTo>
                  <a:lnTo>
                    <a:pt x="427" y="22"/>
                  </a:lnTo>
                  <a:lnTo>
                    <a:pt x="428" y="22"/>
                  </a:lnTo>
                  <a:lnTo>
                    <a:pt x="430" y="22"/>
                  </a:lnTo>
                  <a:lnTo>
                    <a:pt x="434" y="22"/>
                  </a:lnTo>
                  <a:lnTo>
                    <a:pt x="436" y="22"/>
                  </a:lnTo>
                  <a:lnTo>
                    <a:pt x="438" y="22"/>
                  </a:lnTo>
                  <a:lnTo>
                    <a:pt x="443" y="20"/>
                  </a:lnTo>
                  <a:lnTo>
                    <a:pt x="447" y="20"/>
                  </a:lnTo>
                  <a:lnTo>
                    <a:pt x="449" y="18"/>
                  </a:lnTo>
                  <a:lnTo>
                    <a:pt x="449" y="16"/>
                  </a:lnTo>
                  <a:lnTo>
                    <a:pt x="451" y="16"/>
                  </a:lnTo>
                  <a:lnTo>
                    <a:pt x="451" y="14"/>
                  </a:lnTo>
                  <a:lnTo>
                    <a:pt x="451" y="12"/>
                  </a:lnTo>
                  <a:lnTo>
                    <a:pt x="451" y="11"/>
                  </a:lnTo>
                  <a:lnTo>
                    <a:pt x="451" y="9"/>
                  </a:lnTo>
                  <a:lnTo>
                    <a:pt x="451" y="7"/>
                  </a:lnTo>
                  <a:lnTo>
                    <a:pt x="451" y="5"/>
                  </a:lnTo>
                  <a:lnTo>
                    <a:pt x="451" y="3"/>
                  </a:lnTo>
                  <a:lnTo>
                    <a:pt x="452" y="3"/>
                  </a:lnTo>
                  <a:lnTo>
                    <a:pt x="452" y="1"/>
                  </a:lnTo>
                  <a:lnTo>
                    <a:pt x="454" y="1"/>
                  </a:lnTo>
                  <a:lnTo>
                    <a:pt x="458" y="0"/>
                  </a:lnTo>
                  <a:lnTo>
                    <a:pt x="460" y="1"/>
                  </a:lnTo>
                  <a:lnTo>
                    <a:pt x="462" y="1"/>
                  </a:lnTo>
                  <a:lnTo>
                    <a:pt x="464" y="1"/>
                  </a:lnTo>
                  <a:lnTo>
                    <a:pt x="465" y="3"/>
                  </a:lnTo>
                  <a:lnTo>
                    <a:pt x="465" y="5"/>
                  </a:lnTo>
                  <a:lnTo>
                    <a:pt x="467" y="7"/>
                  </a:lnTo>
                  <a:lnTo>
                    <a:pt x="467" y="9"/>
                  </a:lnTo>
                  <a:lnTo>
                    <a:pt x="467" y="11"/>
                  </a:lnTo>
                  <a:lnTo>
                    <a:pt x="469" y="16"/>
                  </a:lnTo>
                  <a:lnTo>
                    <a:pt x="469" y="22"/>
                  </a:lnTo>
                  <a:lnTo>
                    <a:pt x="469" y="24"/>
                  </a:lnTo>
                  <a:lnTo>
                    <a:pt x="469" y="25"/>
                  </a:lnTo>
                  <a:lnTo>
                    <a:pt x="469" y="27"/>
                  </a:lnTo>
                  <a:lnTo>
                    <a:pt x="469" y="29"/>
                  </a:lnTo>
                  <a:lnTo>
                    <a:pt x="471" y="29"/>
                  </a:lnTo>
                  <a:lnTo>
                    <a:pt x="471" y="31"/>
                  </a:lnTo>
                  <a:lnTo>
                    <a:pt x="473" y="33"/>
                  </a:lnTo>
                  <a:lnTo>
                    <a:pt x="475" y="35"/>
                  </a:lnTo>
                  <a:lnTo>
                    <a:pt x="478" y="36"/>
                  </a:lnTo>
                  <a:lnTo>
                    <a:pt x="482" y="40"/>
                  </a:lnTo>
                  <a:lnTo>
                    <a:pt x="484" y="42"/>
                  </a:lnTo>
                  <a:lnTo>
                    <a:pt x="484" y="44"/>
                  </a:lnTo>
                  <a:lnTo>
                    <a:pt x="486" y="46"/>
                  </a:lnTo>
                  <a:lnTo>
                    <a:pt x="488" y="48"/>
                  </a:lnTo>
                  <a:lnTo>
                    <a:pt x="488" y="49"/>
                  </a:lnTo>
                  <a:lnTo>
                    <a:pt x="488" y="51"/>
                  </a:lnTo>
                  <a:lnTo>
                    <a:pt x="488" y="53"/>
                  </a:lnTo>
                  <a:lnTo>
                    <a:pt x="488" y="55"/>
                  </a:lnTo>
                  <a:lnTo>
                    <a:pt x="488" y="57"/>
                  </a:lnTo>
                  <a:lnTo>
                    <a:pt x="486" y="59"/>
                  </a:lnTo>
                  <a:lnTo>
                    <a:pt x="484" y="61"/>
                  </a:lnTo>
                  <a:lnTo>
                    <a:pt x="482" y="62"/>
                  </a:lnTo>
                  <a:lnTo>
                    <a:pt x="480" y="64"/>
                  </a:lnTo>
                  <a:lnTo>
                    <a:pt x="478" y="66"/>
                  </a:lnTo>
                  <a:lnTo>
                    <a:pt x="476" y="68"/>
                  </a:lnTo>
                  <a:lnTo>
                    <a:pt x="476" y="70"/>
                  </a:lnTo>
                  <a:lnTo>
                    <a:pt x="476" y="72"/>
                  </a:lnTo>
                  <a:lnTo>
                    <a:pt x="476" y="75"/>
                  </a:lnTo>
                  <a:lnTo>
                    <a:pt x="478" y="81"/>
                  </a:lnTo>
                  <a:lnTo>
                    <a:pt x="478" y="83"/>
                  </a:lnTo>
                  <a:lnTo>
                    <a:pt x="478" y="85"/>
                  </a:lnTo>
                  <a:lnTo>
                    <a:pt x="478" y="86"/>
                  </a:lnTo>
                  <a:lnTo>
                    <a:pt x="476" y="86"/>
                  </a:lnTo>
                  <a:lnTo>
                    <a:pt x="476" y="88"/>
                  </a:lnTo>
                  <a:lnTo>
                    <a:pt x="475" y="90"/>
                  </a:lnTo>
                  <a:lnTo>
                    <a:pt x="473" y="90"/>
                  </a:lnTo>
                  <a:lnTo>
                    <a:pt x="471" y="90"/>
                  </a:lnTo>
                  <a:lnTo>
                    <a:pt x="469" y="92"/>
                  </a:lnTo>
                  <a:lnTo>
                    <a:pt x="465" y="92"/>
                  </a:lnTo>
                  <a:lnTo>
                    <a:pt x="460" y="92"/>
                  </a:lnTo>
                  <a:lnTo>
                    <a:pt x="458" y="92"/>
                  </a:lnTo>
                  <a:lnTo>
                    <a:pt x="454" y="92"/>
                  </a:lnTo>
                  <a:lnTo>
                    <a:pt x="452" y="92"/>
                  </a:lnTo>
                  <a:lnTo>
                    <a:pt x="451" y="94"/>
                  </a:lnTo>
                  <a:lnTo>
                    <a:pt x="449" y="94"/>
                  </a:lnTo>
                  <a:lnTo>
                    <a:pt x="447" y="94"/>
                  </a:lnTo>
                  <a:lnTo>
                    <a:pt x="447" y="96"/>
                  </a:lnTo>
                  <a:lnTo>
                    <a:pt x="445" y="96"/>
                  </a:lnTo>
                  <a:lnTo>
                    <a:pt x="441" y="97"/>
                  </a:lnTo>
                  <a:lnTo>
                    <a:pt x="438" y="99"/>
                  </a:lnTo>
                  <a:lnTo>
                    <a:pt x="434" y="101"/>
                  </a:lnTo>
                  <a:lnTo>
                    <a:pt x="430" y="103"/>
                  </a:lnTo>
                  <a:lnTo>
                    <a:pt x="427" y="103"/>
                  </a:lnTo>
                  <a:lnTo>
                    <a:pt x="425" y="105"/>
                  </a:lnTo>
                  <a:lnTo>
                    <a:pt x="423" y="105"/>
                  </a:lnTo>
                  <a:lnTo>
                    <a:pt x="421" y="105"/>
                  </a:lnTo>
                  <a:lnTo>
                    <a:pt x="417" y="105"/>
                  </a:lnTo>
                  <a:lnTo>
                    <a:pt x="415" y="107"/>
                  </a:lnTo>
                  <a:lnTo>
                    <a:pt x="414" y="107"/>
                  </a:lnTo>
                  <a:lnTo>
                    <a:pt x="412" y="107"/>
                  </a:lnTo>
                  <a:lnTo>
                    <a:pt x="410" y="107"/>
                  </a:lnTo>
                  <a:lnTo>
                    <a:pt x="408" y="105"/>
                  </a:lnTo>
                  <a:lnTo>
                    <a:pt x="406" y="105"/>
                  </a:lnTo>
                  <a:lnTo>
                    <a:pt x="404" y="105"/>
                  </a:lnTo>
                  <a:lnTo>
                    <a:pt x="403" y="103"/>
                  </a:lnTo>
                  <a:lnTo>
                    <a:pt x="401" y="101"/>
                  </a:lnTo>
                  <a:lnTo>
                    <a:pt x="401" y="99"/>
                  </a:lnTo>
                  <a:lnTo>
                    <a:pt x="401" y="97"/>
                  </a:lnTo>
                  <a:lnTo>
                    <a:pt x="399" y="97"/>
                  </a:lnTo>
                  <a:lnTo>
                    <a:pt x="399" y="96"/>
                  </a:lnTo>
                  <a:lnTo>
                    <a:pt x="401" y="96"/>
                  </a:lnTo>
                  <a:lnTo>
                    <a:pt x="401" y="94"/>
                  </a:lnTo>
                  <a:lnTo>
                    <a:pt x="401" y="92"/>
                  </a:lnTo>
                  <a:lnTo>
                    <a:pt x="403" y="90"/>
                  </a:lnTo>
                  <a:lnTo>
                    <a:pt x="403" y="88"/>
                  </a:lnTo>
                  <a:lnTo>
                    <a:pt x="404" y="85"/>
                  </a:lnTo>
                  <a:lnTo>
                    <a:pt x="406" y="83"/>
                  </a:lnTo>
                  <a:lnTo>
                    <a:pt x="408" y="81"/>
                  </a:lnTo>
                  <a:lnTo>
                    <a:pt x="406" y="81"/>
                  </a:lnTo>
                  <a:lnTo>
                    <a:pt x="404" y="81"/>
                  </a:lnTo>
                  <a:lnTo>
                    <a:pt x="401" y="81"/>
                  </a:lnTo>
                  <a:lnTo>
                    <a:pt x="397" y="81"/>
                  </a:lnTo>
                  <a:lnTo>
                    <a:pt x="395" y="81"/>
                  </a:lnTo>
                  <a:lnTo>
                    <a:pt x="393" y="81"/>
                  </a:lnTo>
                  <a:lnTo>
                    <a:pt x="393" y="79"/>
                  </a:lnTo>
                  <a:lnTo>
                    <a:pt x="391" y="79"/>
                  </a:lnTo>
                  <a:lnTo>
                    <a:pt x="391" y="77"/>
                  </a:lnTo>
                  <a:lnTo>
                    <a:pt x="391" y="75"/>
                  </a:lnTo>
                  <a:lnTo>
                    <a:pt x="391" y="73"/>
                  </a:lnTo>
                  <a:lnTo>
                    <a:pt x="391" y="72"/>
                  </a:lnTo>
                  <a:lnTo>
                    <a:pt x="391" y="70"/>
                  </a:lnTo>
                  <a:lnTo>
                    <a:pt x="393" y="68"/>
                  </a:lnTo>
                  <a:lnTo>
                    <a:pt x="393" y="66"/>
                  </a:lnTo>
                  <a:lnTo>
                    <a:pt x="395" y="64"/>
                  </a:lnTo>
                  <a:close/>
                  <a:moveTo>
                    <a:pt x="432" y="116"/>
                  </a:moveTo>
                  <a:lnTo>
                    <a:pt x="434" y="112"/>
                  </a:lnTo>
                  <a:lnTo>
                    <a:pt x="434" y="110"/>
                  </a:lnTo>
                  <a:lnTo>
                    <a:pt x="436" y="109"/>
                  </a:lnTo>
                  <a:lnTo>
                    <a:pt x="436" y="107"/>
                  </a:lnTo>
                  <a:lnTo>
                    <a:pt x="438" y="107"/>
                  </a:lnTo>
                  <a:lnTo>
                    <a:pt x="439" y="105"/>
                  </a:lnTo>
                  <a:lnTo>
                    <a:pt x="441" y="105"/>
                  </a:lnTo>
                  <a:lnTo>
                    <a:pt x="447" y="105"/>
                  </a:lnTo>
                  <a:lnTo>
                    <a:pt x="451" y="105"/>
                  </a:lnTo>
                  <a:lnTo>
                    <a:pt x="454" y="103"/>
                  </a:lnTo>
                  <a:lnTo>
                    <a:pt x="458" y="101"/>
                  </a:lnTo>
                  <a:lnTo>
                    <a:pt x="460" y="99"/>
                  </a:lnTo>
                  <a:lnTo>
                    <a:pt x="462" y="99"/>
                  </a:lnTo>
                  <a:lnTo>
                    <a:pt x="464" y="99"/>
                  </a:lnTo>
                  <a:lnTo>
                    <a:pt x="465" y="99"/>
                  </a:lnTo>
                  <a:lnTo>
                    <a:pt x="467" y="97"/>
                  </a:lnTo>
                  <a:lnTo>
                    <a:pt x="469" y="97"/>
                  </a:lnTo>
                  <a:lnTo>
                    <a:pt x="471" y="97"/>
                  </a:lnTo>
                  <a:lnTo>
                    <a:pt x="473" y="97"/>
                  </a:lnTo>
                  <a:lnTo>
                    <a:pt x="475" y="99"/>
                  </a:lnTo>
                  <a:lnTo>
                    <a:pt x="476" y="99"/>
                  </a:lnTo>
                  <a:lnTo>
                    <a:pt x="478" y="101"/>
                  </a:lnTo>
                  <a:lnTo>
                    <a:pt x="480" y="101"/>
                  </a:lnTo>
                  <a:lnTo>
                    <a:pt x="482" y="103"/>
                  </a:lnTo>
                  <a:lnTo>
                    <a:pt x="482" y="105"/>
                  </a:lnTo>
                  <a:lnTo>
                    <a:pt x="482" y="107"/>
                  </a:lnTo>
                  <a:lnTo>
                    <a:pt x="482" y="109"/>
                  </a:lnTo>
                  <a:lnTo>
                    <a:pt x="482" y="112"/>
                  </a:lnTo>
                  <a:lnTo>
                    <a:pt x="480" y="114"/>
                  </a:lnTo>
                  <a:lnTo>
                    <a:pt x="478" y="120"/>
                  </a:lnTo>
                  <a:lnTo>
                    <a:pt x="476" y="125"/>
                  </a:lnTo>
                  <a:lnTo>
                    <a:pt x="476" y="127"/>
                  </a:lnTo>
                  <a:lnTo>
                    <a:pt x="475" y="129"/>
                  </a:lnTo>
                  <a:lnTo>
                    <a:pt x="475" y="131"/>
                  </a:lnTo>
                  <a:lnTo>
                    <a:pt x="475" y="133"/>
                  </a:lnTo>
                  <a:lnTo>
                    <a:pt x="475" y="134"/>
                  </a:lnTo>
                  <a:lnTo>
                    <a:pt x="476" y="134"/>
                  </a:lnTo>
                  <a:lnTo>
                    <a:pt x="476" y="136"/>
                  </a:lnTo>
                  <a:lnTo>
                    <a:pt x="478" y="136"/>
                  </a:lnTo>
                  <a:lnTo>
                    <a:pt x="478" y="138"/>
                  </a:lnTo>
                  <a:lnTo>
                    <a:pt x="480" y="138"/>
                  </a:lnTo>
                  <a:lnTo>
                    <a:pt x="480" y="136"/>
                  </a:lnTo>
                  <a:lnTo>
                    <a:pt x="482" y="136"/>
                  </a:lnTo>
                  <a:lnTo>
                    <a:pt x="482" y="134"/>
                  </a:lnTo>
                  <a:lnTo>
                    <a:pt x="484" y="134"/>
                  </a:lnTo>
                  <a:lnTo>
                    <a:pt x="484" y="129"/>
                  </a:lnTo>
                  <a:lnTo>
                    <a:pt x="484" y="125"/>
                  </a:lnTo>
                  <a:lnTo>
                    <a:pt x="484" y="123"/>
                  </a:lnTo>
                  <a:lnTo>
                    <a:pt x="486" y="121"/>
                  </a:lnTo>
                  <a:lnTo>
                    <a:pt x="488" y="120"/>
                  </a:lnTo>
                  <a:lnTo>
                    <a:pt x="489" y="118"/>
                  </a:lnTo>
                  <a:lnTo>
                    <a:pt x="493" y="116"/>
                  </a:lnTo>
                  <a:lnTo>
                    <a:pt x="499" y="112"/>
                  </a:lnTo>
                  <a:lnTo>
                    <a:pt x="500" y="112"/>
                  </a:lnTo>
                  <a:lnTo>
                    <a:pt x="502" y="110"/>
                  </a:lnTo>
                  <a:lnTo>
                    <a:pt x="504" y="112"/>
                  </a:lnTo>
                  <a:lnTo>
                    <a:pt x="508" y="116"/>
                  </a:lnTo>
                  <a:lnTo>
                    <a:pt x="512" y="118"/>
                  </a:lnTo>
                  <a:lnTo>
                    <a:pt x="513" y="120"/>
                  </a:lnTo>
                  <a:lnTo>
                    <a:pt x="515" y="120"/>
                  </a:lnTo>
                  <a:lnTo>
                    <a:pt x="515" y="121"/>
                  </a:lnTo>
                  <a:lnTo>
                    <a:pt x="517" y="121"/>
                  </a:lnTo>
                  <a:lnTo>
                    <a:pt x="517" y="123"/>
                  </a:lnTo>
                  <a:lnTo>
                    <a:pt x="519" y="125"/>
                  </a:lnTo>
                  <a:lnTo>
                    <a:pt x="521" y="127"/>
                  </a:lnTo>
                  <a:lnTo>
                    <a:pt x="521" y="129"/>
                  </a:lnTo>
                  <a:lnTo>
                    <a:pt x="523" y="133"/>
                  </a:lnTo>
                  <a:lnTo>
                    <a:pt x="523" y="134"/>
                  </a:lnTo>
                  <a:lnTo>
                    <a:pt x="523" y="136"/>
                  </a:lnTo>
                  <a:lnTo>
                    <a:pt x="523" y="138"/>
                  </a:lnTo>
                  <a:lnTo>
                    <a:pt x="523" y="140"/>
                  </a:lnTo>
                  <a:lnTo>
                    <a:pt x="523" y="144"/>
                  </a:lnTo>
                  <a:lnTo>
                    <a:pt x="521" y="149"/>
                  </a:lnTo>
                  <a:lnTo>
                    <a:pt x="523" y="151"/>
                  </a:lnTo>
                  <a:lnTo>
                    <a:pt x="523" y="153"/>
                  </a:lnTo>
                  <a:lnTo>
                    <a:pt x="523" y="155"/>
                  </a:lnTo>
                  <a:lnTo>
                    <a:pt x="521" y="157"/>
                  </a:lnTo>
                  <a:lnTo>
                    <a:pt x="521" y="158"/>
                  </a:lnTo>
                  <a:lnTo>
                    <a:pt x="521" y="160"/>
                  </a:lnTo>
                  <a:lnTo>
                    <a:pt x="519" y="162"/>
                  </a:lnTo>
                  <a:lnTo>
                    <a:pt x="519" y="164"/>
                  </a:lnTo>
                  <a:lnTo>
                    <a:pt x="517" y="164"/>
                  </a:lnTo>
                  <a:lnTo>
                    <a:pt x="515" y="166"/>
                  </a:lnTo>
                  <a:lnTo>
                    <a:pt x="513" y="166"/>
                  </a:lnTo>
                  <a:lnTo>
                    <a:pt x="512" y="166"/>
                  </a:lnTo>
                  <a:lnTo>
                    <a:pt x="510" y="168"/>
                  </a:lnTo>
                  <a:lnTo>
                    <a:pt x="508" y="168"/>
                  </a:lnTo>
                  <a:lnTo>
                    <a:pt x="506" y="168"/>
                  </a:lnTo>
                  <a:lnTo>
                    <a:pt x="506" y="170"/>
                  </a:lnTo>
                  <a:lnTo>
                    <a:pt x="506" y="171"/>
                  </a:lnTo>
                  <a:lnTo>
                    <a:pt x="506" y="173"/>
                  </a:lnTo>
                  <a:lnTo>
                    <a:pt x="508" y="175"/>
                  </a:lnTo>
                  <a:lnTo>
                    <a:pt x="508" y="177"/>
                  </a:lnTo>
                  <a:lnTo>
                    <a:pt x="510" y="177"/>
                  </a:lnTo>
                  <a:lnTo>
                    <a:pt x="510" y="179"/>
                  </a:lnTo>
                  <a:lnTo>
                    <a:pt x="512" y="179"/>
                  </a:lnTo>
                  <a:lnTo>
                    <a:pt x="513" y="181"/>
                  </a:lnTo>
                  <a:lnTo>
                    <a:pt x="517" y="182"/>
                  </a:lnTo>
                  <a:lnTo>
                    <a:pt x="519" y="182"/>
                  </a:lnTo>
                  <a:lnTo>
                    <a:pt x="519" y="184"/>
                  </a:lnTo>
                  <a:lnTo>
                    <a:pt x="521" y="184"/>
                  </a:lnTo>
                  <a:lnTo>
                    <a:pt x="521" y="186"/>
                  </a:lnTo>
                  <a:lnTo>
                    <a:pt x="521" y="188"/>
                  </a:lnTo>
                  <a:lnTo>
                    <a:pt x="521" y="190"/>
                  </a:lnTo>
                  <a:lnTo>
                    <a:pt x="521" y="192"/>
                  </a:lnTo>
                  <a:lnTo>
                    <a:pt x="517" y="199"/>
                  </a:lnTo>
                  <a:lnTo>
                    <a:pt x="513" y="206"/>
                  </a:lnTo>
                  <a:lnTo>
                    <a:pt x="512" y="208"/>
                  </a:lnTo>
                  <a:lnTo>
                    <a:pt x="510" y="210"/>
                  </a:lnTo>
                  <a:lnTo>
                    <a:pt x="508" y="212"/>
                  </a:lnTo>
                  <a:lnTo>
                    <a:pt x="508" y="214"/>
                  </a:lnTo>
                  <a:lnTo>
                    <a:pt x="504" y="214"/>
                  </a:lnTo>
                  <a:lnTo>
                    <a:pt x="502" y="214"/>
                  </a:lnTo>
                  <a:lnTo>
                    <a:pt x="500" y="214"/>
                  </a:lnTo>
                  <a:lnTo>
                    <a:pt x="499" y="214"/>
                  </a:lnTo>
                  <a:lnTo>
                    <a:pt x="497" y="214"/>
                  </a:lnTo>
                  <a:lnTo>
                    <a:pt x="493" y="214"/>
                  </a:lnTo>
                  <a:lnTo>
                    <a:pt x="489" y="216"/>
                  </a:lnTo>
                  <a:lnTo>
                    <a:pt x="486" y="218"/>
                  </a:lnTo>
                  <a:lnTo>
                    <a:pt x="484" y="218"/>
                  </a:lnTo>
                  <a:lnTo>
                    <a:pt x="482" y="218"/>
                  </a:lnTo>
                  <a:lnTo>
                    <a:pt x="480" y="218"/>
                  </a:lnTo>
                  <a:lnTo>
                    <a:pt x="478" y="218"/>
                  </a:lnTo>
                  <a:lnTo>
                    <a:pt x="475" y="216"/>
                  </a:lnTo>
                  <a:lnTo>
                    <a:pt x="473" y="214"/>
                  </a:lnTo>
                  <a:lnTo>
                    <a:pt x="471" y="214"/>
                  </a:lnTo>
                  <a:lnTo>
                    <a:pt x="471" y="212"/>
                  </a:lnTo>
                  <a:lnTo>
                    <a:pt x="469" y="212"/>
                  </a:lnTo>
                  <a:lnTo>
                    <a:pt x="469" y="210"/>
                  </a:lnTo>
                  <a:lnTo>
                    <a:pt x="467" y="208"/>
                  </a:lnTo>
                  <a:lnTo>
                    <a:pt x="467" y="205"/>
                  </a:lnTo>
                  <a:lnTo>
                    <a:pt x="465" y="203"/>
                  </a:lnTo>
                  <a:lnTo>
                    <a:pt x="464" y="201"/>
                  </a:lnTo>
                  <a:lnTo>
                    <a:pt x="462" y="201"/>
                  </a:lnTo>
                  <a:lnTo>
                    <a:pt x="462" y="199"/>
                  </a:lnTo>
                  <a:lnTo>
                    <a:pt x="456" y="199"/>
                  </a:lnTo>
                  <a:lnTo>
                    <a:pt x="452" y="199"/>
                  </a:lnTo>
                  <a:lnTo>
                    <a:pt x="451" y="199"/>
                  </a:lnTo>
                  <a:lnTo>
                    <a:pt x="449" y="197"/>
                  </a:lnTo>
                  <a:lnTo>
                    <a:pt x="447" y="197"/>
                  </a:lnTo>
                  <a:lnTo>
                    <a:pt x="445" y="197"/>
                  </a:lnTo>
                  <a:lnTo>
                    <a:pt x="445" y="195"/>
                  </a:lnTo>
                  <a:lnTo>
                    <a:pt x="443" y="195"/>
                  </a:lnTo>
                  <a:lnTo>
                    <a:pt x="441" y="194"/>
                  </a:lnTo>
                  <a:lnTo>
                    <a:pt x="438" y="194"/>
                  </a:lnTo>
                  <a:lnTo>
                    <a:pt x="436" y="192"/>
                  </a:lnTo>
                  <a:lnTo>
                    <a:pt x="434" y="192"/>
                  </a:lnTo>
                  <a:lnTo>
                    <a:pt x="434" y="190"/>
                  </a:lnTo>
                  <a:lnTo>
                    <a:pt x="432" y="190"/>
                  </a:lnTo>
                  <a:lnTo>
                    <a:pt x="430" y="188"/>
                  </a:lnTo>
                  <a:lnTo>
                    <a:pt x="428" y="186"/>
                  </a:lnTo>
                  <a:lnTo>
                    <a:pt x="427" y="184"/>
                  </a:lnTo>
                  <a:lnTo>
                    <a:pt x="427" y="182"/>
                  </a:lnTo>
                  <a:lnTo>
                    <a:pt x="425" y="181"/>
                  </a:lnTo>
                  <a:lnTo>
                    <a:pt x="425" y="179"/>
                  </a:lnTo>
                  <a:lnTo>
                    <a:pt x="423" y="177"/>
                  </a:lnTo>
                  <a:lnTo>
                    <a:pt x="423" y="175"/>
                  </a:lnTo>
                  <a:lnTo>
                    <a:pt x="423" y="173"/>
                  </a:lnTo>
                  <a:lnTo>
                    <a:pt x="421" y="171"/>
                  </a:lnTo>
                  <a:lnTo>
                    <a:pt x="421" y="164"/>
                  </a:lnTo>
                  <a:lnTo>
                    <a:pt x="421" y="155"/>
                  </a:lnTo>
                  <a:lnTo>
                    <a:pt x="419" y="155"/>
                  </a:lnTo>
                  <a:lnTo>
                    <a:pt x="419" y="153"/>
                  </a:lnTo>
                  <a:lnTo>
                    <a:pt x="417" y="153"/>
                  </a:lnTo>
                  <a:lnTo>
                    <a:pt x="414" y="151"/>
                  </a:lnTo>
                  <a:lnTo>
                    <a:pt x="412" y="149"/>
                  </a:lnTo>
                  <a:lnTo>
                    <a:pt x="408" y="147"/>
                  </a:lnTo>
                  <a:lnTo>
                    <a:pt x="406" y="146"/>
                  </a:lnTo>
                  <a:lnTo>
                    <a:pt x="404" y="146"/>
                  </a:lnTo>
                  <a:lnTo>
                    <a:pt x="404" y="144"/>
                  </a:lnTo>
                  <a:lnTo>
                    <a:pt x="404" y="142"/>
                  </a:lnTo>
                  <a:lnTo>
                    <a:pt x="404" y="140"/>
                  </a:lnTo>
                  <a:lnTo>
                    <a:pt x="406" y="138"/>
                  </a:lnTo>
                  <a:lnTo>
                    <a:pt x="408" y="136"/>
                  </a:lnTo>
                  <a:lnTo>
                    <a:pt x="412" y="134"/>
                  </a:lnTo>
                  <a:lnTo>
                    <a:pt x="414" y="133"/>
                  </a:lnTo>
                  <a:lnTo>
                    <a:pt x="414" y="131"/>
                  </a:lnTo>
                  <a:lnTo>
                    <a:pt x="415" y="131"/>
                  </a:lnTo>
                  <a:lnTo>
                    <a:pt x="417" y="129"/>
                  </a:lnTo>
                  <a:lnTo>
                    <a:pt x="419" y="129"/>
                  </a:lnTo>
                  <a:lnTo>
                    <a:pt x="419" y="127"/>
                  </a:lnTo>
                  <a:lnTo>
                    <a:pt x="423" y="127"/>
                  </a:lnTo>
                  <a:lnTo>
                    <a:pt x="425" y="127"/>
                  </a:lnTo>
                  <a:lnTo>
                    <a:pt x="428" y="125"/>
                  </a:lnTo>
                  <a:lnTo>
                    <a:pt x="430" y="125"/>
                  </a:lnTo>
                  <a:lnTo>
                    <a:pt x="432" y="125"/>
                  </a:lnTo>
                  <a:lnTo>
                    <a:pt x="432" y="120"/>
                  </a:lnTo>
                  <a:lnTo>
                    <a:pt x="432" y="116"/>
                  </a:lnTo>
                  <a:close/>
                  <a:moveTo>
                    <a:pt x="373" y="94"/>
                  </a:moveTo>
                  <a:lnTo>
                    <a:pt x="375" y="94"/>
                  </a:lnTo>
                  <a:lnTo>
                    <a:pt x="377" y="92"/>
                  </a:lnTo>
                  <a:lnTo>
                    <a:pt x="379" y="94"/>
                  </a:lnTo>
                  <a:lnTo>
                    <a:pt x="380" y="94"/>
                  </a:lnTo>
                  <a:lnTo>
                    <a:pt x="382" y="94"/>
                  </a:lnTo>
                  <a:lnTo>
                    <a:pt x="384" y="94"/>
                  </a:lnTo>
                  <a:lnTo>
                    <a:pt x="386" y="96"/>
                  </a:lnTo>
                  <a:lnTo>
                    <a:pt x="388" y="96"/>
                  </a:lnTo>
                  <a:lnTo>
                    <a:pt x="390" y="97"/>
                  </a:lnTo>
                  <a:lnTo>
                    <a:pt x="393" y="99"/>
                  </a:lnTo>
                  <a:lnTo>
                    <a:pt x="397" y="101"/>
                  </a:lnTo>
                  <a:lnTo>
                    <a:pt x="399" y="103"/>
                  </a:lnTo>
                  <a:lnTo>
                    <a:pt x="401" y="105"/>
                  </a:lnTo>
                  <a:lnTo>
                    <a:pt x="403" y="107"/>
                  </a:lnTo>
                  <a:lnTo>
                    <a:pt x="406" y="109"/>
                  </a:lnTo>
                  <a:lnTo>
                    <a:pt x="408" y="110"/>
                  </a:lnTo>
                  <a:lnTo>
                    <a:pt x="408" y="112"/>
                  </a:lnTo>
                  <a:lnTo>
                    <a:pt x="410" y="114"/>
                  </a:lnTo>
                  <a:lnTo>
                    <a:pt x="412" y="116"/>
                  </a:lnTo>
                  <a:lnTo>
                    <a:pt x="414" y="118"/>
                  </a:lnTo>
                  <a:lnTo>
                    <a:pt x="414" y="120"/>
                  </a:lnTo>
                  <a:lnTo>
                    <a:pt x="415" y="120"/>
                  </a:lnTo>
                  <a:lnTo>
                    <a:pt x="415" y="121"/>
                  </a:lnTo>
                  <a:lnTo>
                    <a:pt x="414" y="123"/>
                  </a:lnTo>
                  <a:lnTo>
                    <a:pt x="414" y="125"/>
                  </a:lnTo>
                  <a:lnTo>
                    <a:pt x="412" y="125"/>
                  </a:lnTo>
                  <a:lnTo>
                    <a:pt x="412" y="127"/>
                  </a:lnTo>
                  <a:lnTo>
                    <a:pt x="412" y="129"/>
                  </a:lnTo>
                  <a:lnTo>
                    <a:pt x="410" y="129"/>
                  </a:lnTo>
                  <a:lnTo>
                    <a:pt x="410" y="131"/>
                  </a:lnTo>
                  <a:lnTo>
                    <a:pt x="408" y="131"/>
                  </a:lnTo>
                  <a:lnTo>
                    <a:pt x="408" y="133"/>
                  </a:lnTo>
                  <a:lnTo>
                    <a:pt x="406" y="133"/>
                  </a:lnTo>
                  <a:lnTo>
                    <a:pt x="404" y="133"/>
                  </a:lnTo>
                  <a:lnTo>
                    <a:pt x="403" y="133"/>
                  </a:lnTo>
                  <a:lnTo>
                    <a:pt x="401" y="133"/>
                  </a:lnTo>
                  <a:lnTo>
                    <a:pt x="399" y="133"/>
                  </a:lnTo>
                  <a:lnTo>
                    <a:pt x="397" y="133"/>
                  </a:lnTo>
                  <a:lnTo>
                    <a:pt x="393" y="131"/>
                  </a:lnTo>
                  <a:lnTo>
                    <a:pt x="391" y="131"/>
                  </a:lnTo>
                  <a:lnTo>
                    <a:pt x="390" y="129"/>
                  </a:lnTo>
                  <a:lnTo>
                    <a:pt x="388" y="127"/>
                  </a:lnTo>
                  <a:lnTo>
                    <a:pt x="386" y="127"/>
                  </a:lnTo>
                  <a:lnTo>
                    <a:pt x="384" y="125"/>
                  </a:lnTo>
                  <a:lnTo>
                    <a:pt x="382" y="123"/>
                  </a:lnTo>
                  <a:lnTo>
                    <a:pt x="380" y="121"/>
                  </a:lnTo>
                  <a:lnTo>
                    <a:pt x="379" y="118"/>
                  </a:lnTo>
                  <a:lnTo>
                    <a:pt x="375" y="116"/>
                  </a:lnTo>
                  <a:lnTo>
                    <a:pt x="375" y="112"/>
                  </a:lnTo>
                  <a:lnTo>
                    <a:pt x="373" y="110"/>
                  </a:lnTo>
                  <a:lnTo>
                    <a:pt x="371" y="109"/>
                  </a:lnTo>
                  <a:lnTo>
                    <a:pt x="369" y="107"/>
                  </a:lnTo>
                  <a:lnTo>
                    <a:pt x="369" y="105"/>
                  </a:lnTo>
                  <a:lnTo>
                    <a:pt x="369" y="103"/>
                  </a:lnTo>
                  <a:lnTo>
                    <a:pt x="367" y="101"/>
                  </a:lnTo>
                  <a:lnTo>
                    <a:pt x="367" y="99"/>
                  </a:lnTo>
                  <a:lnTo>
                    <a:pt x="367" y="97"/>
                  </a:lnTo>
                  <a:lnTo>
                    <a:pt x="367" y="96"/>
                  </a:lnTo>
                  <a:lnTo>
                    <a:pt x="369" y="94"/>
                  </a:lnTo>
                  <a:lnTo>
                    <a:pt x="371" y="94"/>
                  </a:lnTo>
                  <a:lnTo>
                    <a:pt x="373" y="94"/>
                  </a:lnTo>
                  <a:close/>
                  <a:moveTo>
                    <a:pt x="539" y="203"/>
                  </a:moveTo>
                  <a:lnTo>
                    <a:pt x="539" y="201"/>
                  </a:lnTo>
                  <a:lnTo>
                    <a:pt x="539" y="199"/>
                  </a:lnTo>
                  <a:lnTo>
                    <a:pt x="539" y="197"/>
                  </a:lnTo>
                  <a:lnTo>
                    <a:pt x="541" y="195"/>
                  </a:lnTo>
                  <a:lnTo>
                    <a:pt x="541" y="194"/>
                  </a:lnTo>
                  <a:lnTo>
                    <a:pt x="541" y="192"/>
                  </a:lnTo>
                  <a:lnTo>
                    <a:pt x="543" y="192"/>
                  </a:lnTo>
                  <a:lnTo>
                    <a:pt x="543" y="190"/>
                  </a:lnTo>
                  <a:lnTo>
                    <a:pt x="541" y="184"/>
                  </a:lnTo>
                  <a:lnTo>
                    <a:pt x="541" y="179"/>
                  </a:lnTo>
                  <a:lnTo>
                    <a:pt x="541" y="177"/>
                  </a:lnTo>
                  <a:lnTo>
                    <a:pt x="543" y="175"/>
                  </a:lnTo>
                  <a:lnTo>
                    <a:pt x="543" y="173"/>
                  </a:lnTo>
                  <a:lnTo>
                    <a:pt x="543" y="171"/>
                  </a:lnTo>
                  <a:lnTo>
                    <a:pt x="545" y="170"/>
                  </a:lnTo>
                  <a:lnTo>
                    <a:pt x="545" y="168"/>
                  </a:lnTo>
                  <a:lnTo>
                    <a:pt x="547" y="168"/>
                  </a:lnTo>
                  <a:lnTo>
                    <a:pt x="547" y="166"/>
                  </a:lnTo>
                  <a:lnTo>
                    <a:pt x="548" y="166"/>
                  </a:lnTo>
                  <a:lnTo>
                    <a:pt x="550" y="166"/>
                  </a:lnTo>
                  <a:lnTo>
                    <a:pt x="552" y="166"/>
                  </a:lnTo>
                  <a:lnTo>
                    <a:pt x="552" y="168"/>
                  </a:lnTo>
                  <a:lnTo>
                    <a:pt x="554" y="168"/>
                  </a:lnTo>
                  <a:lnTo>
                    <a:pt x="556" y="170"/>
                  </a:lnTo>
                  <a:lnTo>
                    <a:pt x="556" y="171"/>
                  </a:lnTo>
                  <a:lnTo>
                    <a:pt x="558" y="171"/>
                  </a:lnTo>
                  <a:lnTo>
                    <a:pt x="558" y="173"/>
                  </a:lnTo>
                  <a:lnTo>
                    <a:pt x="558" y="171"/>
                  </a:lnTo>
                  <a:lnTo>
                    <a:pt x="560" y="170"/>
                  </a:lnTo>
                  <a:lnTo>
                    <a:pt x="560" y="168"/>
                  </a:lnTo>
                  <a:lnTo>
                    <a:pt x="561" y="164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3" y="160"/>
                  </a:lnTo>
                  <a:lnTo>
                    <a:pt x="565" y="160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9" y="158"/>
                  </a:lnTo>
                  <a:lnTo>
                    <a:pt x="571" y="158"/>
                  </a:lnTo>
                  <a:lnTo>
                    <a:pt x="572" y="158"/>
                  </a:lnTo>
                  <a:lnTo>
                    <a:pt x="574" y="158"/>
                  </a:lnTo>
                  <a:lnTo>
                    <a:pt x="574" y="160"/>
                  </a:lnTo>
                  <a:lnTo>
                    <a:pt x="576" y="160"/>
                  </a:lnTo>
                  <a:lnTo>
                    <a:pt x="576" y="162"/>
                  </a:lnTo>
                  <a:lnTo>
                    <a:pt x="578" y="164"/>
                  </a:lnTo>
                  <a:lnTo>
                    <a:pt x="578" y="166"/>
                  </a:lnTo>
                  <a:lnTo>
                    <a:pt x="578" y="168"/>
                  </a:lnTo>
                  <a:lnTo>
                    <a:pt x="576" y="171"/>
                  </a:lnTo>
                  <a:lnTo>
                    <a:pt x="576" y="173"/>
                  </a:lnTo>
                  <a:lnTo>
                    <a:pt x="574" y="179"/>
                  </a:lnTo>
                  <a:lnTo>
                    <a:pt x="574" y="184"/>
                  </a:lnTo>
                  <a:lnTo>
                    <a:pt x="574" y="188"/>
                  </a:lnTo>
                  <a:lnTo>
                    <a:pt x="574" y="190"/>
                  </a:lnTo>
                  <a:lnTo>
                    <a:pt x="576" y="190"/>
                  </a:lnTo>
                  <a:lnTo>
                    <a:pt x="578" y="190"/>
                  </a:lnTo>
                  <a:lnTo>
                    <a:pt x="580" y="190"/>
                  </a:lnTo>
                  <a:lnTo>
                    <a:pt x="582" y="188"/>
                  </a:lnTo>
                  <a:lnTo>
                    <a:pt x="584" y="186"/>
                  </a:lnTo>
                  <a:lnTo>
                    <a:pt x="585" y="184"/>
                  </a:lnTo>
                  <a:lnTo>
                    <a:pt x="587" y="184"/>
                  </a:lnTo>
                  <a:lnTo>
                    <a:pt x="589" y="182"/>
                  </a:lnTo>
                  <a:lnTo>
                    <a:pt x="591" y="182"/>
                  </a:lnTo>
                  <a:lnTo>
                    <a:pt x="593" y="182"/>
                  </a:lnTo>
                  <a:lnTo>
                    <a:pt x="595" y="182"/>
                  </a:lnTo>
                  <a:lnTo>
                    <a:pt x="597" y="182"/>
                  </a:lnTo>
                  <a:lnTo>
                    <a:pt x="597" y="184"/>
                  </a:lnTo>
                  <a:lnTo>
                    <a:pt x="598" y="184"/>
                  </a:lnTo>
                  <a:lnTo>
                    <a:pt x="600" y="186"/>
                  </a:lnTo>
                  <a:lnTo>
                    <a:pt x="602" y="190"/>
                  </a:lnTo>
                  <a:lnTo>
                    <a:pt x="604" y="192"/>
                  </a:lnTo>
                  <a:lnTo>
                    <a:pt x="606" y="194"/>
                  </a:lnTo>
                  <a:lnTo>
                    <a:pt x="606" y="195"/>
                  </a:lnTo>
                  <a:lnTo>
                    <a:pt x="606" y="197"/>
                  </a:lnTo>
                  <a:lnTo>
                    <a:pt x="604" y="199"/>
                  </a:lnTo>
                  <a:lnTo>
                    <a:pt x="604" y="201"/>
                  </a:lnTo>
                  <a:lnTo>
                    <a:pt x="604" y="203"/>
                  </a:lnTo>
                  <a:lnTo>
                    <a:pt x="602" y="205"/>
                  </a:lnTo>
                  <a:lnTo>
                    <a:pt x="602" y="206"/>
                  </a:lnTo>
                  <a:lnTo>
                    <a:pt x="604" y="206"/>
                  </a:lnTo>
                  <a:lnTo>
                    <a:pt x="606" y="208"/>
                  </a:lnTo>
                  <a:lnTo>
                    <a:pt x="608" y="208"/>
                  </a:lnTo>
                  <a:lnTo>
                    <a:pt x="611" y="208"/>
                  </a:lnTo>
                  <a:lnTo>
                    <a:pt x="615" y="208"/>
                  </a:lnTo>
                  <a:lnTo>
                    <a:pt x="617" y="208"/>
                  </a:lnTo>
                  <a:lnTo>
                    <a:pt x="619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4" y="208"/>
                  </a:lnTo>
                  <a:lnTo>
                    <a:pt x="624" y="210"/>
                  </a:lnTo>
                  <a:lnTo>
                    <a:pt x="626" y="210"/>
                  </a:lnTo>
                  <a:lnTo>
                    <a:pt x="626" y="214"/>
                  </a:lnTo>
                  <a:lnTo>
                    <a:pt x="626" y="218"/>
                  </a:lnTo>
                  <a:lnTo>
                    <a:pt x="626" y="219"/>
                  </a:lnTo>
                  <a:lnTo>
                    <a:pt x="626" y="223"/>
                  </a:lnTo>
                  <a:lnTo>
                    <a:pt x="626" y="225"/>
                  </a:lnTo>
                  <a:lnTo>
                    <a:pt x="626" y="227"/>
                  </a:lnTo>
                  <a:lnTo>
                    <a:pt x="626" y="231"/>
                  </a:lnTo>
                  <a:lnTo>
                    <a:pt x="624" y="232"/>
                  </a:lnTo>
                  <a:lnTo>
                    <a:pt x="624" y="234"/>
                  </a:lnTo>
                  <a:lnTo>
                    <a:pt x="624" y="236"/>
                  </a:lnTo>
                  <a:lnTo>
                    <a:pt x="622" y="238"/>
                  </a:lnTo>
                  <a:lnTo>
                    <a:pt x="622" y="240"/>
                  </a:lnTo>
                  <a:lnTo>
                    <a:pt x="621" y="242"/>
                  </a:lnTo>
                  <a:lnTo>
                    <a:pt x="619" y="243"/>
                  </a:lnTo>
                  <a:lnTo>
                    <a:pt x="619" y="245"/>
                  </a:lnTo>
                  <a:lnTo>
                    <a:pt x="617" y="245"/>
                  </a:lnTo>
                  <a:lnTo>
                    <a:pt x="615" y="247"/>
                  </a:lnTo>
                  <a:lnTo>
                    <a:pt x="613" y="249"/>
                  </a:lnTo>
                  <a:lnTo>
                    <a:pt x="611" y="251"/>
                  </a:lnTo>
                  <a:lnTo>
                    <a:pt x="609" y="251"/>
                  </a:lnTo>
                  <a:lnTo>
                    <a:pt x="608" y="251"/>
                  </a:lnTo>
                  <a:lnTo>
                    <a:pt x="606" y="253"/>
                  </a:lnTo>
                  <a:lnTo>
                    <a:pt x="604" y="253"/>
                  </a:lnTo>
                  <a:lnTo>
                    <a:pt x="602" y="253"/>
                  </a:lnTo>
                  <a:lnTo>
                    <a:pt x="600" y="253"/>
                  </a:lnTo>
                  <a:lnTo>
                    <a:pt x="598" y="253"/>
                  </a:lnTo>
                  <a:lnTo>
                    <a:pt x="597" y="253"/>
                  </a:lnTo>
                  <a:lnTo>
                    <a:pt x="595" y="253"/>
                  </a:lnTo>
                  <a:lnTo>
                    <a:pt x="593" y="253"/>
                  </a:lnTo>
                  <a:lnTo>
                    <a:pt x="591" y="253"/>
                  </a:lnTo>
                  <a:lnTo>
                    <a:pt x="589" y="255"/>
                  </a:lnTo>
                  <a:lnTo>
                    <a:pt x="587" y="255"/>
                  </a:lnTo>
                  <a:lnTo>
                    <a:pt x="582" y="256"/>
                  </a:lnTo>
                  <a:lnTo>
                    <a:pt x="576" y="258"/>
                  </a:lnTo>
                  <a:lnTo>
                    <a:pt x="574" y="260"/>
                  </a:lnTo>
                  <a:lnTo>
                    <a:pt x="571" y="260"/>
                  </a:lnTo>
                  <a:lnTo>
                    <a:pt x="569" y="260"/>
                  </a:lnTo>
                  <a:lnTo>
                    <a:pt x="565" y="260"/>
                  </a:lnTo>
                  <a:lnTo>
                    <a:pt x="563" y="262"/>
                  </a:lnTo>
                  <a:lnTo>
                    <a:pt x="561" y="262"/>
                  </a:lnTo>
                  <a:lnTo>
                    <a:pt x="558" y="262"/>
                  </a:lnTo>
                  <a:lnTo>
                    <a:pt x="556" y="262"/>
                  </a:lnTo>
                  <a:lnTo>
                    <a:pt x="552" y="264"/>
                  </a:lnTo>
                  <a:lnTo>
                    <a:pt x="550" y="266"/>
                  </a:lnTo>
                  <a:lnTo>
                    <a:pt x="545" y="269"/>
                  </a:lnTo>
                  <a:lnTo>
                    <a:pt x="541" y="273"/>
                  </a:lnTo>
                  <a:lnTo>
                    <a:pt x="539" y="275"/>
                  </a:lnTo>
                  <a:lnTo>
                    <a:pt x="537" y="275"/>
                  </a:lnTo>
                  <a:lnTo>
                    <a:pt x="536" y="277"/>
                  </a:lnTo>
                  <a:lnTo>
                    <a:pt x="534" y="277"/>
                  </a:lnTo>
                  <a:lnTo>
                    <a:pt x="530" y="277"/>
                  </a:lnTo>
                  <a:lnTo>
                    <a:pt x="530" y="279"/>
                  </a:lnTo>
                  <a:lnTo>
                    <a:pt x="528" y="279"/>
                  </a:lnTo>
                  <a:lnTo>
                    <a:pt x="526" y="277"/>
                  </a:lnTo>
                  <a:lnTo>
                    <a:pt x="524" y="277"/>
                  </a:lnTo>
                  <a:lnTo>
                    <a:pt x="523" y="277"/>
                  </a:lnTo>
                  <a:lnTo>
                    <a:pt x="519" y="277"/>
                  </a:lnTo>
                  <a:lnTo>
                    <a:pt x="517" y="277"/>
                  </a:lnTo>
                  <a:lnTo>
                    <a:pt x="515" y="275"/>
                  </a:lnTo>
                  <a:lnTo>
                    <a:pt x="513" y="275"/>
                  </a:lnTo>
                  <a:lnTo>
                    <a:pt x="512" y="273"/>
                  </a:lnTo>
                  <a:lnTo>
                    <a:pt x="510" y="271"/>
                  </a:lnTo>
                  <a:lnTo>
                    <a:pt x="510" y="269"/>
                  </a:lnTo>
                  <a:lnTo>
                    <a:pt x="510" y="267"/>
                  </a:lnTo>
                  <a:lnTo>
                    <a:pt x="510" y="266"/>
                  </a:lnTo>
                  <a:lnTo>
                    <a:pt x="512" y="266"/>
                  </a:lnTo>
                  <a:lnTo>
                    <a:pt x="512" y="264"/>
                  </a:lnTo>
                  <a:lnTo>
                    <a:pt x="513" y="262"/>
                  </a:lnTo>
                  <a:lnTo>
                    <a:pt x="513" y="260"/>
                  </a:lnTo>
                  <a:lnTo>
                    <a:pt x="515" y="258"/>
                  </a:lnTo>
                  <a:lnTo>
                    <a:pt x="517" y="255"/>
                  </a:lnTo>
                  <a:lnTo>
                    <a:pt x="519" y="255"/>
                  </a:lnTo>
                  <a:lnTo>
                    <a:pt x="519" y="253"/>
                  </a:lnTo>
                  <a:lnTo>
                    <a:pt x="519" y="249"/>
                  </a:lnTo>
                  <a:lnTo>
                    <a:pt x="519" y="245"/>
                  </a:lnTo>
                  <a:lnTo>
                    <a:pt x="521" y="242"/>
                  </a:lnTo>
                  <a:lnTo>
                    <a:pt x="521" y="240"/>
                  </a:lnTo>
                  <a:lnTo>
                    <a:pt x="523" y="236"/>
                  </a:lnTo>
                  <a:lnTo>
                    <a:pt x="523" y="234"/>
                  </a:lnTo>
                  <a:lnTo>
                    <a:pt x="524" y="231"/>
                  </a:lnTo>
                  <a:lnTo>
                    <a:pt x="526" y="229"/>
                  </a:lnTo>
                  <a:lnTo>
                    <a:pt x="528" y="227"/>
                  </a:lnTo>
                  <a:lnTo>
                    <a:pt x="530" y="225"/>
                  </a:lnTo>
                  <a:lnTo>
                    <a:pt x="532" y="223"/>
                  </a:lnTo>
                  <a:lnTo>
                    <a:pt x="534" y="221"/>
                  </a:lnTo>
                  <a:lnTo>
                    <a:pt x="537" y="219"/>
                  </a:lnTo>
                  <a:lnTo>
                    <a:pt x="541" y="218"/>
                  </a:lnTo>
                  <a:lnTo>
                    <a:pt x="541" y="212"/>
                  </a:lnTo>
                  <a:lnTo>
                    <a:pt x="539" y="206"/>
                  </a:lnTo>
                  <a:lnTo>
                    <a:pt x="539" y="205"/>
                  </a:lnTo>
                  <a:lnTo>
                    <a:pt x="539" y="203"/>
                  </a:lnTo>
                  <a:close/>
                  <a:moveTo>
                    <a:pt x="366" y="136"/>
                  </a:moveTo>
                  <a:lnTo>
                    <a:pt x="367" y="136"/>
                  </a:lnTo>
                  <a:lnTo>
                    <a:pt x="369" y="136"/>
                  </a:lnTo>
                  <a:lnTo>
                    <a:pt x="369" y="140"/>
                  </a:lnTo>
                  <a:lnTo>
                    <a:pt x="369" y="142"/>
                  </a:lnTo>
                  <a:lnTo>
                    <a:pt x="369" y="144"/>
                  </a:lnTo>
                  <a:lnTo>
                    <a:pt x="367" y="144"/>
                  </a:lnTo>
                  <a:lnTo>
                    <a:pt x="367" y="146"/>
                  </a:lnTo>
                  <a:lnTo>
                    <a:pt x="366" y="146"/>
                  </a:lnTo>
                  <a:lnTo>
                    <a:pt x="364" y="144"/>
                  </a:lnTo>
                  <a:lnTo>
                    <a:pt x="364" y="140"/>
                  </a:lnTo>
                  <a:lnTo>
                    <a:pt x="364" y="138"/>
                  </a:lnTo>
                  <a:lnTo>
                    <a:pt x="364" y="136"/>
                  </a:lnTo>
                  <a:lnTo>
                    <a:pt x="366" y="136"/>
                  </a:lnTo>
                  <a:close/>
                  <a:moveTo>
                    <a:pt x="373" y="146"/>
                  </a:moveTo>
                  <a:lnTo>
                    <a:pt x="373" y="146"/>
                  </a:lnTo>
                  <a:lnTo>
                    <a:pt x="375" y="146"/>
                  </a:lnTo>
                  <a:lnTo>
                    <a:pt x="377" y="147"/>
                  </a:lnTo>
                  <a:lnTo>
                    <a:pt x="377" y="149"/>
                  </a:lnTo>
                  <a:lnTo>
                    <a:pt x="377" y="151"/>
                  </a:lnTo>
                  <a:lnTo>
                    <a:pt x="375" y="151"/>
                  </a:lnTo>
                  <a:lnTo>
                    <a:pt x="373" y="151"/>
                  </a:lnTo>
                  <a:lnTo>
                    <a:pt x="371" y="151"/>
                  </a:lnTo>
                  <a:lnTo>
                    <a:pt x="369" y="151"/>
                  </a:lnTo>
                  <a:lnTo>
                    <a:pt x="369" y="149"/>
                  </a:lnTo>
                  <a:lnTo>
                    <a:pt x="369" y="147"/>
                  </a:lnTo>
                  <a:lnTo>
                    <a:pt x="371" y="146"/>
                  </a:lnTo>
                  <a:lnTo>
                    <a:pt x="373" y="146"/>
                  </a:lnTo>
                  <a:close/>
                  <a:moveTo>
                    <a:pt x="379" y="127"/>
                  </a:moveTo>
                  <a:lnTo>
                    <a:pt x="380" y="127"/>
                  </a:lnTo>
                  <a:lnTo>
                    <a:pt x="382" y="127"/>
                  </a:lnTo>
                  <a:lnTo>
                    <a:pt x="384" y="129"/>
                  </a:lnTo>
                  <a:lnTo>
                    <a:pt x="384" y="131"/>
                  </a:lnTo>
                  <a:lnTo>
                    <a:pt x="384" y="133"/>
                  </a:lnTo>
                  <a:lnTo>
                    <a:pt x="382" y="133"/>
                  </a:lnTo>
                  <a:lnTo>
                    <a:pt x="380" y="133"/>
                  </a:lnTo>
                  <a:lnTo>
                    <a:pt x="379" y="133"/>
                  </a:lnTo>
                  <a:lnTo>
                    <a:pt x="375" y="133"/>
                  </a:lnTo>
                  <a:lnTo>
                    <a:pt x="373" y="133"/>
                  </a:lnTo>
                  <a:lnTo>
                    <a:pt x="371" y="133"/>
                  </a:lnTo>
                  <a:lnTo>
                    <a:pt x="371" y="131"/>
                  </a:lnTo>
                  <a:lnTo>
                    <a:pt x="371" y="129"/>
                  </a:lnTo>
                  <a:lnTo>
                    <a:pt x="373" y="127"/>
                  </a:lnTo>
                  <a:lnTo>
                    <a:pt x="375" y="127"/>
                  </a:lnTo>
                  <a:lnTo>
                    <a:pt x="379" y="127"/>
                  </a:lnTo>
                  <a:close/>
                  <a:moveTo>
                    <a:pt x="384" y="147"/>
                  </a:moveTo>
                  <a:lnTo>
                    <a:pt x="386" y="147"/>
                  </a:lnTo>
                  <a:lnTo>
                    <a:pt x="386" y="149"/>
                  </a:lnTo>
                  <a:lnTo>
                    <a:pt x="388" y="149"/>
                  </a:lnTo>
                  <a:lnTo>
                    <a:pt x="388" y="151"/>
                  </a:lnTo>
                  <a:lnTo>
                    <a:pt x="388" y="153"/>
                  </a:lnTo>
                  <a:lnTo>
                    <a:pt x="386" y="153"/>
                  </a:lnTo>
                  <a:lnTo>
                    <a:pt x="384" y="155"/>
                  </a:lnTo>
                  <a:lnTo>
                    <a:pt x="382" y="155"/>
                  </a:lnTo>
                  <a:lnTo>
                    <a:pt x="380" y="153"/>
                  </a:lnTo>
                  <a:lnTo>
                    <a:pt x="380" y="151"/>
                  </a:lnTo>
                  <a:lnTo>
                    <a:pt x="380" y="149"/>
                  </a:lnTo>
                  <a:lnTo>
                    <a:pt x="382" y="149"/>
                  </a:lnTo>
                  <a:lnTo>
                    <a:pt x="382" y="147"/>
                  </a:lnTo>
                  <a:lnTo>
                    <a:pt x="384" y="147"/>
                  </a:lnTo>
                  <a:close/>
                  <a:moveTo>
                    <a:pt x="397" y="149"/>
                  </a:moveTo>
                  <a:lnTo>
                    <a:pt x="397" y="149"/>
                  </a:lnTo>
                  <a:lnTo>
                    <a:pt x="399" y="149"/>
                  </a:lnTo>
                  <a:lnTo>
                    <a:pt x="399" y="151"/>
                  </a:lnTo>
                  <a:lnTo>
                    <a:pt x="401" y="151"/>
                  </a:lnTo>
                  <a:lnTo>
                    <a:pt x="401" y="153"/>
                  </a:lnTo>
                  <a:lnTo>
                    <a:pt x="401" y="155"/>
                  </a:lnTo>
                  <a:lnTo>
                    <a:pt x="401" y="157"/>
                  </a:lnTo>
                  <a:lnTo>
                    <a:pt x="401" y="158"/>
                  </a:lnTo>
                  <a:lnTo>
                    <a:pt x="399" y="158"/>
                  </a:lnTo>
                  <a:lnTo>
                    <a:pt x="397" y="160"/>
                  </a:lnTo>
                  <a:lnTo>
                    <a:pt x="395" y="160"/>
                  </a:lnTo>
                  <a:lnTo>
                    <a:pt x="395" y="158"/>
                  </a:lnTo>
                  <a:lnTo>
                    <a:pt x="393" y="158"/>
                  </a:lnTo>
                  <a:lnTo>
                    <a:pt x="393" y="157"/>
                  </a:lnTo>
                  <a:lnTo>
                    <a:pt x="393" y="155"/>
                  </a:lnTo>
                  <a:lnTo>
                    <a:pt x="393" y="153"/>
                  </a:lnTo>
                  <a:lnTo>
                    <a:pt x="393" y="151"/>
                  </a:lnTo>
                  <a:lnTo>
                    <a:pt x="395" y="151"/>
                  </a:lnTo>
                  <a:lnTo>
                    <a:pt x="395" y="149"/>
                  </a:lnTo>
                  <a:lnTo>
                    <a:pt x="397" y="149"/>
                  </a:lnTo>
                  <a:close/>
                  <a:moveTo>
                    <a:pt x="489" y="59"/>
                  </a:moveTo>
                  <a:lnTo>
                    <a:pt x="491" y="59"/>
                  </a:lnTo>
                  <a:lnTo>
                    <a:pt x="493" y="59"/>
                  </a:lnTo>
                  <a:lnTo>
                    <a:pt x="493" y="61"/>
                  </a:lnTo>
                  <a:lnTo>
                    <a:pt x="493" y="62"/>
                  </a:lnTo>
                  <a:lnTo>
                    <a:pt x="493" y="64"/>
                  </a:lnTo>
                  <a:lnTo>
                    <a:pt x="493" y="66"/>
                  </a:lnTo>
                  <a:lnTo>
                    <a:pt x="491" y="66"/>
                  </a:lnTo>
                  <a:lnTo>
                    <a:pt x="489" y="66"/>
                  </a:lnTo>
                  <a:lnTo>
                    <a:pt x="488" y="66"/>
                  </a:lnTo>
                  <a:lnTo>
                    <a:pt x="488" y="64"/>
                  </a:lnTo>
                  <a:lnTo>
                    <a:pt x="488" y="62"/>
                  </a:lnTo>
                  <a:lnTo>
                    <a:pt x="488" y="61"/>
                  </a:lnTo>
                  <a:lnTo>
                    <a:pt x="488" y="59"/>
                  </a:lnTo>
                  <a:lnTo>
                    <a:pt x="489" y="59"/>
                  </a:lnTo>
                  <a:close/>
                  <a:moveTo>
                    <a:pt x="421" y="7"/>
                  </a:moveTo>
                  <a:lnTo>
                    <a:pt x="421" y="7"/>
                  </a:lnTo>
                  <a:lnTo>
                    <a:pt x="423" y="7"/>
                  </a:lnTo>
                  <a:lnTo>
                    <a:pt x="423" y="9"/>
                  </a:lnTo>
                  <a:lnTo>
                    <a:pt x="425" y="11"/>
                  </a:lnTo>
                  <a:lnTo>
                    <a:pt x="425" y="12"/>
                  </a:lnTo>
                  <a:lnTo>
                    <a:pt x="423" y="12"/>
                  </a:lnTo>
                  <a:lnTo>
                    <a:pt x="423" y="14"/>
                  </a:lnTo>
                  <a:lnTo>
                    <a:pt x="421" y="14"/>
                  </a:lnTo>
                  <a:lnTo>
                    <a:pt x="419" y="14"/>
                  </a:lnTo>
                  <a:lnTo>
                    <a:pt x="417" y="14"/>
                  </a:lnTo>
                  <a:lnTo>
                    <a:pt x="417" y="12"/>
                  </a:lnTo>
                  <a:lnTo>
                    <a:pt x="417" y="11"/>
                  </a:lnTo>
                  <a:lnTo>
                    <a:pt x="417" y="9"/>
                  </a:lnTo>
                  <a:lnTo>
                    <a:pt x="419" y="7"/>
                  </a:lnTo>
                  <a:lnTo>
                    <a:pt x="421" y="7"/>
                  </a:lnTo>
                  <a:close/>
                  <a:moveTo>
                    <a:pt x="379" y="1"/>
                  </a:moveTo>
                  <a:lnTo>
                    <a:pt x="382" y="1"/>
                  </a:lnTo>
                  <a:lnTo>
                    <a:pt x="384" y="1"/>
                  </a:lnTo>
                  <a:lnTo>
                    <a:pt x="386" y="3"/>
                  </a:lnTo>
                  <a:lnTo>
                    <a:pt x="386" y="5"/>
                  </a:lnTo>
                  <a:lnTo>
                    <a:pt x="386" y="7"/>
                  </a:lnTo>
                  <a:lnTo>
                    <a:pt x="384" y="9"/>
                  </a:lnTo>
                  <a:lnTo>
                    <a:pt x="380" y="9"/>
                  </a:lnTo>
                  <a:lnTo>
                    <a:pt x="377" y="9"/>
                  </a:lnTo>
                  <a:lnTo>
                    <a:pt x="375" y="9"/>
                  </a:lnTo>
                  <a:lnTo>
                    <a:pt x="373" y="7"/>
                  </a:lnTo>
                  <a:lnTo>
                    <a:pt x="371" y="7"/>
                  </a:lnTo>
                  <a:lnTo>
                    <a:pt x="371" y="5"/>
                  </a:lnTo>
                  <a:lnTo>
                    <a:pt x="371" y="3"/>
                  </a:lnTo>
                  <a:lnTo>
                    <a:pt x="373" y="3"/>
                  </a:lnTo>
                  <a:lnTo>
                    <a:pt x="377" y="1"/>
                  </a:lnTo>
                  <a:lnTo>
                    <a:pt x="379" y="1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32" name="Freeform 28"/>
            <p:cNvSpPr>
              <a:spLocks/>
            </p:cNvSpPr>
            <p:nvPr/>
          </p:nvSpPr>
          <p:spPr bwMode="auto">
            <a:xfrm>
              <a:off x="5974198" y="3381354"/>
              <a:ext cx="1174341" cy="1769039"/>
            </a:xfrm>
            <a:custGeom>
              <a:avLst/>
              <a:gdLst>
                <a:gd name="T0" fmla="*/ 753208 w 676"/>
                <a:gd name="T1" fmla="*/ 1412875 h 940"/>
                <a:gd name="T2" fmla="*/ 795704 w 676"/>
                <a:gd name="T3" fmla="*/ 1460500 h 940"/>
                <a:gd name="T4" fmla="*/ 842596 w 676"/>
                <a:gd name="T5" fmla="*/ 1492250 h 940"/>
                <a:gd name="T6" fmla="*/ 888023 w 676"/>
                <a:gd name="T7" fmla="*/ 1422400 h 940"/>
                <a:gd name="T8" fmla="*/ 861646 w 676"/>
                <a:gd name="T9" fmla="*/ 1371600 h 940"/>
                <a:gd name="T10" fmla="*/ 861646 w 676"/>
                <a:gd name="T11" fmla="*/ 1333500 h 940"/>
                <a:gd name="T12" fmla="*/ 871904 w 676"/>
                <a:gd name="T13" fmla="*/ 1271588 h 940"/>
                <a:gd name="T14" fmla="*/ 832339 w 676"/>
                <a:gd name="T15" fmla="*/ 1163638 h 940"/>
                <a:gd name="T16" fmla="*/ 890954 w 676"/>
                <a:gd name="T17" fmla="*/ 1101725 h 940"/>
                <a:gd name="T18" fmla="*/ 915865 w 676"/>
                <a:gd name="T19" fmla="*/ 1020763 h 940"/>
                <a:gd name="T20" fmla="*/ 910004 w 676"/>
                <a:gd name="T21" fmla="*/ 876300 h 940"/>
                <a:gd name="T22" fmla="*/ 907073 w 676"/>
                <a:gd name="T23" fmla="*/ 849313 h 940"/>
                <a:gd name="T24" fmla="*/ 912935 w 676"/>
                <a:gd name="T25" fmla="*/ 788987 h 940"/>
                <a:gd name="T26" fmla="*/ 990600 w 676"/>
                <a:gd name="T27" fmla="*/ 755650 h 940"/>
                <a:gd name="T28" fmla="*/ 955431 w 676"/>
                <a:gd name="T29" fmla="*/ 727075 h 940"/>
                <a:gd name="T30" fmla="*/ 888023 w 676"/>
                <a:gd name="T31" fmla="*/ 717550 h 940"/>
                <a:gd name="T32" fmla="*/ 858715 w 676"/>
                <a:gd name="T33" fmla="*/ 693738 h 940"/>
                <a:gd name="T34" fmla="*/ 868973 w 676"/>
                <a:gd name="T35" fmla="*/ 647700 h 940"/>
                <a:gd name="T36" fmla="*/ 888023 w 676"/>
                <a:gd name="T37" fmla="*/ 530225 h 940"/>
                <a:gd name="T38" fmla="*/ 858715 w 676"/>
                <a:gd name="T39" fmla="*/ 409575 h 940"/>
                <a:gd name="T40" fmla="*/ 826477 w 676"/>
                <a:gd name="T41" fmla="*/ 381000 h 940"/>
                <a:gd name="T42" fmla="*/ 871904 w 676"/>
                <a:gd name="T43" fmla="*/ 250825 h 940"/>
                <a:gd name="T44" fmla="*/ 829408 w 676"/>
                <a:gd name="T45" fmla="*/ 84138 h 940"/>
                <a:gd name="T46" fmla="*/ 817685 w 676"/>
                <a:gd name="T47" fmla="*/ 46038 h 940"/>
                <a:gd name="T48" fmla="*/ 798635 w 676"/>
                <a:gd name="T49" fmla="*/ 69850 h 940"/>
                <a:gd name="T50" fmla="*/ 747346 w 676"/>
                <a:gd name="T51" fmla="*/ 66675 h 940"/>
                <a:gd name="T52" fmla="*/ 688731 w 676"/>
                <a:gd name="T53" fmla="*/ 77788 h 940"/>
                <a:gd name="T54" fmla="*/ 583223 w 676"/>
                <a:gd name="T55" fmla="*/ 11113 h 940"/>
                <a:gd name="T56" fmla="*/ 498231 w 676"/>
                <a:gd name="T57" fmla="*/ 25400 h 940"/>
                <a:gd name="T58" fmla="*/ 335573 w 676"/>
                <a:gd name="T59" fmla="*/ 93662 h 940"/>
                <a:gd name="T60" fmla="*/ 331177 w 676"/>
                <a:gd name="T61" fmla="*/ 149225 h 940"/>
                <a:gd name="T62" fmla="*/ 238858 w 676"/>
                <a:gd name="T63" fmla="*/ 201612 h 940"/>
                <a:gd name="T64" fmla="*/ 136281 w 676"/>
                <a:gd name="T65" fmla="*/ 350838 h 940"/>
                <a:gd name="T66" fmla="*/ 33704 w 676"/>
                <a:gd name="T67" fmla="*/ 430213 h 940"/>
                <a:gd name="T68" fmla="*/ 0 w 676"/>
                <a:gd name="T69" fmla="*/ 541338 h 940"/>
                <a:gd name="T70" fmla="*/ 5862 w 676"/>
                <a:gd name="T71" fmla="*/ 623888 h 940"/>
                <a:gd name="T72" fmla="*/ 27842 w 676"/>
                <a:gd name="T73" fmla="*/ 658813 h 940"/>
                <a:gd name="T74" fmla="*/ 98181 w 676"/>
                <a:gd name="T75" fmla="*/ 706438 h 940"/>
                <a:gd name="T76" fmla="*/ 146538 w 676"/>
                <a:gd name="T77" fmla="*/ 758825 h 940"/>
                <a:gd name="T78" fmla="*/ 136281 w 676"/>
                <a:gd name="T79" fmla="*/ 900113 h 940"/>
                <a:gd name="T80" fmla="*/ 63012 w 676"/>
                <a:gd name="T81" fmla="*/ 931863 h 940"/>
                <a:gd name="T82" fmla="*/ 38100 w 676"/>
                <a:gd name="T83" fmla="*/ 1038225 h 940"/>
                <a:gd name="T84" fmla="*/ 57150 w 676"/>
                <a:gd name="T85" fmla="*/ 1193800 h 940"/>
                <a:gd name="T86" fmla="*/ 114300 w 676"/>
                <a:gd name="T87" fmla="*/ 1195388 h 940"/>
                <a:gd name="T88" fmla="*/ 158262 w 676"/>
                <a:gd name="T89" fmla="*/ 1122363 h 940"/>
                <a:gd name="T90" fmla="*/ 175846 w 676"/>
                <a:gd name="T91" fmla="*/ 1139825 h 940"/>
                <a:gd name="T92" fmla="*/ 235927 w 676"/>
                <a:gd name="T93" fmla="*/ 1163638 h 940"/>
                <a:gd name="T94" fmla="*/ 279888 w 676"/>
                <a:gd name="T95" fmla="*/ 1228725 h 940"/>
                <a:gd name="T96" fmla="*/ 254977 w 676"/>
                <a:gd name="T97" fmla="*/ 1304925 h 940"/>
                <a:gd name="T98" fmla="*/ 300404 w 676"/>
                <a:gd name="T99" fmla="*/ 1374775 h 940"/>
                <a:gd name="T100" fmla="*/ 360485 w 676"/>
                <a:gd name="T101" fmla="*/ 1381125 h 940"/>
                <a:gd name="T102" fmla="*/ 385396 w 676"/>
                <a:gd name="T103" fmla="*/ 1354138 h 940"/>
                <a:gd name="T104" fmla="*/ 501162 w 676"/>
                <a:gd name="T105" fmla="*/ 1350963 h 940"/>
                <a:gd name="T106" fmla="*/ 548054 w 676"/>
                <a:gd name="T107" fmla="*/ 1319213 h 940"/>
                <a:gd name="T108" fmla="*/ 672611 w 676"/>
                <a:gd name="T109" fmla="*/ 1357313 h 940"/>
                <a:gd name="T110" fmla="*/ 712177 w 676"/>
                <a:gd name="T111" fmla="*/ 1387475 h 94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76"/>
                <a:gd name="T169" fmla="*/ 0 h 940"/>
                <a:gd name="T170" fmla="*/ 676 w 676"/>
                <a:gd name="T171" fmla="*/ 940 h 94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76" h="940">
                  <a:moveTo>
                    <a:pt x="492" y="901"/>
                  </a:moveTo>
                  <a:lnTo>
                    <a:pt x="495" y="899"/>
                  </a:lnTo>
                  <a:lnTo>
                    <a:pt x="499" y="899"/>
                  </a:lnTo>
                  <a:lnTo>
                    <a:pt x="505" y="890"/>
                  </a:lnTo>
                  <a:lnTo>
                    <a:pt x="510" y="888"/>
                  </a:lnTo>
                  <a:lnTo>
                    <a:pt x="514" y="890"/>
                  </a:lnTo>
                  <a:lnTo>
                    <a:pt x="518" y="896"/>
                  </a:lnTo>
                  <a:lnTo>
                    <a:pt x="523" y="911"/>
                  </a:lnTo>
                  <a:lnTo>
                    <a:pt x="527" y="920"/>
                  </a:lnTo>
                  <a:lnTo>
                    <a:pt x="531" y="920"/>
                  </a:lnTo>
                  <a:lnTo>
                    <a:pt x="538" y="918"/>
                  </a:lnTo>
                  <a:lnTo>
                    <a:pt x="543" y="920"/>
                  </a:lnTo>
                  <a:lnTo>
                    <a:pt x="549" y="923"/>
                  </a:lnTo>
                  <a:lnTo>
                    <a:pt x="551" y="927"/>
                  </a:lnTo>
                  <a:lnTo>
                    <a:pt x="555" y="933"/>
                  </a:lnTo>
                  <a:lnTo>
                    <a:pt x="558" y="935"/>
                  </a:lnTo>
                  <a:lnTo>
                    <a:pt x="564" y="938"/>
                  </a:lnTo>
                  <a:lnTo>
                    <a:pt x="575" y="940"/>
                  </a:lnTo>
                  <a:lnTo>
                    <a:pt x="580" y="938"/>
                  </a:lnTo>
                  <a:lnTo>
                    <a:pt x="584" y="925"/>
                  </a:lnTo>
                  <a:lnTo>
                    <a:pt x="588" y="911"/>
                  </a:lnTo>
                  <a:lnTo>
                    <a:pt x="595" y="905"/>
                  </a:lnTo>
                  <a:lnTo>
                    <a:pt x="601" y="901"/>
                  </a:lnTo>
                  <a:lnTo>
                    <a:pt x="606" y="896"/>
                  </a:lnTo>
                  <a:lnTo>
                    <a:pt x="608" y="890"/>
                  </a:lnTo>
                  <a:lnTo>
                    <a:pt x="606" y="881"/>
                  </a:lnTo>
                  <a:lnTo>
                    <a:pt x="604" y="874"/>
                  </a:lnTo>
                  <a:lnTo>
                    <a:pt x="599" y="870"/>
                  </a:lnTo>
                  <a:lnTo>
                    <a:pt x="593" y="866"/>
                  </a:lnTo>
                  <a:lnTo>
                    <a:pt x="588" y="864"/>
                  </a:lnTo>
                  <a:lnTo>
                    <a:pt x="584" y="861"/>
                  </a:lnTo>
                  <a:lnTo>
                    <a:pt x="580" y="857"/>
                  </a:lnTo>
                  <a:lnTo>
                    <a:pt x="579" y="851"/>
                  </a:lnTo>
                  <a:lnTo>
                    <a:pt x="580" y="848"/>
                  </a:lnTo>
                  <a:lnTo>
                    <a:pt x="584" y="844"/>
                  </a:lnTo>
                  <a:lnTo>
                    <a:pt x="588" y="840"/>
                  </a:lnTo>
                  <a:lnTo>
                    <a:pt x="593" y="837"/>
                  </a:lnTo>
                  <a:lnTo>
                    <a:pt x="599" y="831"/>
                  </a:lnTo>
                  <a:lnTo>
                    <a:pt x="603" y="824"/>
                  </a:lnTo>
                  <a:lnTo>
                    <a:pt x="606" y="814"/>
                  </a:lnTo>
                  <a:lnTo>
                    <a:pt x="606" y="803"/>
                  </a:lnTo>
                  <a:lnTo>
                    <a:pt x="595" y="801"/>
                  </a:lnTo>
                  <a:lnTo>
                    <a:pt x="582" y="798"/>
                  </a:lnTo>
                  <a:lnTo>
                    <a:pt x="575" y="792"/>
                  </a:lnTo>
                  <a:lnTo>
                    <a:pt x="571" y="783"/>
                  </a:lnTo>
                  <a:lnTo>
                    <a:pt x="568" y="772"/>
                  </a:lnTo>
                  <a:lnTo>
                    <a:pt x="566" y="755"/>
                  </a:lnTo>
                  <a:lnTo>
                    <a:pt x="568" y="733"/>
                  </a:lnTo>
                  <a:lnTo>
                    <a:pt x="568" y="718"/>
                  </a:lnTo>
                  <a:lnTo>
                    <a:pt x="577" y="711"/>
                  </a:lnTo>
                  <a:lnTo>
                    <a:pt x="590" y="705"/>
                  </a:lnTo>
                  <a:lnTo>
                    <a:pt x="597" y="702"/>
                  </a:lnTo>
                  <a:lnTo>
                    <a:pt x="603" y="698"/>
                  </a:lnTo>
                  <a:lnTo>
                    <a:pt x="608" y="694"/>
                  </a:lnTo>
                  <a:lnTo>
                    <a:pt x="610" y="689"/>
                  </a:lnTo>
                  <a:lnTo>
                    <a:pt x="606" y="683"/>
                  </a:lnTo>
                  <a:lnTo>
                    <a:pt x="604" y="670"/>
                  </a:lnTo>
                  <a:lnTo>
                    <a:pt x="616" y="661"/>
                  </a:lnTo>
                  <a:lnTo>
                    <a:pt x="625" y="652"/>
                  </a:lnTo>
                  <a:lnTo>
                    <a:pt x="625" y="643"/>
                  </a:lnTo>
                  <a:lnTo>
                    <a:pt x="623" y="631"/>
                  </a:lnTo>
                  <a:lnTo>
                    <a:pt x="627" y="617"/>
                  </a:lnTo>
                  <a:lnTo>
                    <a:pt x="632" y="604"/>
                  </a:lnTo>
                  <a:lnTo>
                    <a:pt x="619" y="576"/>
                  </a:lnTo>
                  <a:lnTo>
                    <a:pt x="612" y="556"/>
                  </a:lnTo>
                  <a:lnTo>
                    <a:pt x="621" y="552"/>
                  </a:lnTo>
                  <a:lnTo>
                    <a:pt x="628" y="548"/>
                  </a:lnTo>
                  <a:lnTo>
                    <a:pt x="628" y="541"/>
                  </a:lnTo>
                  <a:lnTo>
                    <a:pt x="628" y="537"/>
                  </a:lnTo>
                  <a:lnTo>
                    <a:pt x="627" y="535"/>
                  </a:lnTo>
                  <a:lnTo>
                    <a:pt x="625" y="535"/>
                  </a:lnTo>
                  <a:lnTo>
                    <a:pt x="619" y="535"/>
                  </a:lnTo>
                  <a:lnTo>
                    <a:pt x="616" y="535"/>
                  </a:lnTo>
                  <a:lnTo>
                    <a:pt x="616" y="524"/>
                  </a:lnTo>
                  <a:lnTo>
                    <a:pt x="621" y="517"/>
                  </a:lnTo>
                  <a:lnTo>
                    <a:pt x="623" y="511"/>
                  </a:lnTo>
                  <a:lnTo>
                    <a:pt x="623" y="506"/>
                  </a:lnTo>
                  <a:lnTo>
                    <a:pt x="623" y="497"/>
                  </a:lnTo>
                  <a:lnTo>
                    <a:pt x="621" y="484"/>
                  </a:lnTo>
                  <a:lnTo>
                    <a:pt x="636" y="486"/>
                  </a:lnTo>
                  <a:lnTo>
                    <a:pt x="667" y="486"/>
                  </a:lnTo>
                  <a:lnTo>
                    <a:pt x="671" y="484"/>
                  </a:lnTo>
                  <a:lnTo>
                    <a:pt x="675" y="480"/>
                  </a:lnTo>
                  <a:lnTo>
                    <a:pt x="676" y="476"/>
                  </a:lnTo>
                  <a:lnTo>
                    <a:pt x="676" y="474"/>
                  </a:lnTo>
                  <a:lnTo>
                    <a:pt x="675" y="467"/>
                  </a:lnTo>
                  <a:lnTo>
                    <a:pt x="669" y="461"/>
                  </a:lnTo>
                  <a:lnTo>
                    <a:pt x="669" y="463"/>
                  </a:lnTo>
                  <a:lnTo>
                    <a:pt x="662" y="460"/>
                  </a:lnTo>
                  <a:lnTo>
                    <a:pt x="652" y="458"/>
                  </a:lnTo>
                  <a:lnTo>
                    <a:pt x="641" y="458"/>
                  </a:lnTo>
                  <a:lnTo>
                    <a:pt x="632" y="460"/>
                  </a:lnTo>
                  <a:lnTo>
                    <a:pt x="625" y="454"/>
                  </a:lnTo>
                  <a:lnTo>
                    <a:pt x="619" y="449"/>
                  </a:lnTo>
                  <a:lnTo>
                    <a:pt x="612" y="449"/>
                  </a:lnTo>
                  <a:lnTo>
                    <a:pt x="606" y="452"/>
                  </a:lnTo>
                  <a:lnTo>
                    <a:pt x="603" y="452"/>
                  </a:lnTo>
                  <a:lnTo>
                    <a:pt x="599" y="452"/>
                  </a:lnTo>
                  <a:lnTo>
                    <a:pt x="595" y="450"/>
                  </a:lnTo>
                  <a:lnTo>
                    <a:pt x="588" y="445"/>
                  </a:lnTo>
                  <a:lnTo>
                    <a:pt x="586" y="441"/>
                  </a:lnTo>
                  <a:lnTo>
                    <a:pt x="586" y="437"/>
                  </a:lnTo>
                  <a:lnTo>
                    <a:pt x="586" y="434"/>
                  </a:lnTo>
                  <a:lnTo>
                    <a:pt x="590" y="430"/>
                  </a:lnTo>
                  <a:lnTo>
                    <a:pt x="595" y="423"/>
                  </a:lnTo>
                  <a:lnTo>
                    <a:pt x="603" y="419"/>
                  </a:lnTo>
                  <a:lnTo>
                    <a:pt x="597" y="413"/>
                  </a:lnTo>
                  <a:lnTo>
                    <a:pt x="593" y="408"/>
                  </a:lnTo>
                  <a:lnTo>
                    <a:pt x="608" y="389"/>
                  </a:lnTo>
                  <a:lnTo>
                    <a:pt x="625" y="364"/>
                  </a:lnTo>
                  <a:lnTo>
                    <a:pt x="616" y="356"/>
                  </a:lnTo>
                  <a:lnTo>
                    <a:pt x="612" y="347"/>
                  </a:lnTo>
                  <a:lnTo>
                    <a:pt x="608" y="341"/>
                  </a:lnTo>
                  <a:lnTo>
                    <a:pt x="606" y="334"/>
                  </a:lnTo>
                  <a:lnTo>
                    <a:pt x="593" y="321"/>
                  </a:lnTo>
                  <a:lnTo>
                    <a:pt x="580" y="306"/>
                  </a:lnTo>
                  <a:lnTo>
                    <a:pt x="584" y="288"/>
                  </a:lnTo>
                  <a:lnTo>
                    <a:pt x="588" y="271"/>
                  </a:lnTo>
                  <a:lnTo>
                    <a:pt x="588" y="264"/>
                  </a:lnTo>
                  <a:lnTo>
                    <a:pt x="586" y="258"/>
                  </a:lnTo>
                  <a:lnTo>
                    <a:pt x="580" y="255"/>
                  </a:lnTo>
                  <a:lnTo>
                    <a:pt x="577" y="253"/>
                  </a:lnTo>
                  <a:lnTo>
                    <a:pt x="571" y="249"/>
                  </a:lnTo>
                  <a:lnTo>
                    <a:pt x="568" y="247"/>
                  </a:lnTo>
                  <a:lnTo>
                    <a:pt x="566" y="243"/>
                  </a:lnTo>
                  <a:lnTo>
                    <a:pt x="564" y="240"/>
                  </a:lnTo>
                  <a:lnTo>
                    <a:pt x="584" y="232"/>
                  </a:lnTo>
                  <a:lnTo>
                    <a:pt x="603" y="225"/>
                  </a:lnTo>
                  <a:lnTo>
                    <a:pt x="603" y="212"/>
                  </a:lnTo>
                  <a:lnTo>
                    <a:pt x="601" y="195"/>
                  </a:lnTo>
                  <a:lnTo>
                    <a:pt x="597" y="179"/>
                  </a:lnTo>
                  <a:lnTo>
                    <a:pt x="595" y="158"/>
                  </a:lnTo>
                  <a:lnTo>
                    <a:pt x="593" y="131"/>
                  </a:lnTo>
                  <a:lnTo>
                    <a:pt x="592" y="107"/>
                  </a:lnTo>
                  <a:lnTo>
                    <a:pt x="588" y="86"/>
                  </a:lnTo>
                  <a:lnTo>
                    <a:pt x="582" y="70"/>
                  </a:lnTo>
                  <a:lnTo>
                    <a:pt x="575" y="61"/>
                  </a:lnTo>
                  <a:lnTo>
                    <a:pt x="566" y="53"/>
                  </a:lnTo>
                  <a:lnTo>
                    <a:pt x="562" y="48"/>
                  </a:lnTo>
                  <a:lnTo>
                    <a:pt x="558" y="44"/>
                  </a:lnTo>
                  <a:lnTo>
                    <a:pt x="558" y="36"/>
                  </a:lnTo>
                  <a:lnTo>
                    <a:pt x="558" y="29"/>
                  </a:lnTo>
                  <a:lnTo>
                    <a:pt x="553" y="29"/>
                  </a:lnTo>
                  <a:lnTo>
                    <a:pt x="547" y="33"/>
                  </a:lnTo>
                  <a:lnTo>
                    <a:pt x="547" y="36"/>
                  </a:lnTo>
                  <a:lnTo>
                    <a:pt x="547" y="40"/>
                  </a:lnTo>
                  <a:lnTo>
                    <a:pt x="547" y="42"/>
                  </a:lnTo>
                  <a:lnTo>
                    <a:pt x="545" y="44"/>
                  </a:lnTo>
                  <a:lnTo>
                    <a:pt x="542" y="46"/>
                  </a:lnTo>
                  <a:lnTo>
                    <a:pt x="536" y="44"/>
                  </a:lnTo>
                  <a:lnTo>
                    <a:pt x="532" y="40"/>
                  </a:lnTo>
                  <a:lnTo>
                    <a:pt x="527" y="36"/>
                  </a:lnTo>
                  <a:lnTo>
                    <a:pt x="519" y="38"/>
                  </a:lnTo>
                  <a:lnTo>
                    <a:pt x="510" y="42"/>
                  </a:lnTo>
                  <a:lnTo>
                    <a:pt x="512" y="46"/>
                  </a:lnTo>
                  <a:lnTo>
                    <a:pt x="514" y="49"/>
                  </a:lnTo>
                  <a:lnTo>
                    <a:pt x="503" y="53"/>
                  </a:lnTo>
                  <a:lnTo>
                    <a:pt x="492" y="55"/>
                  </a:lnTo>
                  <a:lnTo>
                    <a:pt x="481" y="53"/>
                  </a:lnTo>
                  <a:lnTo>
                    <a:pt x="470" y="49"/>
                  </a:lnTo>
                  <a:lnTo>
                    <a:pt x="451" y="40"/>
                  </a:lnTo>
                  <a:lnTo>
                    <a:pt x="438" y="35"/>
                  </a:lnTo>
                  <a:lnTo>
                    <a:pt x="409" y="33"/>
                  </a:lnTo>
                  <a:lnTo>
                    <a:pt x="390" y="35"/>
                  </a:lnTo>
                  <a:lnTo>
                    <a:pt x="396" y="22"/>
                  </a:lnTo>
                  <a:lnTo>
                    <a:pt x="398" y="7"/>
                  </a:lnTo>
                  <a:lnTo>
                    <a:pt x="388" y="1"/>
                  </a:lnTo>
                  <a:lnTo>
                    <a:pt x="381" y="0"/>
                  </a:lnTo>
                  <a:lnTo>
                    <a:pt x="374" y="0"/>
                  </a:lnTo>
                  <a:lnTo>
                    <a:pt x="366" y="1"/>
                  </a:lnTo>
                  <a:lnTo>
                    <a:pt x="355" y="11"/>
                  </a:lnTo>
                  <a:lnTo>
                    <a:pt x="340" y="16"/>
                  </a:lnTo>
                  <a:lnTo>
                    <a:pt x="324" y="16"/>
                  </a:lnTo>
                  <a:lnTo>
                    <a:pt x="307" y="18"/>
                  </a:lnTo>
                  <a:lnTo>
                    <a:pt x="292" y="22"/>
                  </a:lnTo>
                  <a:lnTo>
                    <a:pt x="279" y="27"/>
                  </a:lnTo>
                  <a:lnTo>
                    <a:pt x="255" y="42"/>
                  </a:lnTo>
                  <a:lnTo>
                    <a:pt x="229" y="59"/>
                  </a:lnTo>
                  <a:lnTo>
                    <a:pt x="228" y="62"/>
                  </a:lnTo>
                  <a:lnTo>
                    <a:pt x="226" y="66"/>
                  </a:lnTo>
                  <a:lnTo>
                    <a:pt x="224" y="72"/>
                  </a:lnTo>
                  <a:lnTo>
                    <a:pt x="226" y="75"/>
                  </a:lnTo>
                  <a:lnTo>
                    <a:pt x="226" y="86"/>
                  </a:lnTo>
                  <a:lnTo>
                    <a:pt x="226" y="94"/>
                  </a:lnTo>
                  <a:lnTo>
                    <a:pt x="218" y="97"/>
                  </a:lnTo>
                  <a:lnTo>
                    <a:pt x="211" y="99"/>
                  </a:lnTo>
                  <a:lnTo>
                    <a:pt x="207" y="109"/>
                  </a:lnTo>
                  <a:lnTo>
                    <a:pt x="205" y="118"/>
                  </a:lnTo>
                  <a:lnTo>
                    <a:pt x="185" y="121"/>
                  </a:lnTo>
                  <a:lnTo>
                    <a:pt x="163" y="127"/>
                  </a:lnTo>
                  <a:lnTo>
                    <a:pt x="143" y="151"/>
                  </a:lnTo>
                  <a:lnTo>
                    <a:pt x="115" y="182"/>
                  </a:lnTo>
                  <a:lnTo>
                    <a:pt x="109" y="195"/>
                  </a:lnTo>
                  <a:lnTo>
                    <a:pt x="104" y="205"/>
                  </a:lnTo>
                  <a:lnTo>
                    <a:pt x="98" y="214"/>
                  </a:lnTo>
                  <a:lnTo>
                    <a:pt x="93" y="221"/>
                  </a:lnTo>
                  <a:lnTo>
                    <a:pt x="82" y="234"/>
                  </a:lnTo>
                  <a:lnTo>
                    <a:pt x="71" y="242"/>
                  </a:lnTo>
                  <a:lnTo>
                    <a:pt x="58" y="247"/>
                  </a:lnTo>
                  <a:lnTo>
                    <a:pt x="45" y="253"/>
                  </a:lnTo>
                  <a:lnTo>
                    <a:pt x="34" y="260"/>
                  </a:lnTo>
                  <a:lnTo>
                    <a:pt x="23" y="271"/>
                  </a:lnTo>
                  <a:lnTo>
                    <a:pt x="17" y="280"/>
                  </a:lnTo>
                  <a:lnTo>
                    <a:pt x="13" y="293"/>
                  </a:lnTo>
                  <a:lnTo>
                    <a:pt x="11" y="306"/>
                  </a:lnTo>
                  <a:lnTo>
                    <a:pt x="8" y="321"/>
                  </a:lnTo>
                  <a:lnTo>
                    <a:pt x="2" y="330"/>
                  </a:lnTo>
                  <a:lnTo>
                    <a:pt x="0" y="341"/>
                  </a:lnTo>
                  <a:lnTo>
                    <a:pt x="10" y="354"/>
                  </a:lnTo>
                  <a:lnTo>
                    <a:pt x="17" y="369"/>
                  </a:lnTo>
                  <a:lnTo>
                    <a:pt x="15" y="376"/>
                  </a:lnTo>
                  <a:lnTo>
                    <a:pt x="8" y="384"/>
                  </a:lnTo>
                  <a:lnTo>
                    <a:pt x="6" y="389"/>
                  </a:lnTo>
                  <a:lnTo>
                    <a:pt x="4" y="393"/>
                  </a:lnTo>
                  <a:lnTo>
                    <a:pt x="2" y="397"/>
                  </a:lnTo>
                  <a:lnTo>
                    <a:pt x="4" y="402"/>
                  </a:lnTo>
                  <a:lnTo>
                    <a:pt x="8" y="408"/>
                  </a:lnTo>
                  <a:lnTo>
                    <a:pt x="11" y="412"/>
                  </a:lnTo>
                  <a:lnTo>
                    <a:pt x="15" y="415"/>
                  </a:lnTo>
                  <a:lnTo>
                    <a:pt x="19" y="415"/>
                  </a:lnTo>
                  <a:lnTo>
                    <a:pt x="26" y="417"/>
                  </a:lnTo>
                  <a:lnTo>
                    <a:pt x="32" y="419"/>
                  </a:lnTo>
                  <a:lnTo>
                    <a:pt x="39" y="428"/>
                  </a:lnTo>
                  <a:lnTo>
                    <a:pt x="48" y="436"/>
                  </a:lnTo>
                  <a:lnTo>
                    <a:pt x="58" y="441"/>
                  </a:lnTo>
                  <a:lnTo>
                    <a:pt x="67" y="445"/>
                  </a:lnTo>
                  <a:lnTo>
                    <a:pt x="74" y="449"/>
                  </a:lnTo>
                  <a:lnTo>
                    <a:pt x="84" y="452"/>
                  </a:lnTo>
                  <a:lnTo>
                    <a:pt x="89" y="456"/>
                  </a:lnTo>
                  <a:lnTo>
                    <a:pt x="96" y="463"/>
                  </a:lnTo>
                  <a:lnTo>
                    <a:pt x="98" y="469"/>
                  </a:lnTo>
                  <a:lnTo>
                    <a:pt x="100" y="478"/>
                  </a:lnTo>
                  <a:lnTo>
                    <a:pt x="100" y="487"/>
                  </a:lnTo>
                  <a:lnTo>
                    <a:pt x="98" y="500"/>
                  </a:lnTo>
                  <a:lnTo>
                    <a:pt x="93" y="524"/>
                  </a:lnTo>
                  <a:lnTo>
                    <a:pt x="89" y="548"/>
                  </a:lnTo>
                  <a:lnTo>
                    <a:pt x="91" y="558"/>
                  </a:lnTo>
                  <a:lnTo>
                    <a:pt x="93" y="567"/>
                  </a:lnTo>
                  <a:lnTo>
                    <a:pt x="93" y="571"/>
                  </a:lnTo>
                  <a:lnTo>
                    <a:pt x="93" y="576"/>
                  </a:lnTo>
                  <a:lnTo>
                    <a:pt x="91" y="580"/>
                  </a:lnTo>
                  <a:lnTo>
                    <a:pt x="89" y="585"/>
                  </a:lnTo>
                  <a:lnTo>
                    <a:pt x="67" y="587"/>
                  </a:lnTo>
                  <a:lnTo>
                    <a:pt x="43" y="587"/>
                  </a:lnTo>
                  <a:lnTo>
                    <a:pt x="32" y="591"/>
                  </a:lnTo>
                  <a:lnTo>
                    <a:pt x="23" y="595"/>
                  </a:lnTo>
                  <a:lnTo>
                    <a:pt x="13" y="600"/>
                  </a:lnTo>
                  <a:lnTo>
                    <a:pt x="8" y="609"/>
                  </a:lnTo>
                  <a:lnTo>
                    <a:pt x="15" y="626"/>
                  </a:lnTo>
                  <a:lnTo>
                    <a:pt x="26" y="654"/>
                  </a:lnTo>
                  <a:lnTo>
                    <a:pt x="23" y="672"/>
                  </a:lnTo>
                  <a:lnTo>
                    <a:pt x="23" y="691"/>
                  </a:lnTo>
                  <a:lnTo>
                    <a:pt x="23" y="707"/>
                  </a:lnTo>
                  <a:lnTo>
                    <a:pt x="26" y="726"/>
                  </a:lnTo>
                  <a:lnTo>
                    <a:pt x="32" y="741"/>
                  </a:lnTo>
                  <a:lnTo>
                    <a:pt x="39" y="752"/>
                  </a:lnTo>
                  <a:lnTo>
                    <a:pt x="43" y="755"/>
                  </a:lnTo>
                  <a:lnTo>
                    <a:pt x="47" y="759"/>
                  </a:lnTo>
                  <a:lnTo>
                    <a:pt x="52" y="763"/>
                  </a:lnTo>
                  <a:lnTo>
                    <a:pt x="56" y="763"/>
                  </a:lnTo>
                  <a:lnTo>
                    <a:pt x="69" y="759"/>
                  </a:lnTo>
                  <a:lnTo>
                    <a:pt x="78" y="753"/>
                  </a:lnTo>
                  <a:lnTo>
                    <a:pt x="85" y="746"/>
                  </a:lnTo>
                  <a:lnTo>
                    <a:pt x="93" y="741"/>
                  </a:lnTo>
                  <a:lnTo>
                    <a:pt x="100" y="726"/>
                  </a:lnTo>
                  <a:lnTo>
                    <a:pt x="104" y="713"/>
                  </a:lnTo>
                  <a:lnTo>
                    <a:pt x="106" y="711"/>
                  </a:lnTo>
                  <a:lnTo>
                    <a:pt x="108" y="707"/>
                  </a:lnTo>
                  <a:lnTo>
                    <a:pt x="109" y="707"/>
                  </a:lnTo>
                  <a:lnTo>
                    <a:pt x="113" y="707"/>
                  </a:lnTo>
                  <a:lnTo>
                    <a:pt x="117" y="709"/>
                  </a:lnTo>
                  <a:lnTo>
                    <a:pt x="119" y="711"/>
                  </a:lnTo>
                  <a:lnTo>
                    <a:pt x="120" y="715"/>
                  </a:lnTo>
                  <a:lnTo>
                    <a:pt x="120" y="718"/>
                  </a:lnTo>
                  <a:lnTo>
                    <a:pt x="120" y="724"/>
                  </a:lnTo>
                  <a:lnTo>
                    <a:pt x="122" y="729"/>
                  </a:lnTo>
                  <a:lnTo>
                    <a:pt x="126" y="733"/>
                  </a:lnTo>
                  <a:lnTo>
                    <a:pt x="133" y="735"/>
                  </a:lnTo>
                  <a:lnTo>
                    <a:pt x="146" y="733"/>
                  </a:lnTo>
                  <a:lnTo>
                    <a:pt x="161" y="733"/>
                  </a:lnTo>
                  <a:lnTo>
                    <a:pt x="170" y="735"/>
                  </a:lnTo>
                  <a:lnTo>
                    <a:pt x="178" y="739"/>
                  </a:lnTo>
                  <a:lnTo>
                    <a:pt x="183" y="746"/>
                  </a:lnTo>
                  <a:lnTo>
                    <a:pt x="189" y="755"/>
                  </a:lnTo>
                  <a:lnTo>
                    <a:pt x="191" y="765"/>
                  </a:lnTo>
                  <a:lnTo>
                    <a:pt x="191" y="774"/>
                  </a:lnTo>
                  <a:lnTo>
                    <a:pt x="189" y="779"/>
                  </a:lnTo>
                  <a:lnTo>
                    <a:pt x="185" y="783"/>
                  </a:lnTo>
                  <a:lnTo>
                    <a:pt x="178" y="790"/>
                  </a:lnTo>
                  <a:lnTo>
                    <a:pt x="170" y="800"/>
                  </a:lnTo>
                  <a:lnTo>
                    <a:pt x="172" y="811"/>
                  </a:lnTo>
                  <a:lnTo>
                    <a:pt x="174" y="822"/>
                  </a:lnTo>
                  <a:lnTo>
                    <a:pt x="176" y="835"/>
                  </a:lnTo>
                  <a:lnTo>
                    <a:pt x="180" y="844"/>
                  </a:lnTo>
                  <a:lnTo>
                    <a:pt x="183" y="853"/>
                  </a:lnTo>
                  <a:lnTo>
                    <a:pt x="191" y="857"/>
                  </a:lnTo>
                  <a:lnTo>
                    <a:pt x="198" y="862"/>
                  </a:lnTo>
                  <a:lnTo>
                    <a:pt x="205" y="866"/>
                  </a:lnTo>
                  <a:lnTo>
                    <a:pt x="217" y="862"/>
                  </a:lnTo>
                  <a:lnTo>
                    <a:pt x="226" y="859"/>
                  </a:lnTo>
                  <a:lnTo>
                    <a:pt x="233" y="861"/>
                  </a:lnTo>
                  <a:lnTo>
                    <a:pt x="237" y="866"/>
                  </a:lnTo>
                  <a:lnTo>
                    <a:pt x="241" y="868"/>
                  </a:lnTo>
                  <a:lnTo>
                    <a:pt x="246" y="870"/>
                  </a:lnTo>
                  <a:lnTo>
                    <a:pt x="253" y="868"/>
                  </a:lnTo>
                  <a:lnTo>
                    <a:pt x="263" y="866"/>
                  </a:lnTo>
                  <a:lnTo>
                    <a:pt x="265" y="862"/>
                  </a:lnTo>
                  <a:lnTo>
                    <a:pt x="263" y="859"/>
                  </a:lnTo>
                  <a:lnTo>
                    <a:pt x="261" y="857"/>
                  </a:lnTo>
                  <a:lnTo>
                    <a:pt x="263" y="853"/>
                  </a:lnTo>
                  <a:lnTo>
                    <a:pt x="263" y="851"/>
                  </a:lnTo>
                  <a:lnTo>
                    <a:pt x="266" y="848"/>
                  </a:lnTo>
                  <a:lnTo>
                    <a:pt x="287" y="848"/>
                  </a:lnTo>
                  <a:lnTo>
                    <a:pt x="309" y="850"/>
                  </a:lnTo>
                  <a:lnTo>
                    <a:pt x="329" y="851"/>
                  </a:lnTo>
                  <a:lnTo>
                    <a:pt x="342" y="851"/>
                  </a:lnTo>
                  <a:lnTo>
                    <a:pt x="348" y="848"/>
                  </a:lnTo>
                  <a:lnTo>
                    <a:pt x="353" y="842"/>
                  </a:lnTo>
                  <a:lnTo>
                    <a:pt x="357" y="838"/>
                  </a:lnTo>
                  <a:lnTo>
                    <a:pt x="361" y="835"/>
                  </a:lnTo>
                  <a:lnTo>
                    <a:pt x="366" y="833"/>
                  </a:lnTo>
                  <a:lnTo>
                    <a:pt x="374" y="831"/>
                  </a:lnTo>
                  <a:lnTo>
                    <a:pt x="392" y="837"/>
                  </a:lnTo>
                  <a:lnTo>
                    <a:pt x="409" y="844"/>
                  </a:lnTo>
                  <a:lnTo>
                    <a:pt x="422" y="846"/>
                  </a:lnTo>
                  <a:lnTo>
                    <a:pt x="434" y="846"/>
                  </a:lnTo>
                  <a:lnTo>
                    <a:pt x="447" y="850"/>
                  </a:lnTo>
                  <a:lnTo>
                    <a:pt x="459" y="855"/>
                  </a:lnTo>
                  <a:lnTo>
                    <a:pt x="468" y="853"/>
                  </a:lnTo>
                  <a:lnTo>
                    <a:pt x="477" y="851"/>
                  </a:lnTo>
                  <a:lnTo>
                    <a:pt x="484" y="857"/>
                  </a:lnTo>
                  <a:lnTo>
                    <a:pt x="486" y="864"/>
                  </a:lnTo>
                  <a:lnTo>
                    <a:pt x="488" y="868"/>
                  </a:lnTo>
                  <a:lnTo>
                    <a:pt x="486" y="874"/>
                  </a:lnTo>
                  <a:lnTo>
                    <a:pt x="483" y="881"/>
                  </a:lnTo>
                  <a:lnTo>
                    <a:pt x="481" y="886"/>
                  </a:lnTo>
                  <a:lnTo>
                    <a:pt x="486" y="894"/>
                  </a:lnTo>
                  <a:lnTo>
                    <a:pt x="492" y="901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auto">
            <a:xfrm>
              <a:off x="5556403" y="3518737"/>
              <a:ext cx="1272203" cy="2668615"/>
            </a:xfrm>
            <a:custGeom>
              <a:avLst/>
              <a:gdLst>
                <a:gd name="T0" fmla="*/ 101158 w 732"/>
                <a:gd name="T1" fmla="*/ 92075 h 1418"/>
                <a:gd name="T2" fmla="*/ 101158 w 732"/>
                <a:gd name="T3" fmla="*/ 223838 h 1418"/>
                <a:gd name="T4" fmla="*/ 98225 w 732"/>
                <a:gd name="T5" fmla="*/ 314325 h 1418"/>
                <a:gd name="T6" fmla="*/ 121682 w 732"/>
                <a:gd name="T7" fmla="*/ 455613 h 1418"/>
                <a:gd name="T8" fmla="*/ 197917 w 732"/>
                <a:gd name="T9" fmla="*/ 501650 h 1418"/>
                <a:gd name="T10" fmla="*/ 117284 w 732"/>
                <a:gd name="T11" fmla="*/ 631825 h 1418"/>
                <a:gd name="T12" fmla="*/ 95293 w 732"/>
                <a:gd name="T13" fmla="*/ 766762 h 1418"/>
                <a:gd name="T14" fmla="*/ 43982 w 732"/>
                <a:gd name="T15" fmla="*/ 850900 h 1418"/>
                <a:gd name="T16" fmla="*/ 79167 w 732"/>
                <a:gd name="T17" fmla="*/ 950913 h 1418"/>
                <a:gd name="T18" fmla="*/ 21991 w 732"/>
                <a:gd name="T19" fmla="*/ 1062038 h 1418"/>
                <a:gd name="T20" fmla="*/ 35185 w 732"/>
                <a:gd name="T21" fmla="*/ 1130300 h 1418"/>
                <a:gd name="T22" fmla="*/ 162732 w 732"/>
                <a:gd name="T23" fmla="*/ 1176337 h 1418"/>
                <a:gd name="T24" fmla="*/ 192053 w 732"/>
                <a:gd name="T25" fmla="*/ 1238250 h 1418"/>
                <a:gd name="T26" fmla="*/ 192053 w 732"/>
                <a:gd name="T27" fmla="*/ 1282700 h 1418"/>
                <a:gd name="T28" fmla="*/ 187655 w 732"/>
                <a:gd name="T29" fmla="*/ 1414462 h 1418"/>
                <a:gd name="T30" fmla="*/ 181790 w 732"/>
                <a:gd name="T31" fmla="*/ 1504950 h 1418"/>
                <a:gd name="T32" fmla="*/ 175926 w 732"/>
                <a:gd name="T33" fmla="*/ 1622425 h 1418"/>
                <a:gd name="T34" fmla="*/ 206713 w 732"/>
                <a:gd name="T35" fmla="*/ 1701800 h 1418"/>
                <a:gd name="T36" fmla="*/ 181790 w 732"/>
                <a:gd name="T37" fmla="*/ 1811338 h 1418"/>
                <a:gd name="T38" fmla="*/ 277084 w 732"/>
                <a:gd name="T39" fmla="*/ 1801813 h 1418"/>
                <a:gd name="T40" fmla="*/ 319599 w 732"/>
                <a:gd name="T41" fmla="*/ 1933575 h 1418"/>
                <a:gd name="T42" fmla="*/ 293210 w 732"/>
                <a:gd name="T43" fmla="*/ 2074863 h 1418"/>
                <a:gd name="T44" fmla="*/ 252161 w 732"/>
                <a:gd name="T45" fmla="*/ 2133600 h 1418"/>
                <a:gd name="T46" fmla="*/ 296142 w 732"/>
                <a:gd name="T47" fmla="*/ 2227263 h 1418"/>
                <a:gd name="T48" fmla="*/ 406096 w 732"/>
                <a:gd name="T49" fmla="*/ 2216150 h 1418"/>
                <a:gd name="T50" fmla="*/ 536575 w 732"/>
                <a:gd name="T51" fmla="*/ 2044700 h 1418"/>
                <a:gd name="T52" fmla="*/ 652393 w 732"/>
                <a:gd name="T53" fmla="*/ 2054225 h 1418"/>
                <a:gd name="T54" fmla="*/ 593751 w 732"/>
                <a:gd name="T55" fmla="*/ 1936750 h 1418"/>
                <a:gd name="T56" fmla="*/ 671452 w 732"/>
                <a:gd name="T57" fmla="*/ 1822450 h 1418"/>
                <a:gd name="T58" fmla="*/ 712501 w 732"/>
                <a:gd name="T59" fmla="*/ 1731963 h 1418"/>
                <a:gd name="T60" fmla="*/ 744754 w 732"/>
                <a:gd name="T61" fmla="*/ 1604962 h 1418"/>
                <a:gd name="T62" fmla="*/ 820989 w 732"/>
                <a:gd name="T63" fmla="*/ 1497012 h 1418"/>
                <a:gd name="T64" fmla="*/ 882563 w 732"/>
                <a:gd name="T65" fmla="*/ 1466850 h 1418"/>
                <a:gd name="T66" fmla="*/ 936807 w 732"/>
                <a:gd name="T67" fmla="*/ 1514475 h 1418"/>
                <a:gd name="T68" fmla="*/ 971992 w 732"/>
                <a:gd name="T69" fmla="*/ 1517650 h 1418"/>
                <a:gd name="T70" fmla="*/ 988119 w 732"/>
                <a:gd name="T71" fmla="*/ 1438275 h 1418"/>
                <a:gd name="T72" fmla="*/ 1057023 w 732"/>
                <a:gd name="T73" fmla="*/ 1290637 h 1418"/>
                <a:gd name="T74" fmla="*/ 1007178 w 732"/>
                <a:gd name="T75" fmla="*/ 1233487 h 1418"/>
                <a:gd name="T76" fmla="*/ 869369 w 732"/>
                <a:gd name="T77" fmla="*/ 1220787 h 1418"/>
                <a:gd name="T78" fmla="*/ 734492 w 732"/>
                <a:gd name="T79" fmla="*/ 1244600 h 1418"/>
                <a:gd name="T80" fmla="*/ 683180 w 732"/>
                <a:gd name="T81" fmla="*/ 1247775 h 1418"/>
                <a:gd name="T82" fmla="*/ 604013 w 732"/>
                <a:gd name="T83" fmla="*/ 1171575 h 1418"/>
                <a:gd name="T84" fmla="*/ 612810 w 732"/>
                <a:gd name="T85" fmla="*/ 1057275 h 1418"/>
                <a:gd name="T86" fmla="*/ 527779 w 732"/>
                <a:gd name="T87" fmla="*/ 1019175 h 1418"/>
                <a:gd name="T88" fmla="*/ 488195 w 732"/>
                <a:gd name="T89" fmla="*/ 1060450 h 1418"/>
                <a:gd name="T90" fmla="*/ 398766 w 732"/>
                <a:gd name="T91" fmla="*/ 1060450 h 1418"/>
                <a:gd name="T92" fmla="*/ 385572 w 732"/>
                <a:gd name="T93" fmla="*/ 828675 h 1418"/>
                <a:gd name="T94" fmla="*/ 485263 w 732"/>
                <a:gd name="T95" fmla="*/ 769937 h 1418"/>
                <a:gd name="T96" fmla="*/ 475001 w 732"/>
                <a:gd name="T97" fmla="*/ 601662 h 1418"/>
                <a:gd name="T98" fmla="*/ 373843 w 732"/>
                <a:gd name="T99" fmla="*/ 542925 h 1418"/>
                <a:gd name="T100" fmla="*/ 376775 w 732"/>
                <a:gd name="T101" fmla="*/ 469900 h 1418"/>
                <a:gd name="T102" fmla="*/ 401698 w 732"/>
                <a:gd name="T103" fmla="*/ 296862 h 1418"/>
                <a:gd name="T104" fmla="*/ 520448 w 732"/>
                <a:gd name="T105" fmla="*/ 173037 h 1418"/>
                <a:gd name="T106" fmla="*/ 341590 w 732"/>
                <a:gd name="T107" fmla="*/ 173037 h 1418"/>
                <a:gd name="T108" fmla="*/ 300541 w 732"/>
                <a:gd name="T109" fmla="*/ 61913 h 1418"/>
                <a:gd name="T110" fmla="*/ 206713 w 732"/>
                <a:gd name="T111" fmla="*/ 171450 h 1418"/>
                <a:gd name="T112" fmla="*/ 149537 w 732"/>
                <a:gd name="T113" fmla="*/ 0 h 141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32"/>
                <a:gd name="T172" fmla="*/ 0 h 1418"/>
                <a:gd name="T173" fmla="*/ 732 w 732"/>
                <a:gd name="T174" fmla="*/ 1418 h 141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32" h="1418">
                  <a:moveTo>
                    <a:pt x="102" y="0"/>
                  </a:moveTo>
                  <a:lnTo>
                    <a:pt x="94" y="4"/>
                  </a:lnTo>
                  <a:lnTo>
                    <a:pt x="87" y="8"/>
                  </a:lnTo>
                  <a:lnTo>
                    <a:pt x="87" y="17"/>
                  </a:lnTo>
                  <a:lnTo>
                    <a:pt x="85" y="26"/>
                  </a:lnTo>
                  <a:lnTo>
                    <a:pt x="69" y="23"/>
                  </a:lnTo>
                  <a:lnTo>
                    <a:pt x="58" y="19"/>
                  </a:lnTo>
                  <a:lnTo>
                    <a:pt x="63" y="37"/>
                  </a:lnTo>
                  <a:lnTo>
                    <a:pt x="69" y="58"/>
                  </a:lnTo>
                  <a:lnTo>
                    <a:pt x="65" y="71"/>
                  </a:lnTo>
                  <a:lnTo>
                    <a:pt x="59" y="84"/>
                  </a:lnTo>
                  <a:lnTo>
                    <a:pt x="69" y="100"/>
                  </a:lnTo>
                  <a:lnTo>
                    <a:pt x="82" y="119"/>
                  </a:lnTo>
                  <a:lnTo>
                    <a:pt x="82" y="124"/>
                  </a:lnTo>
                  <a:lnTo>
                    <a:pt x="80" y="128"/>
                  </a:lnTo>
                  <a:lnTo>
                    <a:pt x="78" y="132"/>
                  </a:lnTo>
                  <a:lnTo>
                    <a:pt x="74" y="135"/>
                  </a:lnTo>
                  <a:lnTo>
                    <a:pt x="69" y="141"/>
                  </a:lnTo>
                  <a:lnTo>
                    <a:pt x="65" y="146"/>
                  </a:lnTo>
                  <a:lnTo>
                    <a:pt x="69" y="158"/>
                  </a:lnTo>
                  <a:lnTo>
                    <a:pt x="74" y="170"/>
                  </a:lnTo>
                  <a:lnTo>
                    <a:pt x="70" y="176"/>
                  </a:lnTo>
                  <a:lnTo>
                    <a:pt x="67" y="180"/>
                  </a:lnTo>
                  <a:lnTo>
                    <a:pt x="65" y="182"/>
                  </a:lnTo>
                  <a:lnTo>
                    <a:pt x="65" y="185"/>
                  </a:lnTo>
                  <a:lnTo>
                    <a:pt x="65" y="191"/>
                  </a:lnTo>
                  <a:lnTo>
                    <a:pt x="67" y="198"/>
                  </a:lnTo>
                  <a:lnTo>
                    <a:pt x="80" y="215"/>
                  </a:lnTo>
                  <a:lnTo>
                    <a:pt x="91" y="230"/>
                  </a:lnTo>
                  <a:lnTo>
                    <a:pt x="93" y="241"/>
                  </a:lnTo>
                  <a:lnTo>
                    <a:pt x="93" y="252"/>
                  </a:lnTo>
                  <a:lnTo>
                    <a:pt x="91" y="259"/>
                  </a:lnTo>
                  <a:lnTo>
                    <a:pt x="89" y="267"/>
                  </a:lnTo>
                  <a:lnTo>
                    <a:pt x="85" y="272"/>
                  </a:lnTo>
                  <a:lnTo>
                    <a:pt x="83" y="279"/>
                  </a:lnTo>
                  <a:lnTo>
                    <a:pt x="83" y="287"/>
                  </a:lnTo>
                  <a:lnTo>
                    <a:pt x="85" y="294"/>
                  </a:lnTo>
                  <a:lnTo>
                    <a:pt x="91" y="300"/>
                  </a:lnTo>
                  <a:lnTo>
                    <a:pt x="96" y="303"/>
                  </a:lnTo>
                  <a:lnTo>
                    <a:pt x="104" y="305"/>
                  </a:lnTo>
                  <a:lnTo>
                    <a:pt x="111" y="307"/>
                  </a:lnTo>
                  <a:lnTo>
                    <a:pt x="118" y="307"/>
                  </a:lnTo>
                  <a:lnTo>
                    <a:pt x="126" y="309"/>
                  </a:lnTo>
                  <a:lnTo>
                    <a:pt x="131" y="311"/>
                  </a:lnTo>
                  <a:lnTo>
                    <a:pt x="135" y="316"/>
                  </a:lnTo>
                  <a:lnTo>
                    <a:pt x="130" y="331"/>
                  </a:lnTo>
                  <a:lnTo>
                    <a:pt x="122" y="346"/>
                  </a:lnTo>
                  <a:lnTo>
                    <a:pt x="124" y="361"/>
                  </a:lnTo>
                  <a:lnTo>
                    <a:pt x="122" y="374"/>
                  </a:lnTo>
                  <a:lnTo>
                    <a:pt x="107" y="379"/>
                  </a:lnTo>
                  <a:lnTo>
                    <a:pt x="89" y="383"/>
                  </a:lnTo>
                  <a:lnTo>
                    <a:pt x="85" y="398"/>
                  </a:lnTo>
                  <a:lnTo>
                    <a:pt x="83" y="400"/>
                  </a:lnTo>
                  <a:lnTo>
                    <a:pt x="80" y="398"/>
                  </a:lnTo>
                  <a:lnTo>
                    <a:pt x="76" y="400"/>
                  </a:lnTo>
                  <a:lnTo>
                    <a:pt x="85" y="414"/>
                  </a:lnTo>
                  <a:lnTo>
                    <a:pt x="94" y="429"/>
                  </a:lnTo>
                  <a:lnTo>
                    <a:pt x="93" y="437"/>
                  </a:lnTo>
                  <a:lnTo>
                    <a:pt x="89" y="442"/>
                  </a:lnTo>
                  <a:lnTo>
                    <a:pt x="83" y="449"/>
                  </a:lnTo>
                  <a:lnTo>
                    <a:pt x="76" y="455"/>
                  </a:lnTo>
                  <a:lnTo>
                    <a:pt x="72" y="468"/>
                  </a:lnTo>
                  <a:lnTo>
                    <a:pt x="65" y="483"/>
                  </a:lnTo>
                  <a:lnTo>
                    <a:pt x="61" y="488"/>
                  </a:lnTo>
                  <a:lnTo>
                    <a:pt x="58" y="494"/>
                  </a:lnTo>
                  <a:lnTo>
                    <a:pt x="54" y="496"/>
                  </a:lnTo>
                  <a:lnTo>
                    <a:pt x="50" y="499"/>
                  </a:lnTo>
                  <a:lnTo>
                    <a:pt x="43" y="501"/>
                  </a:lnTo>
                  <a:lnTo>
                    <a:pt x="37" y="507"/>
                  </a:lnTo>
                  <a:lnTo>
                    <a:pt x="32" y="518"/>
                  </a:lnTo>
                  <a:lnTo>
                    <a:pt x="30" y="527"/>
                  </a:lnTo>
                  <a:lnTo>
                    <a:pt x="30" y="536"/>
                  </a:lnTo>
                  <a:lnTo>
                    <a:pt x="33" y="547"/>
                  </a:lnTo>
                  <a:lnTo>
                    <a:pt x="43" y="555"/>
                  </a:lnTo>
                  <a:lnTo>
                    <a:pt x="56" y="560"/>
                  </a:lnTo>
                  <a:lnTo>
                    <a:pt x="63" y="564"/>
                  </a:lnTo>
                  <a:lnTo>
                    <a:pt x="67" y="571"/>
                  </a:lnTo>
                  <a:lnTo>
                    <a:pt x="67" y="579"/>
                  </a:lnTo>
                  <a:lnTo>
                    <a:pt x="65" y="590"/>
                  </a:lnTo>
                  <a:lnTo>
                    <a:pt x="61" y="595"/>
                  </a:lnTo>
                  <a:lnTo>
                    <a:pt x="54" y="599"/>
                  </a:lnTo>
                  <a:lnTo>
                    <a:pt x="46" y="601"/>
                  </a:lnTo>
                  <a:lnTo>
                    <a:pt x="35" y="603"/>
                  </a:lnTo>
                  <a:lnTo>
                    <a:pt x="17" y="607"/>
                  </a:lnTo>
                  <a:lnTo>
                    <a:pt x="0" y="610"/>
                  </a:lnTo>
                  <a:lnTo>
                    <a:pt x="6" y="627"/>
                  </a:lnTo>
                  <a:lnTo>
                    <a:pt x="11" y="642"/>
                  </a:lnTo>
                  <a:lnTo>
                    <a:pt x="13" y="653"/>
                  </a:lnTo>
                  <a:lnTo>
                    <a:pt x="15" y="664"/>
                  </a:lnTo>
                  <a:lnTo>
                    <a:pt x="15" y="669"/>
                  </a:lnTo>
                  <a:lnTo>
                    <a:pt x="13" y="673"/>
                  </a:lnTo>
                  <a:lnTo>
                    <a:pt x="9" y="679"/>
                  </a:lnTo>
                  <a:lnTo>
                    <a:pt x="6" y="682"/>
                  </a:lnTo>
                  <a:lnTo>
                    <a:pt x="4" y="686"/>
                  </a:lnTo>
                  <a:lnTo>
                    <a:pt x="2" y="692"/>
                  </a:lnTo>
                  <a:lnTo>
                    <a:pt x="4" y="697"/>
                  </a:lnTo>
                  <a:lnTo>
                    <a:pt x="6" y="703"/>
                  </a:lnTo>
                  <a:lnTo>
                    <a:pt x="15" y="708"/>
                  </a:lnTo>
                  <a:lnTo>
                    <a:pt x="24" y="712"/>
                  </a:lnTo>
                  <a:lnTo>
                    <a:pt x="37" y="712"/>
                  </a:lnTo>
                  <a:lnTo>
                    <a:pt x="50" y="714"/>
                  </a:lnTo>
                  <a:lnTo>
                    <a:pt x="65" y="714"/>
                  </a:lnTo>
                  <a:lnTo>
                    <a:pt x="78" y="716"/>
                  </a:lnTo>
                  <a:lnTo>
                    <a:pt x="89" y="717"/>
                  </a:lnTo>
                  <a:lnTo>
                    <a:pt x="100" y="723"/>
                  </a:lnTo>
                  <a:lnTo>
                    <a:pt x="106" y="730"/>
                  </a:lnTo>
                  <a:lnTo>
                    <a:pt x="109" y="736"/>
                  </a:lnTo>
                  <a:lnTo>
                    <a:pt x="111" y="741"/>
                  </a:lnTo>
                  <a:lnTo>
                    <a:pt x="111" y="749"/>
                  </a:lnTo>
                  <a:lnTo>
                    <a:pt x="111" y="756"/>
                  </a:lnTo>
                  <a:lnTo>
                    <a:pt x="111" y="762"/>
                  </a:lnTo>
                  <a:lnTo>
                    <a:pt x="113" y="769"/>
                  </a:lnTo>
                  <a:lnTo>
                    <a:pt x="117" y="777"/>
                  </a:lnTo>
                  <a:lnTo>
                    <a:pt x="118" y="778"/>
                  </a:lnTo>
                  <a:lnTo>
                    <a:pt x="122" y="780"/>
                  </a:lnTo>
                  <a:lnTo>
                    <a:pt x="126" y="780"/>
                  </a:lnTo>
                  <a:lnTo>
                    <a:pt x="131" y="780"/>
                  </a:lnTo>
                  <a:lnTo>
                    <a:pt x="141" y="778"/>
                  </a:lnTo>
                  <a:lnTo>
                    <a:pt x="152" y="777"/>
                  </a:lnTo>
                  <a:lnTo>
                    <a:pt x="154" y="782"/>
                  </a:lnTo>
                  <a:lnTo>
                    <a:pt x="154" y="791"/>
                  </a:lnTo>
                  <a:lnTo>
                    <a:pt x="154" y="801"/>
                  </a:lnTo>
                  <a:lnTo>
                    <a:pt x="154" y="808"/>
                  </a:lnTo>
                  <a:lnTo>
                    <a:pt x="146" y="806"/>
                  </a:lnTo>
                  <a:lnTo>
                    <a:pt x="135" y="804"/>
                  </a:lnTo>
                  <a:lnTo>
                    <a:pt x="131" y="808"/>
                  </a:lnTo>
                  <a:lnTo>
                    <a:pt x="126" y="812"/>
                  </a:lnTo>
                  <a:lnTo>
                    <a:pt x="118" y="819"/>
                  </a:lnTo>
                  <a:lnTo>
                    <a:pt x="113" y="828"/>
                  </a:lnTo>
                  <a:lnTo>
                    <a:pt x="109" y="841"/>
                  </a:lnTo>
                  <a:lnTo>
                    <a:pt x="107" y="852"/>
                  </a:lnTo>
                  <a:lnTo>
                    <a:pt x="107" y="863"/>
                  </a:lnTo>
                  <a:lnTo>
                    <a:pt x="109" y="874"/>
                  </a:lnTo>
                  <a:lnTo>
                    <a:pt x="118" y="884"/>
                  </a:lnTo>
                  <a:lnTo>
                    <a:pt x="128" y="891"/>
                  </a:lnTo>
                  <a:lnTo>
                    <a:pt x="137" y="895"/>
                  </a:lnTo>
                  <a:lnTo>
                    <a:pt x="144" y="897"/>
                  </a:lnTo>
                  <a:lnTo>
                    <a:pt x="150" y="898"/>
                  </a:lnTo>
                  <a:lnTo>
                    <a:pt x="155" y="902"/>
                  </a:lnTo>
                  <a:lnTo>
                    <a:pt x="157" y="904"/>
                  </a:lnTo>
                  <a:lnTo>
                    <a:pt x="159" y="910"/>
                  </a:lnTo>
                  <a:lnTo>
                    <a:pt x="150" y="923"/>
                  </a:lnTo>
                  <a:lnTo>
                    <a:pt x="139" y="937"/>
                  </a:lnTo>
                  <a:lnTo>
                    <a:pt x="124" y="948"/>
                  </a:lnTo>
                  <a:lnTo>
                    <a:pt x="111" y="958"/>
                  </a:lnTo>
                  <a:lnTo>
                    <a:pt x="115" y="967"/>
                  </a:lnTo>
                  <a:lnTo>
                    <a:pt x="118" y="978"/>
                  </a:lnTo>
                  <a:lnTo>
                    <a:pt x="113" y="985"/>
                  </a:lnTo>
                  <a:lnTo>
                    <a:pt x="109" y="995"/>
                  </a:lnTo>
                  <a:lnTo>
                    <a:pt x="106" y="1004"/>
                  </a:lnTo>
                  <a:lnTo>
                    <a:pt x="106" y="1011"/>
                  </a:lnTo>
                  <a:lnTo>
                    <a:pt x="111" y="1017"/>
                  </a:lnTo>
                  <a:lnTo>
                    <a:pt x="120" y="1022"/>
                  </a:lnTo>
                  <a:lnTo>
                    <a:pt x="126" y="1026"/>
                  </a:lnTo>
                  <a:lnTo>
                    <a:pt x="130" y="1028"/>
                  </a:lnTo>
                  <a:lnTo>
                    <a:pt x="131" y="1033"/>
                  </a:lnTo>
                  <a:lnTo>
                    <a:pt x="133" y="1037"/>
                  </a:lnTo>
                  <a:lnTo>
                    <a:pt x="137" y="1043"/>
                  </a:lnTo>
                  <a:lnTo>
                    <a:pt x="142" y="1050"/>
                  </a:lnTo>
                  <a:lnTo>
                    <a:pt x="146" y="1056"/>
                  </a:lnTo>
                  <a:lnTo>
                    <a:pt x="146" y="1063"/>
                  </a:lnTo>
                  <a:lnTo>
                    <a:pt x="141" y="1072"/>
                  </a:lnTo>
                  <a:lnTo>
                    <a:pt x="133" y="1076"/>
                  </a:lnTo>
                  <a:lnTo>
                    <a:pt x="128" y="1078"/>
                  </a:lnTo>
                  <a:lnTo>
                    <a:pt x="120" y="1083"/>
                  </a:lnTo>
                  <a:lnTo>
                    <a:pt x="109" y="1093"/>
                  </a:lnTo>
                  <a:lnTo>
                    <a:pt x="100" y="1104"/>
                  </a:lnTo>
                  <a:lnTo>
                    <a:pt x="107" y="1122"/>
                  </a:lnTo>
                  <a:lnTo>
                    <a:pt x="117" y="1133"/>
                  </a:lnTo>
                  <a:lnTo>
                    <a:pt x="120" y="1137"/>
                  </a:lnTo>
                  <a:lnTo>
                    <a:pt x="124" y="1141"/>
                  </a:lnTo>
                  <a:lnTo>
                    <a:pt x="128" y="1142"/>
                  </a:lnTo>
                  <a:lnTo>
                    <a:pt x="133" y="1142"/>
                  </a:lnTo>
                  <a:lnTo>
                    <a:pt x="152" y="1129"/>
                  </a:lnTo>
                  <a:lnTo>
                    <a:pt x="161" y="1120"/>
                  </a:lnTo>
                  <a:lnTo>
                    <a:pt x="166" y="1124"/>
                  </a:lnTo>
                  <a:lnTo>
                    <a:pt x="174" y="1133"/>
                  </a:lnTo>
                  <a:lnTo>
                    <a:pt x="179" y="1135"/>
                  </a:lnTo>
                  <a:lnTo>
                    <a:pt x="187" y="1135"/>
                  </a:lnTo>
                  <a:lnTo>
                    <a:pt x="189" y="1135"/>
                  </a:lnTo>
                  <a:lnTo>
                    <a:pt x="192" y="1137"/>
                  </a:lnTo>
                  <a:lnTo>
                    <a:pt x="196" y="1139"/>
                  </a:lnTo>
                  <a:lnTo>
                    <a:pt x="198" y="1142"/>
                  </a:lnTo>
                  <a:lnTo>
                    <a:pt x="202" y="1150"/>
                  </a:lnTo>
                  <a:lnTo>
                    <a:pt x="203" y="1157"/>
                  </a:lnTo>
                  <a:lnTo>
                    <a:pt x="205" y="1168"/>
                  </a:lnTo>
                  <a:lnTo>
                    <a:pt x="207" y="1183"/>
                  </a:lnTo>
                  <a:lnTo>
                    <a:pt x="213" y="1203"/>
                  </a:lnTo>
                  <a:lnTo>
                    <a:pt x="218" y="1218"/>
                  </a:lnTo>
                  <a:lnTo>
                    <a:pt x="216" y="1231"/>
                  </a:lnTo>
                  <a:lnTo>
                    <a:pt x="209" y="1250"/>
                  </a:lnTo>
                  <a:lnTo>
                    <a:pt x="216" y="1274"/>
                  </a:lnTo>
                  <a:lnTo>
                    <a:pt x="224" y="1294"/>
                  </a:lnTo>
                  <a:lnTo>
                    <a:pt x="222" y="1298"/>
                  </a:lnTo>
                  <a:lnTo>
                    <a:pt x="218" y="1301"/>
                  </a:lnTo>
                  <a:lnTo>
                    <a:pt x="213" y="1303"/>
                  </a:lnTo>
                  <a:lnTo>
                    <a:pt x="205" y="1305"/>
                  </a:lnTo>
                  <a:lnTo>
                    <a:pt x="200" y="1307"/>
                  </a:lnTo>
                  <a:lnTo>
                    <a:pt x="196" y="1311"/>
                  </a:lnTo>
                  <a:lnTo>
                    <a:pt x="192" y="1318"/>
                  </a:lnTo>
                  <a:lnTo>
                    <a:pt x="192" y="1329"/>
                  </a:lnTo>
                  <a:lnTo>
                    <a:pt x="189" y="1329"/>
                  </a:lnTo>
                  <a:lnTo>
                    <a:pt x="183" y="1329"/>
                  </a:lnTo>
                  <a:lnTo>
                    <a:pt x="185" y="1336"/>
                  </a:lnTo>
                  <a:lnTo>
                    <a:pt x="187" y="1342"/>
                  </a:lnTo>
                  <a:lnTo>
                    <a:pt x="179" y="1342"/>
                  </a:lnTo>
                  <a:lnTo>
                    <a:pt x="172" y="1344"/>
                  </a:lnTo>
                  <a:lnTo>
                    <a:pt x="166" y="1346"/>
                  </a:lnTo>
                  <a:lnTo>
                    <a:pt x="161" y="1351"/>
                  </a:lnTo>
                  <a:lnTo>
                    <a:pt x="154" y="1362"/>
                  </a:lnTo>
                  <a:lnTo>
                    <a:pt x="146" y="1373"/>
                  </a:lnTo>
                  <a:lnTo>
                    <a:pt x="152" y="1388"/>
                  </a:lnTo>
                  <a:lnTo>
                    <a:pt x="157" y="1403"/>
                  </a:lnTo>
                  <a:lnTo>
                    <a:pt x="172" y="1399"/>
                  </a:lnTo>
                  <a:lnTo>
                    <a:pt x="192" y="1396"/>
                  </a:lnTo>
                  <a:lnTo>
                    <a:pt x="202" y="1403"/>
                  </a:lnTo>
                  <a:lnTo>
                    <a:pt x="209" y="1410"/>
                  </a:lnTo>
                  <a:lnTo>
                    <a:pt x="215" y="1414"/>
                  </a:lnTo>
                  <a:lnTo>
                    <a:pt x="218" y="1416"/>
                  </a:lnTo>
                  <a:lnTo>
                    <a:pt x="226" y="1418"/>
                  </a:lnTo>
                  <a:lnTo>
                    <a:pt x="233" y="1418"/>
                  </a:lnTo>
                  <a:lnTo>
                    <a:pt x="246" y="1414"/>
                  </a:lnTo>
                  <a:lnTo>
                    <a:pt x="257" y="1407"/>
                  </a:lnTo>
                  <a:lnTo>
                    <a:pt x="266" y="1401"/>
                  </a:lnTo>
                  <a:lnTo>
                    <a:pt x="277" y="1396"/>
                  </a:lnTo>
                  <a:lnTo>
                    <a:pt x="296" y="1383"/>
                  </a:lnTo>
                  <a:lnTo>
                    <a:pt x="314" y="1368"/>
                  </a:lnTo>
                  <a:lnTo>
                    <a:pt x="333" y="1353"/>
                  </a:lnTo>
                  <a:lnTo>
                    <a:pt x="349" y="1336"/>
                  </a:lnTo>
                  <a:lnTo>
                    <a:pt x="351" y="1314"/>
                  </a:lnTo>
                  <a:lnTo>
                    <a:pt x="353" y="1294"/>
                  </a:lnTo>
                  <a:lnTo>
                    <a:pt x="359" y="1290"/>
                  </a:lnTo>
                  <a:lnTo>
                    <a:pt x="362" y="1288"/>
                  </a:lnTo>
                  <a:lnTo>
                    <a:pt x="366" y="1288"/>
                  </a:lnTo>
                  <a:lnTo>
                    <a:pt x="370" y="1290"/>
                  </a:lnTo>
                  <a:lnTo>
                    <a:pt x="373" y="1292"/>
                  </a:lnTo>
                  <a:lnTo>
                    <a:pt x="379" y="1294"/>
                  </a:lnTo>
                  <a:lnTo>
                    <a:pt x="386" y="1294"/>
                  </a:lnTo>
                  <a:lnTo>
                    <a:pt x="394" y="1294"/>
                  </a:lnTo>
                  <a:lnTo>
                    <a:pt x="408" y="1294"/>
                  </a:lnTo>
                  <a:lnTo>
                    <a:pt x="423" y="1296"/>
                  </a:lnTo>
                  <a:lnTo>
                    <a:pt x="438" y="1296"/>
                  </a:lnTo>
                  <a:lnTo>
                    <a:pt x="445" y="1294"/>
                  </a:lnTo>
                  <a:lnTo>
                    <a:pt x="445" y="1290"/>
                  </a:lnTo>
                  <a:lnTo>
                    <a:pt x="444" y="1285"/>
                  </a:lnTo>
                  <a:lnTo>
                    <a:pt x="431" y="1266"/>
                  </a:lnTo>
                  <a:lnTo>
                    <a:pt x="416" y="1246"/>
                  </a:lnTo>
                  <a:lnTo>
                    <a:pt x="410" y="1237"/>
                  </a:lnTo>
                  <a:lnTo>
                    <a:pt x="407" y="1227"/>
                  </a:lnTo>
                  <a:lnTo>
                    <a:pt x="405" y="1220"/>
                  </a:lnTo>
                  <a:lnTo>
                    <a:pt x="407" y="1213"/>
                  </a:lnTo>
                  <a:lnTo>
                    <a:pt x="429" y="1203"/>
                  </a:lnTo>
                  <a:lnTo>
                    <a:pt x="449" y="1198"/>
                  </a:lnTo>
                  <a:lnTo>
                    <a:pt x="453" y="1192"/>
                  </a:lnTo>
                  <a:lnTo>
                    <a:pt x="455" y="1183"/>
                  </a:lnTo>
                  <a:lnTo>
                    <a:pt x="455" y="1174"/>
                  </a:lnTo>
                  <a:lnTo>
                    <a:pt x="457" y="1165"/>
                  </a:lnTo>
                  <a:lnTo>
                    <a:pt x="457" y="1157"/>
                  </a:lnTo>
                  <a:lnTo>
                    <a:pt x="458" y="1148"/>
                  </a:lnTo>
                  <a:lnTo>
                    <a:pt x="460" y="1146"/>
                  </a:lnTo>
                  <a:lnTo>
                    <a:pt x="464" y="1142"/>
                  </a:lnTo>
                  <a:lnTo>
                    <a:pt x="466" y="1141"/>
                  </a:lnTo>
                  <a:lnTo>
                    <a:pt x="471" y="1141"/>
                  </a:lnTo>
                  <a:lnTo>
                    <a:pt x="469" y="1124"/>
                  </a:lnTo>
                  <a:lnTo>
                    <a:pt x="473" y="1111"/>
                  </a:lnTo>
                  <a:lnTo>
                    <a:pt x="475" y="1105"/>
                  </a:lnTo>
                  <a:lnTo>
                    <a:pt x="479" y="1098"/>
                  </a:lnTo>
                  <a:lnTo>
                    <a:pt x="486" y="1091"/>
                  </a:lnTo>
                  <a:lnTo>
                    <a:pt x="495" y="1081"/>
                  </a:lnTo>
                  <a:lnTo>
                    <a:pt x="508" y="1070"/>
                  </a:lnTo>
                  <a:lnTo>
                    <a:pt x="516" y="1061"/>
                  </a:lnTo>
                  <a:lnTo>
                    <a:pt x="517" y="1048"/>
                  </a:lnTo>
                  <a:lnTo>
                    <a:pt x="517" y="1030"/>
                  </a:lnTo>
                  <a:lnTo>
                    <a:pt x="510" y="1022"/>
                  </a:lnTo>
                  <a:lnTo>
                    <a:pt x="503" y="1019"/>
                  </a:lnTo>
                  <a:lnTo>
                    <a:pt x="506" y="1015"/>
                  </a:lnTo>
                  <a:lnTo>
                    <a:pt x="508" y="1011"/>
                  </a:lnTo>
                  <a:lnTo>
                    <a:pt x="499" y="1008"/>
                  </a:lnTo>
                  <a:lnTo>
                    <a:pt x="492" y="1002"/>
                  </a:lnTo>
                  <a:lnTo>
                    <a:pt x="497" y="995"/>
                  </a:lnTo>
                  <a:lnTo>
                    <a:pt x="506" y="982"/>
                  </a:lnTo>
                  <a:lnTo>
                    <a:pt x="516" y="963"/>
                  </a:lnTo>
                  <a:lnTo>
                    <a:pt x="525" y="941"/>
                  </a:lnTo>
                  <a:lnTo>
                    <a:pt x="543" y="939"/>
                  </a:lnTo>
                  <a:lnTo>
                    <a:pt x="558" y="941"/>
                  </a:lnTo>
                  <a:lnTo>
                    <a:pt x="560" y="943"/>
                  </a:lnTo>
                  <a:lnTo>
                    <a:pt x="562" y="948"/>
                  </a:lnTo>
                  <a:lnTo>
                    <a:pt x="567" y="952"/>
                  </a:lnTo>
                  <a:lnTo>
                    <a:pt x="575" y="954"/>
                  </a:lnTo>
                  <a:lnTo>
                    <a:pt x="584" y="952"/>
                  </a:lnTo>
                  <a:lnTo>
                    <a:pt x="590" y="948"/>
                  </a:lnTo>
                  <a:lnTo>
                    <a:pt x="593" y="943"/>
                  </a:lnTo>
                  <a:lnTo>
                    <a:pt x="597" y="935"/>
                  </a:lnTo>
                  <a:lnTo>
                    <a:pt x="599" y="930"/>
                  </a:lnTo>
                  <a:lnTo>
                    <a:pt x="602" y="924"/>
                  </a:lnTo>
                  <a:lnTo>
                    <a:pt x="606" y="921"/>
                  </a:lnTo>
                  <a:lnTo>
                    <a:pt x="612" y="919"/>
                  </a:lnTo>
                  <a:lnTo>
                    <a:pt x="615" y="919"/>
                  </a:lnTo>
                  <a:lnTo>
                    <a:pt x="617" y="919"/>
                  </a:lnTo>
                  <a:lnTo>
                    <a:pt x="621" y="921"/>
                  </a:lnTo>
                  <a:lnTo>
                    <a:pt x="623" y="924"/>
                  </a:lnTo>
                  <a:lnTo>
                    <a:pt x="628" y="934"/>
                  </a:lnTo>
                  <a:lnTo>
                    <a:pt x="634" y="943"/>
                  </a:lnTo>
                  <a:lnTo>
                    <a:pt x="639" y="954"/>
                  </a:lnTo>
                  <a:lnTo>
                    <a:pt x="645" y="963"/>
                  </a:lnTo>
                  <a:lnTo>
                    <a:pt x="649" y="967"/>
                  </a:lnTo>
                  <a:lnTo>
                    <a:pt x="652" y="969"/>
                  </a:lnTo>
                  <a:lnTo>
                    <a:pt x="658" y="971"/>
                  </a:lnTo>
                  <a:lnTo>
                    <a:pt x="662" y="971"/>
                  </a:lnTo>
                  <a:lnTo>
                    <a:pt x="663" y="969"/>
                  </a:lnTo>
                  <a:lnTo>
                    <a:pt x="665" y="965"/>
                  </a:lnTo>
                  <a:lnTo>
                    <a:pt x="663" y="961"/>
                  </a:lnTo>
                  <a:lnTo>
                    <a:pt x="663" y="956"/>
                  </a:lnTo>
                  <a:lnTo>
                    <a:pt x="662" y="945"/>
                  </a:lnTo>
                  <a:lnTo>
                    <a:pt x="658" y="932"/>
                  </a:lnTo>
                  <a:lnTo>
                    <a:pt x="658" y="926"/>
                  </a:lnTo>
                  <a:lnTo>
                    <a:pt x="658" y="921"/>
                  </a:lnTo>
                  <a:lnTo>
                    <a:pt x="658" y="915"/>
                  </a:lnTo>
                  <a:lnTo>
                    <a:pt x="660" y="911"/>
                  </a:lnTo>
                  <a:lnTo>
                    <a:pt x="663" y="908"/>
                  </a:lnTo>
                  <a:lnTo>
                    <a:pt x="669" y="906"/>
                  </a:lnTo>
                  <a:lnTo>
                    <a:pt x="674" y="906"/>
                  </a:lnTo>
                  <a:lnTo>
                    <a:pt x="684" y="908"/>
                  </a:lnTo>
                  <a:lnTo>
                    <a:pt x="684" y="897"/>
                  </a:lnTo>
                  <a:lnTo>
                    <a:pt x="687" y="882"/>
                  </a:lnTo>
                  <a:lnTo>
                    <a:pt x="704" y="874"/>
                  </a:lnTo>
                  <a:lnTo>
                    <a:pt x="723" y="867"/>
                  </a:lnTo>
                  <a:lnTo>
                    <a:pt x="726" y="847"/>
                  </a:lnTo>
                  <a:lnTo>
                    <a:pt x="732" y="828"/>
                  </a:lnTo>
                  <a:lnTo>
                    <a:pt x="726" y="821"/>
                  </a:lnTo>
                  <a:lnTo>
                    <a:pt x="721" y="813"/>
                  </a:lnTo>
                  <a:lnTo>
                    <a:pt x="723" y="808"/>
                  </a:lnTo>
                  <a:lnTo>
                    <a:pt x="726" y="801"/>
                  </a:lnTo>
                  <a:lnTo>
                    <a:pt x="728" y="795"/>
                  </a:lnTo>
                  <a:lnTo>
                    <a:pt x="726" y="791"/>
                  </a:lnTo>
                  <a:lnTo>
                    <a:pt x="724" y="784"/>
                  </a:lnTo>
                  <a:lnTo>
                    <a:pt x="717" y="778"/>
                  </a:lnTo>
                  <a:lnTo>
                    <a:pt x="708" y="780"/>
                  </a:lnTo>
                  <a:lnTo>
                    <a:pt x="699" y="782"/>
                  </a:lnTo>
                  <a:lnTo>
                    <a:pt x="687" y="777"/>
                  </a:lnTo>
                  <a:lnTo>
                    <a:pt x="674" y="773"/>
                  </a:lnTo>
                  <a:lnTo>
                    <a:pt x="662" y="773"/>
                  </a:lnTo>
                  <a:lnTo>
                    <a:pt x="649" y="771"/>
                  </a:lnTo>
                  <a:lnTo>
                    <a:pt x="632" y="764"/>
                  </a:lnTo>
                  <a:lnTo>
                    <a:pt x="614" y="758"/>
                  </a:lnTo>
                  <a:lnTo>
                    <a:pt x="606" y="760"/>
                  </a:lnTo>
                  <a:lnTo>
                    <a:pt x="601" y="762"/>
                  </a:lnTo>
                  <a:lnTo>
                    <a:pt x="597" y="765"/>
                  </a:lnTo>
                  <a:lnTo>
                    <a:pt x="593" y="769"/>
                  </a:lnTo>
                  <a:lnTo>
                    <a:pt x="588" y="775"/>
                  </a:lnTo>
                  <a:lnTo>
                    <a:pt x="582" y="778"/>
                  </a:lnTo>
                  <a:lnTo>
                    <a:pt x="569" y="778"/>
                  </a:lnTo>
                  <a:lnTo>
                    <a:pt x="549" y="777"/>
                  </a:lnTo>
                  <a:lnTo>
                    <a:pt x="527" y="775"/>
                  </a:lnTo>
                  <a:lnTo>
                    <a:pt x="506" y="775"/>
                  </a:lnTo>
                  <a:lnTo>
                    <a:pt x="503" y="778"/>
                  </a:lnTo>
                  <a:lnTo>
                    <a:pt x="503" y="780"/>
                  </a:lnTo>
                  <a:lnTo>
                    <a:pt x="501" y="784"/>
                  </a:lnTo>
                  <a:lnTo>
                    <a:pt x="503" y="786"/>
                  </a:lnTo>
                  <a:lnTo>
                    <a:pt x="505" y="789"/>
                  </a:lnTo>
                  <a:lnTo>
                    <a:pt x="503" y="793"/>
                  </a:lnTo>
                  <a:lnTo>
                    <a:pt x="493" y="795"/>
                  </a:lnTo>
                  <a:lnTo>
                    <a:pt x="486" y="797"/>
                  </a:lnTo>
                  <a:lnTo>
                    <a:pt x="481" y="795"/>
                  </a:lnTo>
                  <a:lnTo>
                    <a:pt x="477" y="793"/>
                  </a:lnTo>
                  <a:lnTo>
                    <a:pt x="473" y="788"/>
                  </a:lnTo>
                  <a:lnTo>
                    <a:pt x="466" y="786"/>
                  </a:lnTo>
                  <a:lnTo>
                    <a:pt x="457" y="789"/>
                  </a:lnTo>
                  <a:lnTo>
                    <a:pt x="445" y="793"/>
                  </a:lnTo>
                  <a:lnTo>
                    <a:pt x="438" y="789"/>
                  </a:lnTo>
                  <a:lnTo>
                    <a:pt x="431" y="784"/>
                  </a:lnTo>
                  <a:lnTo>
                    <a:pt x="423" y="780"/>
                  </a:lnTo>
                  <a:lnTo>
                    <a:pt x="420" y="771"/>
                  </a:lnTo>
                  <a:lnTo>
                    <a:pt x="416" y="762"/>
                  </a:lnTo>
                  <a:lnTo>
                    <a:pt x="414" y="749"/>
                  </a:lnTo>
                  <a:lnTo>
                    <a:pt x="412" y="738"/>
                  </a:lnTo>
                  <a:lnTo>
                    <a:pt x="410" y="727"/>
                  </a:lnTo>
                  <a:lnTo>
                    <a:pt x="418" y="717"/>
                  </a:lnTo>
                  <a:lnTo>
                    <a:pt x="425" y="710"/>
                  </a:lnTo>
                  <a:lnTo>
                    <a:pt x="429" y="706"/>
                  </a:lnTo>
                  <a:lnTo>
                    <a:pt x="431" y="701"/>
                  </a:lnTo>
                  <a:lnTo>
                    <a:pt x="431" y="692"/>
                  </a:lnTo>
                  <a:lnTo>
                    <a:pt x="429" y="682"/>
                  </a:lnTo>
                  <a:lnTo>
                    <a:pt x="423" y="673"/>
                  </a:lnTo>
                  <a:lnTo>
                    <a:pt x="418" y="666"/>
                  </a:lnTo>
                  <a:lnTo>
                    <a:pt x="410" y="662"/>
                  </a:lnTo>
                  <a:lnTo>
                    <a:pt x="401" y="660"/>
                  </a:lnTo>
                  <a:lnTo>
                    <a:pt x="386" y="660"/>
                  </a:lnTo>
                  <a:lnTo>
                    <a:pt x="373" y="662"/>
                  </a:lnTo>
                  <a:lnTo>
                    <a:pt x="366" y="660"/>
                  </a:lnTo>
                  <a:lnTo>
                    <a:pt x="362" y="656"/>
                  </a:lnTo>
                  <a:lnTo>
                    <a:pt x="360" y="651"/>
                  </a:lnTo>
                  <a:lnTo>
                    <a:pt x="360" y="645"/>
                  </a:lnTo>
                  <a:lnTo>
                    <a:pt x="360" y="642"/>
                  </a:lnTo>
                  <a:lnTo>
                    <a:pt x="359" y="638"/>
                  </a:lnTo>
                  <a:lnTo>
                    <a:pt x="357" y="636"/>
                  </a:lnTo>
                  <a:lnTo>
                    <a:pt x="353" y="634"/>
                  </a:lnTo>
                  <a:lnTo>
                    <a:pt x="349" y="634"/>
                  </a:lnTo>
                  <a:lnTo>
                    <a:pt x="348" y="634"/>
                  </a:lnTo>
                  <a:lnTo>
                    <a:pt x="346" y="638"/>
                  </a:lnTo>
                  <a:lnTo>
                    <a:pt x="344" y="640"/>
                  </a:lnTo>
                  <a:lnTo>
                    <a:pt x="340" y="653"/>
                  </a:lnTo>
                  <a:lnTo>
                    <a:pt x="333" y="668"/>
                  </a:lnTo>
                  <a:lnTo>
                    <a:pt x="325" y="673"/>
                  </a:lnTo>
                  <a:lnTo>
                    <a:pt x="318" y="680"/>
                  </a:lnTo>
                  <a:lnTo>
                    <a:pt x="309" y="686"/>
                  </a:lnTo>
                  <a:lnTo>
                    <a:pt x="296" y="690"/>
                  </a:lnTo>
                  <a:lnTo>
                    <a:pt x="292" y="690"/>
                  </a:lnTo>
                  <a:lnTo>
                    <a:pt x="287" y="686"/>
                  </a:lnTo>
                  <a:lnTo>
                    <a:pt x="283" y="682"/>
                  </a:lnTo>
                  <a:lnTo>
                    <a:pt x="279" y="679"/>
                  </a:lnTo>
                  <a:lnTo>
                    <a:pt x="272" y="668"/>
                  </a:lnTo>
                  <a:lnTo>
                    <a:pt x="266" y="653"/>
                  </a:lnTo>
                  <a:lnTo>
                    <a:pt x="263" y="634"/>
                  </a:lnTo>
                  <a:lnTo>
                    <a:pt x="263" y="618"/>
                  </a:lnTo>
                  <a:lnTo>
                    <a:pt x="263" y="599"/>
                  </a:lnTo>
                  <a:lnTo>
                    <a:pt x="266" y="581"/>
                  </a:lnTo>
                  <a:lnTo>
                    <a:pt x="255" y="553"/>
                  </a:lnTo>
                  <a:lnTo>
                    <a:pt x="248" y="536"/>
                  </a:lnTo>
                  <a:lnTo>
                    <a:pt x="253" y="527"/>
                  </a:lnTo>
                  <a:lnTo>
                    <a:pt x="263" y="522"/>
                  </a:lnTo>
                  <a:lnTo>
                    <a:pt x="272" y="518"/>
                  </a:lnTo>
                  <a:lnTo>
                    <a:pt x="283" y="514"/>
                  </a:lnTo>
                  <a:lnTo>
                    <a:pt x="307" y="514"/>
                  </a:lnTo>
                  <a:lnTo>
                    <a:pt x="329" y="512"/>
                  </a:lnTo>
                  <a:lnTo>
                    <a:pt x="331" y="507"/>
                  </a:lnTo>
                  <a:lnTo>
                    <a:pt x="333" y="503"/>
                  </a:lnTo>
                  <a:lnTo>
                    <a:pt x="333" y="498"/>
                  </a:lnTo>
                  <a:lnTo>
                    <a:pt x="333" y="494"/>
                  </a:lnTo>
                  <a:lnTo>
                    <a:pt x="331" y="485"/>
                  </a:lnTo>
                  <a:lnTo>
                    <a:pt x="329" y="475"/>
                  </a:lnTo>
                  <a:lnTo>
                    <a:pt x="333" y="451"/>
                  </a:lnTo>
                  <a:lnTo>
                    <a:pt x="338" y="427"/>
                  </a:lnTo>
                  <a:lnTo>
                    <a:pt x="340" y="414"/>
                  </a:lnTo>
                  <a:lnTo>
                    <a:pt x="340" y="405"/>
                  </a:lnTo>
                  <a:lnTo>
                    <a:pt x="338" y="396"/>
                  </a:lnTo>
                  <a:lnTo>
                    <a:pt x="336" y="390"/>
                  </a:lnTo>
                  <a:lnTo>
                    <a:pt x="329" y="383"/>
                  </a:lnTo>
                  <a:lnTo>
                    <a:pt x="324" y="379"/>
                  </a:lnTo>
                  <a:lnTo>
                    <a:pt x="314" y="376"/>
                  </a:lnTo>
                  <a:lnTo>
                    <a:pt x="307" y="372"/>
                  </a:lnTo>
                  <a:lnTo>
                    <a:pt x="298" y="368"/>
                  </a:lnTo>
                  <a:lnTo>
                    <a:pt x="288" y="363"/>
                  </a:lnTo>
                  <a:lnTo>
                    <a:pt x="279" y="355"/>
                  </a:lnTo>
                  <a:lnTo>
                    <a:pt x="272" y="346"/>
                  </a:lnTo>
                  <a:lnTo>
                    <a:pt x="266" y="344"/>
                  </a:lnTo>
                  <a:lnTo>
                    <a:pt x="259" y="342"/>
                  </a:lnTo>
                  <a:lnTo>
                    <a:pt x="255" y="342"/>
                  </a:lnTo>
                  <a:lnTo>
                    <a:pt x="251" y="339"/>
                  </a:lnTo>
                  <a:lnTo>
                    <a:pt x="248" y="335"/>
                  </a:lnTo>
                  <a:lnTo>
                    <a:pt x="244" y="329"/>
                  </a:lnTo>
                  <a:lnTo>
                    <a:pt x="242" y="324"/>
                  </a:lnTo>
                  <a:lnTo>
                    <a:pt x="244" y="320"/>
                  </a:lnTo>
                  <a:lnTo>
                    <a:pt x="246" y="316"/>
                  </a:lnTo>
                  <a:lnTo>
                    <a:pt x="248" y="311"/>
                  </a:lnTo>
                  <a:lnTo>
                    <a:pt x="255" y="303"/>
                  </a:lnTo>
                  <a:lnTo>
                    <a:pt x="257" y="296"/>
                  </a:lnTo>
                  <a:lnTo>
                    <a:pt x="250" y="281"/>
                  </a:lnTo>
                  <a:lnTo>
                    <a:pt x="240" y="268"/>
                  </a:lnTo>
                  <a:lnTo>
                    <a:pt x="242" y="257"/>
                  </a:lnTo>
                  <a:lnTo>
                    <a:pt x="248" y="248"/>
                  </a:lnTo>
                  <a:lnTo>
                    <a:pt x="251" y="233"/>
                  </a:lnTo>
                  <a:lnTo>
                    <a:pt x="253" y="220"/>
                  </a:lnTo>
                  <a:lnTo>
                    <a:pt x="257" y="207"/>
                  </a:lnTo>
                  <a:lnTo>
                    <a:pt x="263" y="198"/>
                  </a:lnTo>
                  <a:lnTo>
                    <a:pt x="274" y="187"/>
                  </a:lnTo>
                  <a:lnTo>
                    <a:pt x="285" y="180"/>
                  </a:lnTo>
                  <a:lnTo>
                    <a:pt x="298" y="174"/>
                  </a:lnTo>
                  <a:lnTo>
                    <a:pt x="311" y="169"/>
                  </a:lnTo>
                  <a:lnTo>
                    <a:pt x="322" y="161"/>
                  </a:lnTo>
                  <a:lnTo>
                    <a:pt x="333" y="148"/>
                  </a:lnTo>
                  <a:lnTo>
                    <a:pt x="338" y="141"/>
                  </a:lnTo>
                  <a:lnTo>
                    <a:pt x="344" y="132"/>
                  </a:lnTo>
                  <a:lnTo>
                    <a:pt x="349" y="122"/>
                  </a:lnTo>
                  <a:lnTo>
                    <a:pt x="355" y="109"/>
                  </a:lnTo>
                  <a:lnTo>
                    <a:pt x="344" y="115"/>
                  </a:lnTo>
                  <a:lnTo>
                    <a:pt x="333" y="119"/>
                  </a:lnTo>
                  <a:lnTo>
                    <a:pt x="309" y="115"/>
                  </a:lnTo>
                  <a:lnTo>
                    <a:pt x="287" y="111"/>
                  </a:lnTo>
                  <a:lnTo>
                    <a:pt x="264" y="115"/>
                  </a:lnTo>
                  <a:lnTo>
                    <a:pt x="246" y="119"/>
                  </a:lnTo>
                  <a:lnTo>
                    <a:pt x="240" y="117"/>
                  </a:lnTo>
                  <a:lnTo>
                    <a:pt x="237" y="115"/>
                  </a:lnTo>
                  <a:lnTo>
                    <a:pt x="233" y="109"/>
                  </a:lnTo>
                  <a:lnTo>
                    <a:pt x="231" y="104"/>
                  </a:lnTo>
                  <a:lnTo>
                    <a:pt x="226" y="93"/>
                  </a:lnTo>
                  <a:lnTo>
                    <a:pt x="224" y="78"/>
                  </a:lnTo>
                  <a:lnTo>
                    <a:pt x="220" y="65"/>
                  </a:lnTo>
                  <a:lnTo>
                    <a:pt x="216" y="52"/>
                  </a:lnTo>
                  <a:lnTo>
                    <a:pt x="215" y="47"/>
                  </a:lnTo>
                  <a:lnTo>
                    <a:pt x="211" y="43"/>
                  </a:lnTo>
                  <a:lnTo>
                    <a:pt x="209" y="41"/>
                  </a:lnTo>
                  <a:lnTo>
                    <a:pt x="205" y="39"/>
                  </a:lnTo>
                  <a:lnTo>
                    <a:pt x="198" y="41"/>
                  </a:lnTo>
                  <a:lnTo>
                    <a:pt x="191" y="45"/>
                  </a:lnTo>
                  <a:lnTo>
                    <a:pt x="183" y="50"/>
                  </a:lnTo>
                  <a:lnTo>
                    <a:pt x="179" y="58"/>
                  </a:lnTo>
                  <a:lnTo>
                    <a:pt x="172" y="73"/>
                  </a:lnTo>
                  <a:lnTo>
                    <a:pt x="161" y="89"/>
                  </a:lnTo>
                  <a:lnTo>
                    <a:pt x="152" y="104"/>
                  </a:lnTo>
                  <a:lnTo>
                    <a:pt x="146" y="111"/>
                  </a:lnTo>
                  <a:lnTo>
                    <a:pt x="141" y="108"/>
                  </a:lnTo>
                  <a:lnTo>
                    <a:pt x="137" y="98"/>
                  </a:lnTo>
                  <a:lnTo>
                    <a:pt x="135" y="87"/>
                  </a:lnTo>
                  <a:lnTo>
                    <a:pt x="131" y="76"/>
                  </a:lnTo>
                  <a:lnTo>
                    <a:pt x="120" y="60"/>
                  </a:lnTo>
                  <a:lnTo>
                    <a:pt x="107" y="43"/>
                  </a:lnTo>
                  <a:lnTo>
                    <a:pt x="113" y="28"/>
                  </a:lnTo>
                  <a:lnTo>
                    <a:pt x="117" y="19"/>
                  </a:lnTo>
                  <a:lnTo>
                    <a:pt x="109" y="10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auto">
            <a:xfrm>
              <a:off x="5396437" y="5355526"/>
              <a:ext cx="414030" cy="722671"/>
            </a:xfrm>
            <a:custGeom>
              <a:avLst/>
              <a:gdLst>
                <a:gd name="T0" fmla="*/ 268541 w 238"/>
                <a:gd name="T1" fmla="*/ 220663 h 384"/>
                <a:gd name="T2" fmla="*/ 265606 w 238"/>
                <a:gd name="T3" fmla="*/ 241300 h 384"/>
                <a:gd name="T4" fmla="*/ 278813 w 238"/>
                <a:gd name="T5" fmla="*/ 276225 h 384"/>
                <a:gd name="T6" fmla="*/ 252399 w 238"/>
                <a:gd name="T7" fmla="*/ 314325 h 384"/>
                <a:gd name="T8" fmla="*/ 256801 w 238"/>
                <a:gd name="T9" fmla="*/ 339725 h 384"/>
                <a:gd name="T10" fmla="*/ 265606 w 238"/>
                <a:gd name="T11" fmla="*/ 339725 h 384"/>
                <a:gd name="T12" fmla="*/ 297890 w 238"/>
                <a:gd name="T13" fmla="*/ 346075 h 384"/>
                <a:gd name="T14" fmla="*/ 275878 w 238"/>
                <a:gd name="T15" fmla="*/ 390525 h 384"/>
                <a:gd name="T16" fmla="*/ 240660 w 238"/>
                <a:gd name="T17" fmla="*/ 422275 h 384"/>
                <a:gd name="T18" fmla="*/ 246529 w 238"/>
                <a:gd name="T19" fmla="*/ 484188 h 384"/>
                <a:gd name="T20" fmla="*/ 259736 w 238"/>
                <a:gd name="T21" fmla="*/ 536575 h 384"/>
                <a:gd name="T22" fmla="*/ 236257 w 238"/>
                <a:gd name="T23" fmla="*/ 581025 h 384"/>
                <a:gd name="T24" fmla="*/ 202506 w 238"/>
                <a:gd name="T25" fmla="*/ 604838 h 384"/>
                <a:gd name="T26" fmla="*/ 189299 w 238"/>
                <a:gd name="T27" fmla="*/ 601663 h 384"/>
                <a:gd name="T28" fmla="*/ 195169 w 238"/>
                <a:gd name="T29" fmla="*/ 577850 h 384"/>
                <a:gd name="T30" fmla="*/ 179027 w 238"/>
                <a:gd name="T31" fmla="*/ 569913 h 384"/>
                <a:gd name="T32" fmla="*/ 151146 w 238"/>
                <a:gd name="T33" fmla="*/ 554038 h 384"/>
                <a:gd name="T34" fmla="*/ 143809 w 238"/>
                <a:gd name="T35" fmla="*/ 569913 h 384"/>
                <a:gd name="T36" fmla="*/ 127667 w 238"/>
                <a:gd name="T37" fmla="*/ 566738 h 384"/>
                <a:gd name="T38" fmla="*/ 112993 w 238"/>
                <a:gd name="T39" fmla="*/ 546100 h 384"/>
                <a:gd name="T40" fmla="*/ 111525 w 238"/>
                <a:gd name="T41" fmla="*/ 531813 h 384"/>
                <a:gd name="T42" fmla="*/ 102721 w 238"/>
                <a:gd name="T43" fmla="*/ 490538 h 384"/>
                <a:gd name="T44" fmla="*/ 92449 w 238"/>
                <a:gd name="T45" fmla="*/ 457200 h 384"/>
                <a:gd name="T46" fmla="*/ 105655 w 238"/>
                <a:gd name="T47" fmla="*/ 428625 h 384"/>
                <a:gd name="T48" fmla="*/ 89514 w 238"/>
                <a:gd name="T49" fmla="*/ 381000 h 384"/>
                <a:gd name="T50" fmla="*/ 60165 w 238"/>
                <a:gd name="T51" fmla="*/ 334962 h 384"/>
                <a:gd name="T52" fmla="*/ 22012 w 238"/>
                <a:gd name="T53" fmla="*/ 290513 h 384"/>
                <a:gd name="T54" fmla="*/ 2935 w 238"/>
                <a:gd name="T55" fmla="*/ 261938 h 384"/>
                <a:gd name="T56" fmla="*/ 7337 w 238"/>
                <a:gd name="T57" fmla="*/ 196850 h 384"/>
                <a:gd name="T58" fmla="*/ 19077 w 238"/>
                <a:gd name="T59" fmla="*/ 127000 h 384"/>
                <a:gd name="T60" fmla="*/ 10272 w 238"/>
                <a:gd name="T61" fmla="*/ 82550 h 384"/>
                <a:gd name="T62" fmla="*/ 13207 w 238"/>
                <a:gd name="T63" fmla="*/ 58738 h 384"/>
                <a:gd name="T64" fmla="*/ 60165 w 238"/>
                <a:gd name="T65" fmla="*/ 41275 h 384"/>
                <a:gd name="T66" fmla="*/ 102721 w 238"/>
                <a:gd name="T67" fmla="*/ 30163 h 384"/>
                <a:gd name="T68" fmla="*/ 146744 w 238"/>
                <a:gd name="T69" fmla="*/ 0 h 384"/>
                <a:gd name="T70" fmla="*/ 205441 w 238"/>
                <a:gd name="T71" fmla="*/ 9525 h 384"/>
                <a:gd name="T72" fmla="*/ 246529 w 238"/>
                <a:gd name="T73" fmla="*/ 30163 h 384"/>
                <a:gd name="T74" fmla="*/ 297890 w 238"/>
                <a:gd name="T75" fmla="*/ 20637 h 384"/>
                <a:gd name="T76" fmla="*/ 290553 w 238"/>
                <a:gd name="T77" fmla="*/ 55563 h 384"/>
                <a:gd name="T78" fmla="*/ 319901 w 238"/>
                <a:gd name="T79" fmla="*/ 79375 h 384"/>
                <a:gd name="T80" fmla="*/ 330173 w 238"/>
                <a:gd name="T81" fmla="*/ 96837 h 384"/>
                <a:gd name="T82" fmla="*/ 349250 w 238"/>
                <a:gd name="T83" fmla="*/ 127000 h 384"/>
                <a:gd name="T84" fmla="*/ 330173 w 238"/>
                <a:gd name="T85" fmla="*/ 158750 h 384"/>
                <a:gd name="T86" fmla="*/ 294955 w 238"/>
                <a:gd name="T87" fmla="*/ 185737 h 384"/>
                <a:gd name="T88" fmla="*/ 281748 w 238"/>
                <a:gd name="T89" fmla="*/ 203200 h 38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38"/>
                <a:gd name="T136" fmla="*/ 0 h 384"/>
                <a:gd name="T137" fmla="*/ 238 w 238"/>
                <a:gd name="T138" fmla="*/ 384 h 38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38" h="384">
                  <a:moveTo>
                    <a:pt x="192" y="128"/>
                  </a:moveTo>
                  <a:lnTo>
                    <a:pt x="186" y="133"/>
                  </a:lnTo>
                  <a:lnTo>
                    <a:pt x="183" y="139"/>
                  </a:lnTo>
                  <a:lnTo>
                    <a:pt x="181" y="142"/>
                  </a:lnTo>
                  <a:lnTo>
                    <a:pt x="181" y="148"/>
                  </a:lnTo>
                  <a:lnTo>
                    <a:pt x="181" y="152"/>
                  </a:lnTo>
                  <a:lnTo>
                    <a:pt x="183" y="157"/>
                  </a:lnTo>
                  <a:lnTo>
                    <a:pt x="188" y="166"/>
                  </a:lnTo>
                  <a:lnTo>
                    <a:pt x="190" y="174"/>
                  </a:lnTo>
                  <a:lnTo>
                    <a:pt x="183" y="183"/>
                  </a:lnTo>
                  <a:lnTo>
                    <a:pt x="174" y="194"/>
                  </a:lnTo>
                  <a:lnTo>
                    <a:pt x="172" y="198"/>
                  </a:lnTo>
                  <a:lnTo>
                    <a:pt x="170" y="203"/>
                  </a:lnTo>
                  <a:lnTo>
                    <a:pt x="172" y="209"/>
                  </a:lnTo>
                  <a:lnTo>
                    <a:pt x="175" y="214"/>
                  </a:lnTo>
                  <a:lnTo>
                    <a:pt x="177" y="216"/>
                  </a:lnTo>
                  <a:lnTo>
                    <a:pt x="179" y="216"/>
                  </a:lnTo>
                  <a:lnTo>
                    <a:pt x="181" y="214"/>
                  </a:lnTo>
                  <a:lnTo>
                    <a:pt x="183" y="211"/>
                  </a:lnTo>
                  <a:lnTo>
                    <a:pt x="188" y="214"/>
                  </a:lnTo>
                  <a:lnTo>
                    <a:pt x="203" y="218"/>
                  </a:lnTo>
                  <a:lnTo>
                    <a:pt x="199" y="224"/>
                  </a:lnTo>
                  <a:lnTo>
                    <a:pt x="192" y="233"/>
                  </a:lnTo>
                  <a:lnTo>
                    <a:pt x="188" y="246"/>
                  </a:lnTo>
                  <a:lnTo>
                    <a:pt x="188" y="253"/>
                  </a:lnTo>
                  <a:lnTo>
                    <a:pt x="177" y="259"/>
                  </a:lnTo>
                  <a:lnTo>
                    <a:pt x="164" y="266"/>
                  </a:lnTo>
                  <a:lnTo>
                    <a:pt x="168" y="279"/>
                  </a:lnTo>
                  <a:lnTo>
                    <a:pt x="175" y="292"/>
                  </a:lnTo>
                  <a:lnTo>
                    <a:pt x="168" y="305"/>
                  </a:lnTo>
                  <a:lnTo>
                    <a:pt x="161" y="318"/>
                  </a:lnTo>
                  <a:lnTo>
                    <a:pt x="170" y="327"/>
                  </a:lnTo>
                  <a:lnTo>
                    <a:pt x="177" y="338"/>
                  </a:lnTo>
                  <a:lnTo>
                    <a:pt x="172" y="349"/>
                  </a:lnTo>
                  <a:lnTo>
                    <a:pt x="168" y="359"/>
                  </a:lnTo>
                  <a:lnTo>
                    <a:pt x="161" y="366"/>
                  </a:lnTo>
                  <a:lnTo>
                    <a:pt x="155" y="372"/>
                  </a:lnTo>
                  <a:lnTo>
                    <a:pt x="148" y="377"/>
                  </a:lnTo>
                  <a:lnTo>
                    <a:pt x="138" y="381"/>
                  </a:lnTo>
                  <a:lnTo>
                    <a:pt x="131" y="383"/>
                  </a:lnTo>
                  <a:lnTo>
                    <a:pt x="122" y="384"/>
                  </a:lnTo>
                  <a:lnTo>
                    <a:pt x="129" y="379"/>
                  </a:lnTo>
                  <a:lnTo>
                    <a:pt x="133" y="373"/>
                  </a:lnTo>
                  <a:lnTo>
                    <a:pt x="133" y="370"/>
                  </a:lnTo>
                  <a:lnTo>
                    <a:pt x="133" y="364"/>
                  </a:lnTo>
                  <a:lnTo>
                    <a:pt x="131" y="360"/>
                  </a:lnTo>
                  <a:lnTo>
                    <a:pt x="125" y="359"/>
                  </a:lnTo>
                  <a:lnTo>
                    <a:pt x="122" y="359"/>
                  </a:lnTo>
                  <a:lnTo>
                    <a:pt x="116" y="357"/>
                  </a:lnTo>
                  <a:lnTo>
                    <a:pt x="109" y="351"/>
                  </a:lnTo>
                  <a:lnTo>
                    <a:pt x="103" y="349"/>
                  </a:lnTo>
                  <a:lnTo>
                    <a:pt x="101" y="351"/>
                  </a:lnTo>
                  <a:lnTo>
                    <a:pt x="100" y="357"/>
                  </a:lnTo>
                  <a:lnTo>
                    <a:pt x="98" y="359"/>
                  </a:lnTo>
                  <a:lnTo>
                    <a:pt x="96" y="359"/>
                  </a:lnTo>
                  <a:lnTo>
                    <a:pt x="92" y="359"/>
                  </a:lnTo>
                  <a:lnTo>
                    <a:pt x="87" y="357"/>
                  </a:lnTo>
                  <a:lnTo>
                    <a:pt x="81" y="353"/>
                  </a:lnTo>
                  <a:lnTo>
                    <a:pt x="79" y="347"/>
                  </a:lnTo>
                  <a:lnTo>
                    <a:pt x="77" y="344"/>
                  </a:lnTo>
                  <a:lnTo>
                    <a:pt x="77" y="338"/>
                  </a:lnTo>
                  <a:lnTo>
                    <a:pt x="77" y="336"/>
                  </a:lnTo>
                  <a:lnTo>
                    <a:pt x="76" y="335"/>
                  </a:lnTo>
                  <a:lnTo>
                    <a:pt x="70" y="329"/>
                  </a:lnTo>
                  <a:lnTo>
                    <a:pt x="65" y="320"/>
                  </a:lnTo>
                  <a:lnTo>
                    <a:pt x="70" y="309"/>
                  </a:lnTo>
                  <a:lnTo>
                    <a:pt x="76" y="303"/>
                  </a:lnTo>
                  <a:lnTo>
                    <a:pt x="68" y="296"/>
                  </a:lnTo>
                  <a:lnTo>
                    <a:pt x="63" y="288"/>
                  </a:lnTo>
                  <a:lnTo>
                    <a:pt x="72" y="283"/>
                  </a:lnTo>
                  <a:lnTo>
                    <a:pt x="81" y="277"/>
                  </a:lnTo>
                  <a:lnTo>
                    <a:pt x="72" y="270"/>
                  </a:lnTo>
                  <a:lnTo>
                    <a:pt x="61" y="261"/>
                  </a:lnTo>
                  <a:lnTo>
                    <a:pt x="61" y="251"/>
                  </a:lnTo>
                  <a:lnTo>
                    <a:pt x="61" y="240"/>
                  </a:lnTo>
                  <a:lnTo>
                    <a:pt x="52" y="235"/>
                  </a:lnTo>
                  <a:lnTo>
                    <a:pt x="44" y="227"/>
                  </a:lnTo>
                  <a:lnTo>
                    <a:pt x="41" y="211"/>
                  </a:lnTo>
                  <a:lnTo>
                    <a:pt x="33" y="198"/>
                  </a:lnTo>
                  <a:lnTo>
                    <a:pt x="24" y="190"/>
                  </a:lnTo>
                  <a:lnTo>
                    <a:pt x="15" y="183"/>
                  </a:lnTo>
                  <a:lnTo>
                    <a:pt x="9" y="176"/>
                  </a:lnTo>
                  <a:lnTo>
                    <a:pt x="4" y="168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4" y="144"/>
                  </a:lnTo>
                  <a:lnTo>
                    <a:pt x="5" y="124"/>
                  </a:lnTo>
                  <a:lnTo>
                    <a:pt x="4" y="107"/>
                  </a:lnTo>
                  <a:lnTo>
                    <a:pt x="5" y="92"/>
                  </a:lnTo>
                  <a:lnTo>
                    <a:pt x="13" y="80"/>
                  </a:lnTo>
                  <a:lnTo>
                    <a:pt x="20" y="61"/>
                  </a:lnTo>
                  <a:lnTo>
                    <a:pt x="13" y="57"/>
                  </a:lnTo>
                  <a:lnTo>
                    <a:pt x="7" y="52"/>
                  </a:lnTo>
                  <a:lnTo>
                    <a:pt x="9" y="48"/>
                  </a:lnTo>
                  <a:lnTo>
                    <a:pt x="11" y="43"/>
                  </a:lnTo>
                  <a:lnTo>
                    <a:pt x="9" y="37"/>
                  </a:lnTo>
                  <a:lnTo>
                    <a:pt x="5" y="33"/>
                  </a:lnTo>
                  <a:lnTo>
                    <a:pt x="24" y="28"/>
                  </a:lnTo>
                  <a:lnTo>
                    <a:pt x="41" y="26"/>
                  </a:lnTo>
                  <a:lnTo>
                    <a:pt x="50" y="24"/>
                  </a:lnTo>
                  <a:lnTo>
                    <a:pt x="61" y="22"/>
                  </a:lnTo>
                  <a:lnTo>
                    <a:pt x="70" y="19"/>
                  </a:lnTo>
                  <a:lnTo>
                    <a:pt x="81" y="15"/>
                  </a:lnTo>
                  <a:lnTo>
                    <a:pt x="94" y="6"/>
                  </a:lnTo>
                  <a:lnTo>
                    <a:pt x="100" y="0"/>
                  </a:lnTo>
                  <a:lnTo>
                    <a:pt x="114" y="4"/>
                  </a:lnTo>
                  <a:lnTo>
                    <a:pt x="129" y="7"/>
                  </a:lnTo>
                  <a:lnTo>
                    <a:pt x="140" y="6"/>
                  </a:lnTo>
                  <a:lnTo>
                    <a:pt x="150" y="4"/>
                  </a:lnTo>
                  <a:lnTo>
                    <a:pt x="157" y="11"/>
                  </a:lnTo>
                  <a:lnTo>
                    <a:pt x="168" y="19"/>
                  </a:lnTo>
                  <a:lnTo>
                    <a:pt x="188" y="13"/>
                  </a:lnTo>
                  <a:lnTo>
                    <a:pt x="207" y="4"/>
                  </a:lnTo>
                  <a:lnTo>
                    <a:pt x="203" y="13"/>
                  </a:lnTo>
                  <a:lnTo>
                    <a:pt x="199" y="20"/>
                  </a:lnTo>
                  <a:lnTo>
                    <a:pt x="198" y="28"/>
                  </a:lnTo>
                  <a:lnTo>
                    <a:pt x="198" y="35"/>
                  </a:lnTo>
                  <a:lnTo>
                    <a:pt x="203" y="41"/>
                  </a:lnTo>
                  <a:lnTo>
                    <a:pt x="212" y="46"/>
                  </a:lnTo>
                  <a:lnTo>
                    <a:pt x="218" y="50"/>
                  </a:lnTo>
                  <a:lnTo>
                    <a:pt x="222" y="52"/>
                  </a:lnTo>
                  <a:lnTo>
                    <a:pt x="223" y="57"/>
                  </a:lnTo>
                  <a:lnTo>
                    <a:pt x="225" y="61"/>
                  </a:lnTo>
                  <a:lnTo>
                    <a:pt x="229" y="67"/>
                  </a:lnTo>
                  <a:lnTo>
                    <a:pt x="234" y="74"/>
                  </a:lnTo>
                  <a:lnTo>
                    <a:pt x="238" y="80"/>
                  </a:lnTo>
                  <a:lnTo>
                    <a:pt x="238" y="87"/>
                  </a:lnTo>
                  <a:lnTo>
                    <a:pt x="233" y="96"/>
                  </a:lnTo>
                  <a:lnTo>
                    <a:pt x="225" y="100"/>
                  </a:lnTo>
                  <a:lnTo>
                    <a:pt x="220" y="102"/>
                  </a:lnTo>
                  <a:lnTo>
                    <a:pt x="212" y="107"/>
                  </a:lnTo>
                  <a:lnTo>
                    <a:pt x="201" y="117"/>
                  </a:lnTo>
                  <a:lnTo>
                    <a:pt x="192" y="128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35" name="Freeform 31"/>
            <p:cNvSpPr>
              <a:spLocks/>
            </p:cNvSpPr>
            <p:nvPr/>
          </p:nvSpPr>
          <p:spPr bwMode="auto">
            <a:xfrm>
              <a:off x="5575223" y="5596417"/>
              <a:ext cx="370746" cy="607873"/>
            </a:xfrm>
            <a:custGeom>
              <a:avLst/>
              <a:gdLst>
                <a:gd name="T0" fmla="*/ 24960 w 213"/>
                <a:gd name="T1" fmla="*/ 409575 h 323"/>
                <a:gd name="T2" fmla="*/ 11746 w 213"/>
                <a:gd name="T3" fmla="*/ 415925 h 323"/>
                <a:gd name="T4" fmla="*/ 0 w 213"/>
                <a:gd name="T5" fmla="*/ 433388 h 323"/>
                <a:gd name="T6" fmla="*/ 2937 w 213"/>
                <a:gd name="T7" fmla="*/ 463550 h 323"/>
                <a:gd name="T8" fmla="*/ 11746 w 213"/>
                <a:gd name="T9" fmla="*/ 485775 h 323"/>
                <a:gd name="T10" fmla="*/ 14683 w 213"/>
                <a:gd name="T11" fmla="*/ 503238 h 323"/>
                <a:gd name="T12" fmla="*/ 16151 w 213"/>
                <a:gd name="T13" fmla="*/ 509588 h 323"/>
                <a:gd name="T14" fmla="*/ 30833 w 213"/>
                <a:gd name="T15" fmla="*/ 509588 h 323"/>
                <a:gd name="T16" fmla="*/ 35238 w 213"/>
                <a:gd name="T17" fmla="*/ 495300 h 323"/>
                <a:gd name="T18" fmla="*/ 46984 w 213"/>
                <a:gd name="T19" fmla="*/ 481013 h 323"/>
                <a:gd name="T20" fmla="*/ 92500 w 213"/>
                <a:gd name="T21" fmla="*/ 477838 h 323"/>
                <a:gd name="T22" fmla="*/ 139484 w 213"/>
                <a:gd name="T23" fmla="*/ 471488 h 323"/>
                <a:gd name="T24" fmla="*/ 149762 w 213"/>
                <a:gd name="T25" fmla="*/ 447675 h 323"/>
                <a:gd name="T26" fmla="*/ 157103 w 213"/>
                <a:gd name="T27" fmla="*/ 430213 h 323"/>
                <a:gd name="T28" fmla="*/ 176190 w 213"/>
                <a:gd name="T29" fmla="*/ 425450 h 323"/>
                <a:gd name="T30" fmla="*/ 195278 w 213"/>
                <a:gd name="T31" fmla="*/ 427038 h 323"/>
                <a:gd name="T32" fmla="*/ 209960 w 213"/>
                <a:gd name="T33" fmla="*/ 409575 h 323"/>
                <a:gd name="T34" fmla="*/ 227579 w 213"/>
                <a:gd name="T35" fmla="*/ 384175 h 323"/>
                <a:gd name="T36" fmla="*/ 246667 w 213"/>
                <a:gd name="T37" fmla="*/ 377825 h 323"/>
                <a:gd name="T38" fmla="*/ 255476 w 213"/>
                <a:gd name="T39" fmla="*/ 368300 h 323"/>
                <a:gd name="T40" fmla="*/ 261349 w 213"/>
                <a:gd name="T41" fmla="*/ 357188 h 323"/>
                <a:gd name="T42" fmla="*/ 265754 w 213"/>
                <a:gd name="T43" fmla="*/ 339725 h 323"/>
                <a:gd name="T44" fmla="*/ 277500 w 213"/>
                <a:gd name="T45" fmla="*/ 322263 h 323"/>
                <a:gd name="T46" fmla="*/ 296587 w 213"/>
                <a:gd name="T47" fmla="*/ 315913 h 323"/>
                <a:gd name="T48" fmla="*/ 309801 w 213"/>
                <a:gd name="T49" fmla="*/ 307975 h 323"/>
                <a:gd name="T50" fmla="*/ 300992 w 213"/>
                <a:gd name="T51" fmla="*/ 269875 h 323"/>
                <a:gd name="T52" fmla="*/ 300992 w 213"/>
                <a:gd name="T53" fmla="*/ 201613 h 323"/>
                <a:gd name="T54" fmla="*/ 296587 w 213"/>
                <a:gd name="T55" fmla="*/ 157163 h 323"/>
                <a:gd name="T56" fmla="*/ 284841 w 213"/>
                <a:gd name="T57" fmla="*/ 101600 h 323"/>
                <a:gd name="T58" fmla="*/ 280436 w 213"/>
                <a:gd name="T59" fmla="*/ 73025 h 323"/>
                <a:gd name="T60" fmla="*/ 271627 w 213"/>
                <a:gd name="T61" fmla="*/ 55563 h 323"/>
                <a:gd name="T62" fmla="*/ 261349 w 213"/>
                <a:gd name="T63" fmla="*/ 49213 h 323"/>
                <a:gd name="T64" fmla="*/ 246667 w 213"/>
                <a:gd name="T65" fmla="*/ 49213 h 323"/>
                <a:gd name="T66" fmla="*/ 227579 w 213"/>
                <a:gd name="T67" fmla="*/ 31750 h 323"/>
                <a:gd name="T68" fmla="*/ 207024 w 213"/>
                <a:gd name="T69" fmla="*/ 39688 h 323"/>
                <a:gd name="T70" fmla="*/ 171786 w 213"/>
                <a:gd name="T71" fmla="*/ 60325 h 323"/>
                <a:gd name="T72" fmla="*/ 160040 w 213"/>
                <a:gd name="T73" fmla="*/ 52388 h 323"/>
                <a:gd name="T74" fmla="*/ 140952 w 213"/>
                <a:gd name="T75" fmla="*/ 28575 h 323"/>
                <a:gd name="T76" fmla="*/ 121865 w 213"/>
                <a:gd name="T77" fmla="*/ 7938 h 323"/>
                <a:gd name="T78" fmla="*/ 114524 w 213"/>
                <a:gd name="T79" fmla="*/ 22225 h 323"/>
                <a:gd name="T80" fmla="*/ 114524 w 213"/>
                <a:gd name="T81" fmla="*/ 38100 h 323"/>
                <a:gd name="T82" fmla="*/ 124802 w 213"/>
                <a:gd name="T83" fmla="*/ 60325 h 323"/>
                <a:gd name="T84" fmla="*/ 117460 w 213"/>
                <a:gd name="T85" fmla="*/ 87313 h 323"/>
                <a:gd name="T86" fmla="*/ 101310 w 213"/>
                <a:gd name="T87" fmla="*/ 111125 h 323"/>
                <a:gd name="T88" fmla="*/ 101310 w 213"/>
                <a:gd name="T89" fmla="*/ 128588 h 323"/>
                <a:gd name="T90" fmla="*/ 108651 w 213"/>
                <a:gd name="T91" fmla="*/ 139700 h 323"/>
                <a:gd name="T92" fmla="*/ 114524 w 213"/>
                <a:gd name="T93" fmla="*/ 136525 h 323"/>
                <a:gd name="T94" fmla="*/ 124802 w 213"/>
                <a:gd name="T95" fmla="*/ 136525 h 323"/>
                <a:gd name="T96" fmla="*/ 140952 w 213"/>
                <a:gd name="T97" fmla="*/ 152400 h 323"/>
                <a:gd name="T98" fmla="*/ 124802 w 213"/>
                <a:gd name="T99" fmla="*/ 187325 h 323"/>
                <a:gd name="T100" fmla="*/ 108651 w 213"/>
                <a:gd name="T101" fmla="*/ 207963 h 323"/>
                <a:gd name="T102" fmla="*/ 95436 w 213"/>
                <a:gd name="T103" fmla="*/ 239713 h 323"/>
                <a:gd name="T104" fmla="*/ 95436 w 213"/>
                <a:gd name="T105" fmla="*/ 280988 h 323"/>
                <a:gd name="T106" fmla="*/ 98373 w 213"/>
                <a:gd name="T107" fmla="*/ 315913 h 323"/>
                <a:gd name="T108" fmla="*/ 101310 w 213"/>
                <a:gd name="T109" fmla="*/ 350838 h 323"/>
                <a:gd name="T110" fmla="*/ 85159 w 213"/>
                <a:gd name="T111" fmla="*/ 377825 h 323"/>
                <a:gd name="T112" fmla="*/ 66071 w 213"/>
                <a:gd name="T113" fmla="*/ 395288 h 323"/>
                <a:gd name="T114" fmla="*/ 41111 w 213"/>
                <a:gd name="T115" fmla="*/ 404813 h 32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3"/>
                <a:gd name="T175" fmla="*/ 0 h 323"/>
                <a:gd name="T176" fmla="*/ 213 w 213"/>
                <a:gd name="T177" fmla="*/ 323 h 32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3" h="323">
                  <a:moveTo>
                    <a:pt x="19" y="256"/>
                  </a:moveTo>
                  <a:lnTo>
                    <a:pt x="17" y="258"/>
                  </a:lnTo>
                  <a:lnTo>
                    <a:pt x="13" y="260"/>
                  </a:lnTo>
                  <a:lnTo>
                    <a:pt x="8" y="262"/>
                  </a:lnTo>
                  <a:lnTo>
                    <a:pt x="4" y="266"/>
                  </a:lnTo>
                  <a:lnTo>
                    <a:pt x="0" y="273"/>
                  </a:lnTo>
                  <a:lnTo>
                    <a:pt x="0" y="280"/>
                  </a:lnTo>
                  <a:lnTo>
                    <a:pt x="2" y="292"/>
                  </a:lnTo>
                  <a:lnTo>
                    <a:pt x="6" y="301"/>
                  </a:lnTo>
                  <a:lnTo>
                    <a:pt x="8" y="306"/>
                  </a:lnTo>
                  <a:lnTo>
                    <a:pt x="8" y="314"/>
                  </a:lnTo>
                  <a:lnTo>
                    <a:pt x="10" y="317"/>
                  </a:lnTo>
                  <a:lnTo>
                    <a:pt x="10" y="319"/>
                  </a:lnTo>
                  <a:lnTo>
                    <a:pt x="11" y="321"/>
                  </a:lnTo>
                  <a:lnTo>
                    <a:pt x="15" y="323"/>
                  </a:lnTo>
                  <a:lnTo>
                    <a:pt x="21" y="321"/>
                  </a:lnTo>
                  <a:lnTo>
                    <a:pt x="22" y="317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2" y="303"/>
                  </a:lnTo>
                  <a:lnTo>
                    <a:pt x="39" y="299"/>
                  </a:lnTo>
                  <a:lnTo>
                    <a:pt x="63" y="301"/>
                  </a:lnTo>
                  <a:lnTo>
                    <a:pt x="87" y="303"/>
                  </a:lnTo>
                  <a:lnTo>
                    <a:pt x="95" y="297"/>
                  </a:lnTo>
                  <a:lnTo>
                    <a:pt x="100" y="290"/>
                  </a:lnTo>
                  <a:lnTo>
                    <a:pt x="102" y="282"/>
                  </a:lnTo>
                  <a:lnTo>
                    <a:pt x="104" y="277"/>
                  </a:lnTo>
                  <a:lnTo>
                    <a:pt x="107" y="271"/>
                  </a:lnTo>
                  <a:lnTo>
                    <a:pt x="111" y="268"/>
                  </a:lnTo>
                  <a:lnTo>
                    <a:pt x="120" y="268"/>
                  </a:lnTo>
                  <a:lnTo>
                    <a:pt x="133" y="269"/>
                  </a:lnTo>
                  <a:lnTo>
                    <a:pt x="135" y="269"/>
                  </a:lnTo>
                  <a:lnTo>
                    <a:pt x="143" y="258"/>
                  </a:lnTo>
                  <a:lnTo>
                    <a:pt x="150" y="247"/>
                  </a:lnTo>
                  <a:lnTo>
                    <a:pt x="155" y="242"/>
                  </a:lnTo>
                  <a:lnTo>
                    <a:pt x="161" y="240"/>
                  </a:lnTo>
                  <a:lnTo>
                    <a:pt x="168" y="238"/>
                  </a:lnTo>
                  <a:lnTo>
                    <a:pt x="176" y="238"/>
                  </a:lnTo>
                  <a:lnTo>
                    <a:pt x="174" y="232"/>
                  </a:lnTo>
                  <a:lnTo>
                    <a:pt x="172" y="225"/>
                  </a:lnTo>
                  <a:lnTo>
                    <a:pt x="178" y="225"/>
                  </a:lnTo>
                  <a:lnTo>
                    <a:pt x="181" y="225"/>
                  </a:lnTo>
                  <a:lnTo>
                    <a:pt x="181" y="214"/>
                  </a:lnTo>
                  <a:lnTo>
                    <a:pt x="185" y="207"/>
                  </a:lnTo>
                  <a:lnTo>
                    <a:pt x="189" y="203"/>
                  </a:lnTo>
                  <a:lnTo>
                    <a:pt x="194" y="201"/>
                  </a:lnTo>
                  <a:lnTo>
                    <a:pt x="202" y="199"/>
                  </a:lnTo>
                  <a:lnTo>
                    <a:pt x="207" y="197"/>
                  </a:lnTo>
                  <a:lnTo>
                    <a:pt x="211" y="194"/>
                  </a:lnTo>
                  <a:lnTo>
                    <a:pt x="213" y="190"/>
                  </a:lnTo>
                  <a:lnTo>
                    <a:pt x="205" y="170"/>
                  </a:lnTo>
                  <a:lnTo>
                    <a:pt x="198" y="146"/>
                  </a:lnTo>
                  <a:lnTo>
                    <a:pt x="205" y="127"/>
                  </a:lnTo>
                  <a:lnTo>
                    <a:pt x="207" y="114"/>
                  </a:lnTo>
                  <a:lnTo>
                    <a:pt x="202" y="99"/>
                  </a:lnTo>
                  <a:lnTo>
                    <a:pt x="196" y="79"/>
                  </a:lnTo>
                  <a:lnTo>
                    <a:pt x="194" y="64"/>
                  </a:lnTo>
                  <a:lnTo>
                    <a:pt x="192" y="53"/>
                  </a:lnTo>
                  <a:lnTo>
                    <a:pt x="191" y="46"/>
                  </a:lnTo>
                  <a:lnTo>
                    <a:pt x="187" y="38"/>
                  </a:lnTo>
                  <a:lnTo>
                    <a:pt x="185" y="35"/>
                  </a:lnTo>
                  <a:lnTo>
                    <a:pt x="181" y="33"/>
                  </a:lnTo>
                  <a:lnTo>
                    <a:pt x="178" y="31"/>
                  </a:lnTo>
                  <a:lnTo>
                    <a:pt x="176" y="31"/>
                  </a:lnTo>
                  <a:lnTo>
                    <a:pt x="168" y="31"/>
                  </a:lnTo>
                  <a:lnTo>
                    <a:pt x="163" y="29"/>
                  </a:lnTo>
                  <a:lnTo>
                    <a:pt x="155" y="20"/>
                  </a:lnTo>
                  <a:lnTo>
                    <a:pt x="150" y="16"/>
                  </a:lnTo>
                  <a:lnTo>
                    <a:pt x="141" y="25"/>
                  </a:lnTo>
                  <a:lnTo>
                    <a:pt x="122" y="38"/>
                  </a:lnTo>
                  <a:lnTo>
                    <a:pt x="117" y="38"/>
                  </a:lnTo>
                  <a:lnTo>
                    <a:pt x="113" y="37"/>
                  </a:lnTo>
                  <a:lnTo>
                    <a:pt x="109" y="33"/>
                  </a:lnTo>
                  <a:lnTo>
                    <a:pt x="106" y="29"/>
                  </a:lnTo>
                  <a:lnTo>
                    <a:pt x="96" y="18"/>
                  </a:lnTo>
                  <a:lnTo>
                    <a:pt x="89" y="0"/>
                  </a:lnTo>
                  <a:lnTo>
                    <a:pt x="83" y="5"/>
                  </a:lnTo>
                  <a:lnTo>
                    <a:pt x="80" y="11"/>
                  </a:lnTo>
                  <a:lnTo>
                    <a:pt x="78" y="14"/>
                  </a:lnTo>
                  <a:lnTo>
                    <a:pt x="78" y="20"/>
                  </a:lnTo>
                  <a:lnTo>
                    <a:pt x="78" y="24"/>
                  </a:lnTo>
                  <a:lnTo>
                    <a:pt x="80" y="29"/>
                  </a:lnTo>
                  <a:lnTo>
                    <a:pt x="85" y="38"/>
                  </a:lnTo>
                  <a:lnTo>
                    <a:pt x="87" y="46"/>
                  </a:lnTo>
                  <a:lnTo>
                    <a:pt x="80" y="55"/>
                  </a:lnTo>
                  <a:lnTo>
                    <a:pt x="71" y="66"/>
                  </a:lnTo>
                  <a:lnTo>
                    <a:pt x="69" y="70"/>
                  </a:lnTo>
                  <a:lnTo>
                    <a:pt x="67" y="75"/>
                  </a:lnTo>
                  <a:lnTo>
                    <a:pt x="69" y="81"/>
                  </a:lnTo>
                  <a:lnTo>
                    <a:pt x="72" y="86"/>
                  </a:lnTo>
                  <a:lnTo>
                    <a:pt x="74" y="88"/>
                  </a:lnTo>
                  <a:lnTo>
                    <a:pt x="76" y="88"/>
                  </a:lnTo>
                  <a:lnTo>
                    <a:pt x="78" y="86"/>
                  </a:lnTo>
                  <a:lnTo>
                    <a:pt x="80" y="83"/>
                  </a:lnTo>
                  <a:lnTo>
                    <a:pt x="85" y="86"/>
                  </a:lnTo>
                  <a:lnTo>
                    <a:pt x="100" y="90"/>
                  </a:lnTo>
                  <a:lnTo>
                    <a:pt x="96" y="96"/>
                  </a:lnTo>
                  <a:lnTo>
                    <a:pt x="89" y="105"/>
                  </a:lnTo>
                  <a:lnTo>
                    <a:pt x="85" y="118"/>
                  </a:lnTo>
                  <a:lnTo>
                    <a:pt x="85" y="125"/>
                  </a:lnTo>
                  <a:lnTo>
                    <a:pt x="74" y="131"/>
                  </a:lnTo>
                  <a:lnTo>
                    <a:pt x="61" y="138"/>
                  </a:lnTo>
                  <a:lnTo>
                    <a:pt x="65" y="151"/>
                  </a:lnTo>
                  <a:lnTo>
                    <a:pt x="72" y="164"/>
                  </a:lnTo>
                  <a:lnTo>
                    <a:pt x="65" y="177"/>
                  </a:lnTo>
                  <a:lnTo>
                    <a:pt x="58" y="190"/>
                  </a:lnTo>
                  <a:lnTo>
                    <a:pt x="67" y="199"/>
                  </a:lnTo>
                  <a:lnTo>
                    <a:pt x="74" y="210"/>
                  </a:lnTo>
                  <a:lnTo>
                    <a:pt x="69" y="221"/>
                  </a:lnTo>
                  <a:lnTo>
                    <a:pt x="65" y="231"/>
                  </a:lnTo>
                  <a:lnTo>
                    <a:pt x="58" y="238"/>
                  </a:lnTo>
                  <a:lnTo>
                    <a:pt x="52" y="244"/>
                  </a:lnTo>
                  <a:lnTo>
                    <a:pt x="45" y="249"/>
                  </a:lnTo>
                  <a:lnTo>
                    <a:pt x="35" y="253"/>
                  </a:lnTo>
                  <a:lnTo>
                    <a:pt x="28" y="255"/>
                  </a:lnTo>
                  <a:lnTo>
                    <a:pt x="19" y="256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36" name="Freeform 32"/>
            <p:cNvSpPr>
              <a:spLocks/>
            </p:cNvSpPr>
            <p:nvPr/>
          </p:nvSpPr>
          <p:spPr bwMode="auto">
            <a:xfrm>
              <a:off x="4645537" y="5043122"/>
              <a:ext cx="786658" cy="726435"/>
            </a:xfrm>
            <a:custGeom>
              <a:avLst/>
              <a:gdLst>
                <a:gd name="T0" fmla="*/ 1468 w 452"/>
                <a:gd name="T1" fmla="*/ 363537 h 386"/>
                <a:gd name="T2" fmla="*/ 23489 w 452"/>
                <a:gd name="T3" fmla="*/ 369887 h 386"/>
                <a:gd name="T4" fmla="*/ 55787 w 452"/>
                <a:gd name="T5" fmla="*/ 363537 h 386"/>
                <a:gd name="T6" fmla="*/ 80745 w 452"/>
                <a:gd name="T7" fmla="*/ 369887 h 386"/>
                <a:gd name="T8" fmla="*/ 99830 w 452"/>
                <a:gd name="T9" fmla="*/ 354012 h 386"/>
                <a:gd name="T10" fmla="*/ 96894 w 452"/>
                <a:gd name="T11" fmla="*/ 387350 h 386"/>
                <a:gd name="T12" fmla="*/ 58723 w 452"/>
                <a:gd name="T13" fmla="*/ 384175 h 386"/>
                <a:gd name="T14" fmla="*/ 45511 w 452"/>
                <a:gd name="T15" fmla="*/ 398462 h 386"/>
                <a:gd name="T16" fmla="*/ 54319 w 452"/>
                <a:gd name="T17" fmla="*/ 433388 h 386"/>
                <a:gd name="T18" fmla="*/ 83681 w 452"/>
                <a:gd name="T19" fmla="*/ 484188 h 386"/>
                <a:gd name="T20" fmla="*/ 113043 w 452"/>
                <a:gd name="T21" fmla="*/ 487363 h 386"/>
                <a:gd name="T22" fmla="*/ 164426 w 452"/>
                <a:gd name="T23" fmla="*/ 501650 h 386"/>
                <a:gd name="T24" fmla="*/ 240766 w 452"/>
                <a:gd name="T25" fmla="*/ 501650 h 386"/>
                <a:gd name="T26" fmla="*/ 308298 w 452"/>
                <a:gd name="T27" fmla="*/ 487363 h 386"/>
                <a:gd name="T28" fmla="*/ 359681 w 452"/>
                <a:gd name="T29" fmla="*/ 468313 h 386"/>
                <a:gd name="T30" fmla="*/ 387575 w 452"/>
                <a:gd name="T31" fmla="*/ 515938 h 386"/>
                <a:gd name="T32" fmla="*/ 416937 w 452"/>
                <a:gd name="T33" fmla="*/ 539750 h 386"/>
                <a:gd name="T34" fmla="*/ 414000 w 452"/>
                <a:gd name="T35" fmla="*/ 563563 h 386"/>
                <a:gd name="T36" fmla="*/ 406660 w 452"/>
                <a:gd name="T37" fmla="*/ 585788 h 386"/>
                <a:gd name="T38" fmla="*/ 430149 w 452"/>
                <a:gd name="T39" fmla="*/ 606425 h 386"/>
                <a:gd name="T40" fmla="*/ 449234 w 452"/>
                <a:gd name="T41" fmla="*/ 585788 h 386"/>
                <a:gd name="T42" fmla="*/ 462447 w 452"/>
                <a:gd name="T43" fmla="*/ 571500 h 386"/>
                <a:gd name="T44" fmla="*/ 484469 w 452"/>
                <a:gd name="T45" fmla="*/ 544513 h 386"/>
                <a:gd name="T46" fmla="*/ 516766 w 452"/>
                <a:gd name="T47" fmla="*/ 544513 h 386"/>
                <a:gd name="T48" fmla="*/ 563745 w 452"/>
                <a:gd name="T49" fmla="*/ 557213 h 386"/>
                <a:gd name="T50" fmla="*/ 604852 w 452"/>
                <a:gd name="T51" fmla="*/ 547688 h 386"/>
                <a:gd name="T52" fmla="*/ 628341 w 452"/>
                <a:gd name="T53" fmla="*/ 527050 h 386"/>
                <a:gd name="T54" fmla="*/ 640086 w 452"/>
                <a:gd name="T55" fmla="*/ 492125 h 386"/>
                <a:gd name="T56" fmla="*/ 641554 w 452"/>
                <a:gd name="T57" fmla="*/ 409575 h 386"/>
                <a:gd name="T58" fmla="*/ 653298 w 452"/>
                <a:gd name="T59" fmla="*/ 354012 h 386"/>
                <a:gd name="T60" fmla="*/ 650362 w 452"/>
                <a:gd name="T61" fmla="*/ 331787 h 386"/>
                <a:gd name="T62" fmla="*/ 631277 w 452"/>
                <a:gd name="T63" fmla="*/ 311150 h 386"/>
                <a:gd name="T64" fmla="*/ 593107 w 452"/>
                <a:gd name="T65" fmla="*/ 328612 h 386"/>
                <a:gd name="T66" fmla="*/ 574022 w 452"/>
                <a:gd name="T67" fmla="*/ 336550 h 386"/>
                <a:gd name="T68" fmla="*/ 566681 w 452"/>
                <a:gd name="T69" fmla="*/ 280988 h 386"/>
                <a:gd name="T70" fmla="*/ 566681 w 452"/>
                <a:gd name="T71" fmla="*/ 222250 h 386"/>
                <a:gd name="T72" fmla="*/ 535852 w 452"/>
                <a:gd name="T73" fmla="*/ 236538 h 386"/>
                <a:gd name="T74" fmla="*/ 493277 w 452"/>
                <a:gd name="T75" fmla="*/ 239713 h 386"/>
                <a:gd name="T76" fmla="*/ 446298 w 452"/>
                <a:gd name="T77" fmla="*/ 173037 h 386"/>
                <a:gd name="T78" fmla="*/ 378766 w 452"/>
                <a:gd name="T79" fmla="*/ 173037 h 386"/>
                <a:gd name="T80" fmla="*/ 365553 w 452"/>
                <a:gd name="T81" fmla="*/ 146050 h 386"/>
                <a:gd name="T82" fmla="*/ 305362 w 452"/>
                <a:gd name="T83" fmla="*/ 69850 h 386"/>
                <a:gd name="T84" fmla="*/ 205532 w 452"/>
                <a:gd name="T85" fmla="*/ 14288 h 386"/>
                <a:gd name="T86" fmla="*/ 151213 w 452"/>
                <a:gd name="T87" fmla="*/ 25400 h 386"/>
                <a:gd name="T88" fmla="*/ 118915 w 452"/>
                <a:gd name="T89" fmla="*/ 69850 h 386"/>
                <a:gd name="T90" fmla="*/ 124787 w 452"/>
                <a:gd name="T91" fmla="*/ 96837 h 386"/>
                <a:gd name="T92" fmla="*/ 121851 w 452"/>
                <a:gd name="T93" fmla="*/ 120650 h 386"/>
                <a:gd name="T94" fmla="*/ 96894 w 452"/>
                <a:gd name="T95" fmla="*/ 125413 h 386"/>
                <a:gd name="T96" fmla="*/ 61660 w 452"/>
                <a:gd name="T97" fmla="*/ 111125 h 386"/>
                <a:gd name="T98" fmla="*/ 26426 w 452"/>
                <a:gd name="T99" fmla="*/ 149225 h 386"/>
                <a:gd name="T100" fmla="*/ 20553 w 452"/>
                <a:gd name="T101" fmla="*/ 179387 h 386"/>
                <a:gd name="T102" fmla="*/ 7340 w 452"/>
                <a:gd name="T103" fmla="*/ 222250 h 386"/>
                <a:gd name="T104" fmla="*/ 23489 w 452"/>
                <a:gd name="T105" fmla="*/ 266700 h 386"/>
                <a:gd name="T106" fmla="*/ 10277 w 452"/>
                <a:gd name="T107" fmla="*/ 298450 h 386"/>
                <a:gd name="T108" fmla="*/ 0 w 452"/>
                <a:gd name="T109" fmla="*/ 319087 h 38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52"/>
                <a:gd name="T166" fmla="*/ 0 h 386"/>
                <a:gd name="T167" fmla="*/ 452 w 452"/>
                <a:gd name="T168" fmla="*/ 386 h 38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52" h="386">
                  <a:moveTo>
                    <a:pt x="1" y="229"/>
                  </a:moveTo>
                  <a:lnTo>
                    <a:pt x="1" y="229"/>
                  </a:lnTo>
                  <a:lnTo>
                    <a:pt x="7" y="233"/>
                  </a:lnTo>
                  <a:lnTo>
                    <a:pt x="13" y="233"/>
                  </a:lnTo>
                  <a:lnTo>
                    <a:pt x="16" y="233"/>
                  </a:lnTo>
                  <a:lnTo>
                    <a:pt x="22" y="233"/>
                  </a:lnTo>
                  <a:lnTo>
                    <a:pt x="31" y="231"/>
                  </a:lnTo>
                  <a:lnTo>
                    <a:pt x="38" y="229"/>
                  </a:lnTo>
                  <a:lnTo>
                    <a:pt x="46" y="231"/>
                  </a:lnTo>
                  <a:lnTo>
                    <a:pt x="51" y="233"/>
                  </a:lnTo>
                  <a:lnTo>
                    <a:pt x="55" y="233"/>
                  </a:lnTo>
                  <a:lnTo>
                    <a:pt x="59" y="231"/>
                  </a:lnTo>
                  <a:lnTo>
                    <a:pt x="64" y="227"/>
                  </a:lnTo>
                  <a:lnTo>
                    <a:pt x="68" y="223"/>
                  </a:lnTo>
                  <a:lnTo>
                    <a:pt x="70" y="231"/>
                  </a:lnTo>
                  <a:lnTo>
                    <a:pt x="68" y="236"/>
                  </a:lnTo>
                  <a:lnTo>
                    <a:pt x="66" y="244"/>
                  </a:lnTo>
                  <a:lnTo>
                    <a:pt x="61" y="247"/>
                  </a:lnTo>
                  <a:lnTo>
                    <a:pt x="49" y="246"/>
                  </a:lnTo>
                  <a:lnTo>
                    <a:pt x="40" y="242"/>
                  </a:lnTo>
                  <a:lnTo>
                    <a:pt x="37" y="244"/>
                  </a:lnTo>
                  <a:lnTo>
                    <a:pt x="33" y="246"/>
                  </a:lnTo>
                  <a:lnTo>
                    <a:pt x="31" y="251"/>
                  </a:lnTo>
                  <a:lnTo>
                    <a:pt x="31" y="257"/>
                  </a:lnTo>
                  <a:lnTo>
                    <a:pt x="33" y="268"/>
                  </a:lnTo>
                  <a:lnTo>
                    <a:pt x="37" y="273"/>
                  </a:lnTo>
                  <a:lnTo>
                    <a:pt x="42" y="281"/>
                  </a:lnTo>
                  <a:lnTo>
                    <a:pt x="51" y="292"/>
                  </a:lnTo>
                  <a:lnTo>
                    <a:pt x="57" y="305"/>
                  </a:lnTo>
                  <a:lnTo>
                    <a:pt x="68" y="331"/>
                  </a:lnTo>
                  <a:lnTo>
                    <a:pt x="73" y="316"/>
                  </a:lnTo>
                  <a:lnTo>
                    <a:pt x="77" y="307"/>
                  </a:lnTo>
                  <a:lnTo>
                    <a:pt x="85" y="314"/>
                  </a:lnTo>
                  <a:lnTo>
                    <a:pt x="98" y="323"/>
                  </a:lnTo>
                  <a:lnTo>
                    <a:pt x="112" y="316"/>
                  </a:lnTo>
                  <a:lnTo>
                    <a:pt x="127" y="312"/>
                  </a:lnTo>
                  <a:lnTo>
                    <a:pt x="146" y="314"/>
                  </a:lnTo>
                  <a:lnTo>
                    <a:pt x="164" y="316"/>
                  </a:lnTo>
                  <a:lnTo>
                    <a:pt x="181" y="312"/>
                  </a:lnTo>
                  <a:lnTo>
                    <a:pt x="195" y="307"/>
                  </a:lnTo>
                  <a:lnTo>
                    <a:pt x="210" y="307"/>
                  </a:lnTo>
                  <a:lnTo>
                    <a:pt x="225" y="307"/>
                  </a:lnTo>
                  <a:lnTo>
                    <a:pt x="238" y="299"/>
                  </a:lnTo>
                  <a:lnTo>
                    <a:pt x="245" y="295"/>
                  </a:lnTo>
                  <a:lnTo>
                    <a:pt x="247" y="305"/>
                  </a:lnTo>
                  <a:lnTo>
                    <a:pt x="253" y="316"/>
                  </a:lnTo>
                  <a:lnTo>
                    <a:pt x="264" y="325"/>
                  </a:lnTo>
                  <a:lnTo>
                    <a:pt x="277" y="334"/>
                  </a:lnTo>
                  <a:lnTo>
                    <a:pt x="280" y="336"/>
                  </a:lnTo>
                  <a:lnTo>
                    <a:pt x="284" y="340"/>
                  </a:lnTo>
                  <a:lnTo>
                    <a:pt x="286" y="343"/>
                  </a:lnTo>
                  <a:lnTo>
                    <a:pt x="286" y="349"/>
                  </a:lnTo>
                  <a:lnTo>
                    <a:pt x="282" y="355"/>
                  </a:lnTo>
                  <a:lnTo>
                    <a:pt x="279" y="360"/>
                  </a:lnTo>
                  <a:lnTo>
                    <a:pt x="275" y="364"/>
                  </a:lnTo>
                  <a:lnTo>
                    <a:pt x="277" y="369"/>
                  </a:lnTo>
                  <a:lnTo>
                    <a:pt x="280" y="379"/>
                  </a:lnTo>
                  <a:lnTo>
                    <a:pt x="284" y="386"/>
                  </a:lnTo>
                  <a:lnTo>
                    <a:pt x="293" y="382"/>
                  </a:lnTo>
                  <a:lnTo>
                    <a:pt x="301" y="377"/>
                  </a:lnTo>
                  <a:lnTo>
                    <a:pt x="304" y="373"/>
                  </a:lnTo>
                  <a:lnTo>
                    <a:pt x="306" y="369"/>
                  </a:lnTo>
                  <a:lnTo>
                    <a:pt x="308" y="366"/>
                  </a:lnTo>
                  <a:lnTo>
                    <a:pt x="308" y="360"/>
                  </a:lnTo>
                  <a:lnTo>
                    <a:pt x="315" y="360"/>
                  </a:lnTo>
                  <a:lnTo>
                    <a:pt x="321" y="360"/>
                  </a:lnTo>
                  <a:lnTo>
                    <a:pt x="327" y="351"/>
                  </a:lnTo>
                  <a:lnTo>
                    <a:pt x="330" y="343"/>
                  </a:lnTo>
                  <a:lnTo>
                    <a:pt x="338" y="345"/>
                  </a:lnTo>
                  <a:lnTo>
                    <a:pt x="343" y="349"/>
                  </a:lnTo>
                  <a:lnTo>
                    <a:pt x="352" y="343"/>
                  </a:lnTo>
                  <a:lnTo>
                    <a:pt x="360" y="340"/>
                  </a:lnTo>
                  <a:lnTo>
                    <a:pt x="373" y="343"/>
                  </a:lnTo>
                  <a:lnTo>
                    <a:pt x="384" y="351"/>
                  </a:lnTo>
                  <a:lnTo>
                    <a:pt x="393" y="349"/>
                  </a:lnTo>
                  <a:lnTo>
                    <a:pt x="404" y="349"/>
                  </a:lnTo>
                  <a:lnTo>
                    <a:pt x="412" y="345"/>
                  </a:lnTo>
                  <a:lnTo>
                    <a:pt x="417" y="342"/>
                  </a:lnTo>
                  <a:lnTo>
                    <a:pt x="424" y="338"/>
                  </a:lnTo>
                  <a:lnTo>
                    <a:pt x="428" y="332"/>
                  </a:lnTo>
                  <a:lnTo>
                    <a:pt x="430" y="331"/>
                  </a:lnTo>
                  <a:lnTo>
                    <a:pt x="432" y="331"/>
                  </a:lnTo>
                  <a:lnTo>
                    <a:pt x="436" y="310"/>
                  </a:lnTo>
                  <a:lnTo>
                    <a:pt x="437" y="290"/>
                  </a:lnTo>
                  <a:lnTo>
                    <a:pt x="436" y="273"/>
                  </a:lnTo>
                  <a:lnTo>
                    <a:pt x="437" y="258"/>
                  </a:lnTo>
                  <a:lnTo>
                    <a:pt x="445" y="246"/>
                  </a:lnTo>
                  <a:lnTo>
                    <a:pt x="452" y="227"/>
                  </a:lnTo>
                  <a:lnTo>
                    <a:pt x="445" y="223"/>
                  </a:lnTo>
                  <a:lnTo>
                    <a:pt x="439" y="218"/>
                  </a:lnTo>
                  <a:lnTo>
                    <a:pt x="441" y="214"/>
                  </a:lnTo>
                  <a:lnTo>
                    <a:pt x="443" y="209"/>
                  </a:lnTo>
                  <a:lnTo>
                    <a:pt x="441" y="203"/>
                  </a:lnTo>
                  <a:lnTo>
                    <a:pt x="437" y="199"/>
                  </a:lnTo>
                  <a:lnTo>
                    <a:pt x="430" y="196"/>
                  </a:lnTo>
                  <a:lnTo>
                    <a:pt x="424" y="194"/>
                  </a:lnTo>
                  <a:lnTo>
                    <a:pt x="415" y="201"/>
                  </a:lnTo>
                  <a:lnTo>
                    <a:pt x="404" y="207"/>
                  </a:lnTo>
                  <a:lnTo>
                    <a:pt x="400" y="209"/>
                  </a:lnTo>
                  <a:lnTo>
                    <a:pt x="395" y="210"/>
                  </a:lnTo>
                  <a:lnTo>
                    <a:pt x="391" y="212"/>
                  </a:lnTo>
                  <a:lnTo>
                    <a:pt x="384" y="210"/>
                  </a:lnTo>
                  <a:lnTo>
                    <a:pt x="386" y="199"/>
                  </a:lnTo>
                  <a:lnTo>
                    <a:pt x="386" y="177"/>
                  </a:lnTo>
                  <a:lnTo>
                    <a:pt x="391" y="159"/>
                  </a:lnTo>
                  <a:lnTo>
                    <a:pt x="393" y="138"/>
                  </a:lnTo>
                  <a:lnTo>
                    <a:pt x="386" y="140"/>
                  </a:lnTo>
                  <a:lnTo>
                    <a:pt x="376" y="146"/>
                  </a:lnTo>
                  <a:lnTo>
                    <a:pt x="371" y="148"/>
                  </a:lnTo>
                  <a:lnTo>
                    <a:pt x="365" y="149"/>
                  </a:lnTo>
                  <a:lnTo>
                    <a:pt x="358" y="149"/>
                  </a:lnTo>
                  <a:lnTo>
                    <a:pt x="351" y="148"/>
                  </a:lnTo>
                  <a:lnTo>
                    <a:pt x="336" y="151"/>
                  </a:lnTo>
                  <a:lnTo>
                    <a:pt x="325" y="153"/>
                  </a:lnTo>
                  <a:lnTo>
                    <a:pt x="315" y="133"/>
                  </a:lnTo>
                  <a:lnTo>
                    <a:pt x="304" y="109"/>
                  </a:lnTo>
                  <a:lnTo>
                    <a:pt x="279" y="111"/>
                  </a:lnTo>
                  <a:lnTo>
                    <a:pt x="262" y="113"/>
                  </a:lnTo>
                  <a:lnTo>
                    <a:pt x="258" y="109"/>
                  </a:lnTo>
                  <a:lnTo>
                    <a:pt x="255" y="103"/>
                  </a:lnTo>
                  <a:lnTo>
                    <a:pt x="253" y="98"/>
                  </a:lnTo>
                  <a:lnTo>
                    <a:pt x="249" y="92"/>
                  </a:lnTo>
                  <a:lnTo>
                    <a:pt x="245" y="79"/>
                  </a:lnTo>
                  <a:lnTo>
                    <a:pt x="242" y="68"/>
                  </a:lnTo>
                  <a:lnTo>
                    <a:pt x="208" y="44"/>
                  </a:lnTo>
                  <a:lnTo>
                    <a:pt x="175" y="24"/>
                  </a:lnTo>
                  <a:lnTo>
                    <a:pt x="157" y="16"/>
                  </a:lnTo>
                  <a:lnTo>
                    <a:pt x="140" y="9"/>
                  </a:lnTo>
                  <a:lnTo>
                    <a:pt x="122" y="3"/>
                  </a:lnTo>
                  <a:lnTo>
                    <a:pt x="101" y="0"/>
                  </a:lnTo>
                  <a:lnTo>
                    <a:pt x="103" y="16"/>
                  </a:lnTo>
                  <a:lnTo>
                    <a:pt x="103" y="31"/>
                  </a:lnTo>
                  <a:lnTo>
                    <a:pt x="92" y="39"/>
                  </a:lnTo>
                  <a:lnTo>
                    <a:pt x="81" y="44"/>
                  </a:lnTo>
                  <a:lnTo>
                    <a:pt x="81" y="52"/>
                  </a:lnTo>
                  <a:lnTo>
                    <a:pt x="83" y="57"/>
                  </a:lnTo>
                  <a:lnTo>
                    <a:pt x="85" y="61"/>
                  </a:lnTo>
                  <a:lnTo>
                    <a:pt x="86" y="64"/>
                  </a:lnTo>
                  <a:lnTo>
                    <a:pt x="85" y="70"/>
                  </a:lnTo>
                  <a:lnTo>
                    <a:pt x="83" y="76"/>
                  </a:lnTo>
                  <a:lnTo>
                    <a:pt x="77" y="79"/>
                  </a:lnTo>
                  <a:lnTo>
                    <a:pt x="72" y="79"/>
                  </a:lnTo>
                  <a:lnTo>
                    <a:pt x="66" y="79"/>
                  </a:lnTo>
                  <a:lnTo>
                    <a:pt x="61" y="76"/>
                  </a:lnTo>
                  <a:lnTo>
                    <a:pt x="51" y="72"/>
                  </a:lnTo>
                  <a:lnTo>
                    <a:pt x="42" y="70"/>
                  </a:lnTo>
                  <a:lnTo>
                    <a:pt x="33" y="79"/>
                  </a:lnTo>
                  <a:lnTo>
                    <a:pt x="25" y="92"/>
                  </a:lnTo>
                  <a:lnTo>
                    <a:pt x="18" y="94"/>
                  </a:lnTo>
                  <a:lnTo>
                    <a:pt x="11" y="98"/>
                  </a:lnTo>
                  <a:lnTo>
                    <a:pt x="13" y="105"/>
                  </a:lnTo>
                  <a:lnTo>
                    <a:pt x="14" y="113"/>
                  </a:lnTo>
                  <a:lnTo>
                    <a:pt x="7" y="118"/>
                  </a:lnTo>
                  <a:lnTo>
                    <a:pt x="1" y="127"/>
                  </a:lnTo>
                  <a:lnTo>
                    <a:pt x="5" y="140"/>
                  </a:lnTo>
                  <a:lnTo>
                    <a:pt x="13" y="153"/>
                  </a:lnTo>
                  <a:lnTo>
                    <a:pt x="14" y="161"/>
                  </a:lnTo>
                  <a:lnTo>
                    <a:pt x="16" y="168"/>
                  </a:lnTo>
                  <a:lnTo>
                    <a:pt x="16" y="175"/>
                  </a:lnTo>
                  <a:lnTo>
                    <a:pt x="14" y="185"/>
                  </a:lnTo>
                  <a:lnTo>
                    <a:pt x="7" y="188"/>
                  </a:lnTo>
                  <a:lnTo>
                    <a:pt x="3" y="192"/>
                  </a:lnTo>
                  <a:lnTo>
                    <a:pt x="1" y="196"/>
                  </a:lnTo>
                  <a:lnTo>
                    <a:pt x="0" y="201"/>
                  </a:lnTo>
                  <a:lnTo>
                    <a:pt x="0" y="216"/>
                  </a:lnTo>
                  <a:lnTo>
                    <a:pt x="1" y="229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37" name="Freeform 33"/>
            <p:cNvSpPr>
              <a:spLocks/>
            </p:cNvSpPr>
            <p:nvPr/>
          </p:nvSpPr>
          <p:spPr bwMode="auto">
            <a:xfrm>
              <a:off x="4289847" y="4678021"/>
              <a:ext cx="557059" cy="844999"/>
            </a:xfrm>
            <a:custGeom>
              <a:avLst/>
              <a:gdLst>
                <a:gd name="T0" fmla="*/ 32205 w 321"/>
                <a:gd name="T1" fmla="*/ 381000 h 449"/>
                <a:gd name="T2" fmla="*/ 26350 w 321"/>
                <a:gd name="T3" fmla="*/ 428625 h 449"/>
                <a:gd name="T4" fmla="*/ 29277 w 321"/>
                <a:gd name="T5" fmla="*/ 466725 h 449"/>
                <a:gd name="T6" fmla="*/ 0 w 321"/>
                <a:gd name="T7" fmla="*/ 530225 h 449"/>
                <a:gd name="T8" fmla="*/ 13175 w 321"/>
                <a:gd name="T9" fmla="*/ 544513 h 449"/>
                <a:gd name="T10" fmla="*/ 51235 w 321"/>
                <a:gd name="T11" fmla="*/ 554038 h 449"/>
                <a:gd name="T12" fmla="*/ 61482 w 321"/>
                <a:gd name="T13" fmla="*/ 557213 h 449"/>
                <a:gd name="T14" fmla="*/ 74657 w 321"/>
                <a:gd name="T15" fmla="*/ 544513 h 449"/>
                <a:gd name="T16" fmla="*/ 77585 w 321"/>
                <a:gd name="T17" fmla="*/ 571500 h 449"/>
                <a:gd name="T18" fmla="*/ 71729 w 321"/>
                <a:gd name="T19" fmla="*/ 598488 h 449"/>
                <a:gd name="T20" fmla="*/ 89296 w 321"/>
                <a:gd name="T21" fmla="*/ 601663 h 449"/>
                <a:gd name="T22" fmla="*/ 112717 w 321"/>
                <a:gd name="T23" fmla="*/ 609600 h 449"/>
                <a:gd name="T24" fmla="*/ 137603 w 321"/>
                <a:gd name="T25" fmla="*/ 627063 h 449"/>
                <a:gd name="T26" fmla="*/ 147850 w 321"/>
                <a:gd name="T27" fmla="*/ 623888 h 449"/>
                <a:gd name="T28" fmla="*/ 156633 w 321"/>
                <a:gd name="T29" fmla="*/ 633413 h 449"/>
                <a:gd name="T30" fmla="*/ 140531 w 321"/>
                <a:gd name="T31" fmla="*/ 647700 h 449"/>
                <a:gd name="T32" fmla="*/ 118573 w 321"/>
                <a:gd name="T33" fmla="*/ 661988 h 449"/>
                <a:gd name="T34" fmla="*/ 121501 w 321"/>
                <a:gd name="T35" fmla="*/ 685800 h 449"/>
                <a:gd name="T36" fmla="*/ 137603 w 321"/>
                <a:gd name="T37" fmla="*/ 682625 h 449"/>
                <a:gd name="T38" fmla="*/ 159561 w 321"/>
                <a:gd name="T39" fmla="*/ 685800 h 449"/>
                <a:gd name="T40" fmla="*/ 166880 w 321"/>
                <a:gd name="T41" fmla="*/ 703263 h 449"/>
                <a:gd name="T42" fmla="*/ 185911 w 321"/>
                <a:gd name="T43" fmla="*/ 700088 h 449"/>
                <a:gd name="T44" fmla="*/ 215188 w 321"/>
                <a:gd name="T45" fmla="*/ 700088 h 449"/>
                <a:gd name="T46" fmla="*/ 253248 w 321"/>
                <a:gd name="T47" fmla="*/ 703263 h 449"/>
                <a:gd name="T48" fmla="*/ 301556 w 321"/>
                <a:gd name="T49" fmla="*/ 671513 h 449"/>
                <a:gd name="T50" fmla="*/ 301556 w 321"/>
                <a:gd name="T51" fmla="*/ 619125 h 449"/>
                <a:gd name="T52" fmla="*/ 320586 w 321"/>
                <a:gd name="T53" fmla="*/ 601663 h 449"/>
                <a:gd name="T54" fmla="*/ 320586 w 321"/>
                <a:gd name="T55" fmla="*/ 563563 h 449"/>
                <a:gd name="T56" fmla="*/ 301556 w 321"/>
                <a:gd name="T57" fmla="*/ 509588 h 449"/>
                <a:gd name="T58" fmla="*/ 319122 w 321"/>
                <a:gd name="T59" fmla="*/ 474663 h 449"/>
                <a:gd name="T60" fmla="*/ 336688 w 321"/>
                <a:gd name="T61" fmla="*/ 454025 h 449"/>
                <a:gd name="T62" fmla="*/ 374749 w 321"/>
                <a:gd name="T63" fmla="*/ 422275 h 449"/>
                <a:gd name="T64" fmla="*/ 405490 w 321"/>
                <a:gd name="T65" fmla="*/ 433388 h 449"/>
                <a:gd name="T66" fmla="*/ 424520 w 321"/>
                <a:gd name="T67" fmla="*/ 419100 h 449"/>
                <a:gd name="T68" fmla="*/ 421593 w 321"/>
                <a:gd name="T69" fmla="*/ 398463 h 449"/>
                <a:gd name="T70" fmla="*/ 434767 w 321"/>
                <a:gd name="T71" fmla="*/ 369888 h 449"/>
                <a:gd name="T72" fmla="*/ 447942 w 321"/>
                <a:gd name="T73" fmla="*/ 307975 h 449"/>
                <a:gd name="T74" fmla="*/ 434767 w 321"/>
                <a:gd name="T75" fmla="*/ 255588 h 449"/>
                <a:gd name="T76" fmla="*/ 443550 w 321"/>
                <a:gd name="T77" fmla="*/ 217488 h 449"/>
                <a:gd name="T78" fmla="*/ 453798 w 321"/>
                <a:gd name="T79" fmla="*/ 204788 h 449"/>
                <a:gd name="T80" fmla="*/ 447942 w 321"/>
                <a:gd name="T81" fmla="*/ 176213 h 449"/>
                <a:gd name="T82" fmla="*/ 469900 w 321"/>
                <a:gd name="T83" fmla="*/ 90488 h 449"/>
                <a:gd name="T84" fmla="*/ 447942 w 321"/>
                <a:gd name="T85" fmla="*/ 104775 h 449"/>
                <a:gd name="T86" fmla="*/ 383532 w 321"/>
                <a:gd name="T87" fmla="*/ 125413 h 449"/>
                <a:gd name="T88" fmla="*/ 313267 w 321"/>
                <a:gd name="T89" fmla="*/ 104775 h 449"/>
                <a:gd name="T90" fmla="*/ 237146 w 321"/>
                <a:gd name="T91" fmla="*/ 73025 h 449"/>
                <a:gd name="T92" fmla="*/ 202013 w 321"/>
                <a:gd name="T93" fmla="*/ 38100 h 449"/>
                <a:gd name="T94" fmla="*/ 202013 w 321"/>
                <a:gd name="T95" fmla="*/ 0 h 449"/>
                <a:gd name="T96" fmla="*/ 175664 w 321"/>
                <a:gd name="T97" fmla="*/ 14288 h 449"/>
                <a:gd name="T98" fmla="*/ 144922 w 321"/>
                <a:gd name="T99" fmla="*/ 58738 h 449"/>
                <a:gd name="T100" fmla="*/ 153706 w 321"/>
                <a:gd name="T101" fmla="*/ 158750 h 449"/>
                <a:gd name="T102" fmla="*/ 161025 w 321"/>
                <a:gd name="T103" fmla="*/ 219075 h 449"/>
                <a:gd name="T104" fmla="*/ 150778 w 321"/>
                <a:gd name="T105" fmla="*/ 236538 h 449"/>
                <a:gd name="T106" fmla="*/ 131748 w 321"/>
                <a:gd name="T107" fmla="*/ 242888 h 449"/>
                <a:gd name="T108" fmla="*/ 115645 w 321"/>
                <a:gd name="T109" fmla="*/ 242888 h 449"/>
                <a:gd name="T110" fmla="*/ 96615 w 321"/>
                <a:gd name="T111" fmla="*/ 255588 h 449"/>
                <a:gd name="T112" fmla="*/ 83440 w 321"/>
                <a:gd name="T113" fmla="*/ 290513 h 449"/>
                <a:gd name="T114" fmla="*/ 71729 w 321"/>
                <a:gd name="T115" fmla="*/ 295275 h 449"/>
                <a:gd name="T116" fmla="*/ 58555 w 321"/>
                <a:gd name="T117" fmla="*/ 304800 h 449"/>
                <a:gd name="T118" fmla="*/ 42452 w 321"/>
                <a:gd name="T119" fmla="*/ 352425 h 44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21"/>
                <a:gd name="T181" fmla="*/ 0 h 449"/>
                <a:gd name="T182" fmla="*/ 321 w 321"/>
                <a:gd name="T183" fmla="*/ 449 h 44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21" h="449">
                  <a:moveTo>
                    <a:pt x="22" y="240"/>
                  </a:moveTo>
                  <a:lnTo>
                    <a:pt x="22" y="240"/>
                  </a:lnTo>
                  <a:lnTo>
                    <a:pt x="22" y="255"/>
                  </a:lnTo>
                  <a:lnTo>
                    <a:pt x="20" y="264"/>
                  </a:lnTo>
                  <a:lnTo>
                    <a:pt x="18" y="270"/>
                  </a:lnTo>
                  <a:lnTo>
                    <a:pt x="18" y="275"/>
                  </a:lnTo>
                  <a:lnTo>
                    <a:pt x="18" y="282"/>
                  </a:lnTo>
                  <a:lnTo>
                    <a:pt x="20" y="294"/>
                  </a:lnTo>
                  <a:lnTo>
                    <a:pt x="12" y="308"/>
                  </a:lnTo>
                  <a:lnTo>
                    <a:pt x="1" y="329"/>
                  </a:lnTo>
                  <a:lnTo>
                    <a:pt x="0" y="334"/>
                  </a:lnTo>
                  <a:lnTo>
                    <a:pt x="1" y="340"/>
                  </a:lnTo>
                  <a:lnTo>
                    <a:pt x="3" y="342"/>
                  </a:lnTo>
                  <a:lnTo>
                    <a:pt x="9" y="343"/>
                  </a:lnTo>
                  <a:lnTo>
                    <a:pt x="18" y="345"/>
                  </a:lnTo>
                  <a:lnTo>
                    <a:pt x="31" y="347"/>
                  </a:lnTo>
                  <a:lnTo>
                    <a:pt x="35" y="349"/>
                  </a:lnTo>
                  <a:lnTo>
                    <a:pt x="38" y="353"/>
                  </a:lnTo>
                  <a:lnTo>
                    <a:pt x="40" y="353"/>
                  </a:lnTo>
                  <a:lnTo>
                    <a:pt x="42" y="351"/>
                  </a:lnTo>
                  <a:lnTo>
                    <a:pt x="44" y="347"/>
                  </a:lnTo>
                  <a:lnTo>
                    <a:pt x="46" y="340"/>
                  </a:lnTo>
                  <a:lnTo>
                    <a:pt x="51" y="343"/>
                  </a:lnTo>
                  <a:lnTo>
                    <a:pt x="55" y="349"/>
                  </a:lnTo>
                  <a:lnTo>
                    <a:pt x="55" y="355"/>
                  </a:lnTo>
                  <a:lnTo>
                    <a:pt x="53" y="360"/>
                  </a:lnTo>
                  <a:lnTo>
                    <a:pt x="51" y="367"/>
                  </a:lnTo>
                  <a:lnTo>
                    <a:pt x="49" y="373"/>
                  </a:lnTo>
                  <a:lnTo>
                    <a:pt x="49" y="377"/>
                  </a:lnTo>
                  <a:lnTo>
                    <a:pt x="51" y="380"/>
                  </a:lnTo>
                  <a:lnTo>
                    <a:pt x="55" y="380"/>
                  </a:lnTo>
                  <a:lnTo>
                    <a:pt x="61" y="379"/>
                  </a:lnTo>
                  <a:lnTo>
                    <a:pt x="66" y="375"/>
                  </a:lnTo>
                  <a:lnTo>
                    <a:pt x="70" y="371"/>
                  </a:lnTo>
                  <a:lnTo>
                    <a:pt x="77" y="384"/>
                  </a:lnTo>
                  <a:lnTo>
                    <a:pt x="86" y="393"/>
                  </a:lnTo>
                  <a:lnTo>
                    <a:pt x="90" y="395"/>
                  </a:lnTo>
                  <a:lnTo>
                    <a:pt x="94" y="395"/>
                  </a:lnTo>
                  <a:lnTo>
                    <a:pt x="97" y="395"/>
                  </a:lnTo>
                  <a:lnTo>
                    <a:pt x="99" y="395"/>
                  </a:lnTo>
                  <a:lnTo>
                    <a:pt x="101" y="393"/>
                  </a:lnTo>
                  <a:lnTo>
                    <a:pt x="105" y="393"/>
                  </a:lnTo>
                  <a:lnTo>
                    <a:pt x="107" y="395"/>
                  </a:lnTo>
                  <a:lnTo>
                    <a:pt x="107" y="399"/>
                  </a:lnTo>
                  <a:lnTo>
                    <a:pt x="107" y="403"/>
                  </a:lnTo>
                  <a:lnTo>
                    <a:pt x="101" y="406"/>
                  </a:lnTo>
                  <a:lnTo>
                    <a:pt x="96" y="408"/>
                  </a:lnTo>
                  <a:lnTo>
                    <a:pt x="90" y="410"/>
                  </a:lnTo>
                  <a:lnTo>
                    <a:pt x="85" y="414"/>
                  </a:lnTo>
                  <a:lnTo>
                    <a:pt x="81" y="417"/>
                  </a:lnTo>
                  <a:lnTo>
                    <a:pt x="79" y="423"/>
                  </a:lnTo>
                  <a:lnTo>
                    <a:pt x="79" y="430"/>
                  </a:lnTo>
                  <a:lnTo>
                    <a:pt x="83" y="432"/>
                  </a:lnTo>
                  <a:lnTo>
                    <a:pt x="86" y="434"/>
                  </a:lnTo>
                  <a:lnTo>
                    <a:pt x="90" y="432"/>
                  </a:lnTo>
                  <a:lnTo>
                    <a:pt x="94" y="430"/>
                  </a:lnTo>
                  <a:lnTo>
                    <a:pt x="101" y="427"/>
                  </a:lnTo>
                  <a:lnTo>
                    <a:pt x="107" y="427"/>
                  </a:lnTo>
                  <a:lnTo>
                    <a:pt x="109" y="432"/>
                  </a:lnTo>
                  <a:lnTo>
                    <a:pt x="110" y="438"/>
                  </a:lnTo>
                  <a:lnTo>
                    <a:pt x="112" y="441"/>
                  </a:lnTo>
                  <a:lnTo>
                    <a:pt x="114" y="443"/>
                  </a:lnTo>
                  <a:lnTo>
                    <a:pt x="118" y="447"/>
                  </a:lnTo>
                  <a:lnTo>
                    <a:pt x="121" y="449"/>
                  </a:lnTo>
                  <a:lnTo>
                    <a:pt x="127" y="441"/>
                  </a:lnTo>
                  <a:lnTo>
                    <a:pt x="133" y="436"/>
                  </a:lnTo>
                  <a:lnTo>
                    <a:pt x="138" y="436"/>
                  </a:lnTo>
                  <a:lnTo>
                    <a:pt x="147" y="441"/>
                  </a:lnTo>
                  <a:lnTo>
                    <a:pt x="153" y="443"/>
                  </a:lnTo>
                  <a:lnTo>
                    <a:pt x="162" y="445"/>
                  </a:lnTo>
                  <a:lnTo>
                    <a:pt x="173" y="443"/>
                  </a:lnTo>
                  <a:lnTo>
                    <a:pt x="188" y="440"/>
                  </a:lnTo>
                  <a:lnTo>
                    <a:pt x="199" y="432"/>
                  </a:lnTo>
                  <a:lnTo>
                    <a:pt x="206" y="423"/>
                  </a:lnTo>
                  <a:lnTo>
                    <a:pt x="205" y="410"/>
                  </a:lnTo>
                  <a:lnTo>
                    <a:pt x="205" y="395"/>
                  </a:lnTo>
                  <a:lnTo>
                    <a:pt x="206" y="390"/>
                  </a:lnTo>
                  <a:lnTo>
                    <a:pt x="208" y="386"/>
                  </a:lnTo>
                  <a:lnTo>
                    <a:pt x="212" y="382"/>
                  </a:lnTo>
                  <a:lnTo>
                    <a:pt x="219" y="379"/>
                  </a:lnTo>
                  <a:lnTo>
                    <a:pt x="221" y="369"/>
                  </a:lnTo>
                  <a:lnTo>
                    <a:pt x="221" y="362"/>
                  </a:lnTo>
                  <a:lnTo>
                    <a:pt x="219" y="355"/>
                  </a:lnTo>
                  <a:lnTo>
                    <a:pt x="218" y="347"/>
                  </a:lnTo>
                  <a:lnTo>
                    <a:pt x="210" y="334"/>
                  </a:lnTo>
                  <a:lnTo>
                    <a:pt x="206" y="321"/>
                  </a:lnTo>
                  <a:lnTo>
                    <a:pt x="212" y="312"/>
                  </a:lnTo>
                  <a:lnTo>
                    <a:pt x="219" y="307"/>
                  </a:lnTo>
                  <a:lnTo>
                    <a:pt x="218" y="299"/>
                  </a:lnTo>
                  <a:lnTo>
                    <a:pt x="216" y="292"/>
                  </a:lnTo>
                  <a:lnTo>
                    <a:pt x="223" y="288"/>
                  </a:lnTo>
                  <a:lnTo>
                    <a:pt x="230" y="286"/>
                  </a:lnTo>
                  <a:lnTo>
                    <a:pt x="238" y="273"/>
                  </a:lnTo>
                  <a:lnTo>
                    <a:pt x="247" y="264"/>
                  </a:lnTo>
                  <a:lnTo>
                    <a:pt x="256" y="266"/>
                  </a:lnTo>
                  <a:lnTo>
                    <a:pt x="266" y="270"/>
                  </a:lnTo>
                  <a:lnTo>
                    <a:pt x="271" y="273"/>
                  </a:lnTo>
                  <a:lnTo>
                    <a:pt x="277" y="273"/>
                  </a:lnTo>
                  <a:lnTo>
                    <a:pt x="282" y="273"/>
                  </a:lnTo>
                  <a:lnTo>
                    <a:pt x="288" y="270"/>
                  </a:lnTo>
                  <a:lnTo>
                    <a:pt x="290" y="264"/>
                  </a:lnTo>
                  <a:lnTo>
                    <a:pt x="291" y="258"/>
                  </a:lnTo>
                  <a:lnTo>
                    <a:pt x="290" y="255"/>
                  </a:lnTo>
                  <a:lnTo>
                    <a:pt x="288" y="251"/>
                  </a:lnTo>
                  <a:lnTo>
                    <a:pt x="286" y="246"/>
                  </a:lnTo>
                  <a:lnTo>
                    <a:pt x="286" y="238"/>
                  </a:lnTo>
                  <a:lnTo>
                    <a:pt x="297" y="233"/>
                  </a:lnTo>
                  <a:lnTo>
                    <a:pt x="308" y="225"/>
                  </a:lnTo>
                  <a:lnTo>
                    <a:pt x="308" y="210"/>
                  </a:lnTo>
                  <a:lnTo>
                    <a:pt x="306" y="194"/>
                  </a:lnTo>
                  <a:lnTo>
                    <a:pt x="301" y="175"/>
                  </a:lnTo>
                  <a:lnTo>
                    <a:pt x="297" y="161"/>
                  </a:lnTo>
                  <a:lnTo>
                    <a:pt x="299" y="149"/>
                  </a:lnTo>
                  <a:lnTo>
                    <a:pt x="301" y="140"/>
                  </a:lnTo>
                  <a:lnTo>
                    <a:pt x="303" y="137"/>
                  </a:lnTo>
                  <a:lnTo>
                    <a:pt x="304" y="133"/>
                  </a:lnTo>
                  <a:lnTo>
                    <a:pt x="308" y="131"/>
                  </a:lnTo>
                  <a:lnTo>
                    <a:pt x="310" y="129"/>
                  </a:lnTo>
                  <a:lnTo>
                    <a:pt x="312" y="127"/>
                  </a:lnTo>
                  <a:lnTo>
                    <a:pt x="312" y="122"/>
                  </a:lnTo>
                  <a:lnTo>
                    <a:pt x="306" y="111"/>
                  </a:lnTo>
                  <a:lnTo>
                    <a:pt x="303" y="101"/>
                  </a:lnTo>
                  <a:lnTo>
                    <a:pt x="312" y="81"/>
                  </a:lnTo>
                  <a:lnTo>
                    <a:pt x="321" y="57"/>
                  </a:lnTo>
                  <a:lnTo>
                    <a:pt x="306" y="66"/>
                  </a:lnTo>
                  <a:lnTo>
                    <a:pt x="291" y="72"/>
                  </a:lnTo>
                  <a:lnTo>
                    <a:pt x="277" y="77"/>
                  </a:lnTo>
                  <a:lnTo>
                    <a:pt x="262" y="79"/>
                  </a:lnTo>
                  <a:lnTo>
                    <a:pt x="243" y="70"/>
                  </a:lnTo>
                  <a:lnTo>
                    <a:pt x="229" y="61"/>
                  </a:lnTo>
                  <a:lnTo>
                    <a:pt x="214" y="66"/>
                  </a:lnTo>
                  <a:lnTo>
                    <a:pt x="199" y="70"/>
                  </a:lnTo>
                  <a:lnTo>
                    <a:pt x="181" y="59"/>
                  </a:lnTo>
                  <a:lnTo>
                    <a:pt x="162" y="46"/>
                  </a:lnTo>
                  <a:lnTo>
                    <a:pt x="147" y="46"/>
                  </a:lnTo>
                  <a:lnTo>
                    <a:pt x="133" y="44"/>
                  </a:lnTo>
                  <a:lnTo>
                    <a:pt x="138" y="24"/>
                  </a:lnTo>
                  <a:lnTo>
                    <a:pt x="145" y="3"/>
                  </a:lnTo>
                  <a:lnTo>
                    <a:pt x="142" y="2"/>
                  </a:lnTo>
                  <a:lnTo>
                    <a:pt x="138" y="0"/>
                  </a:lnTo>
                  <a:lnTo>
                    <a:pt x="133" y="2"/>
                  </a:lnTo>
                  <a:lnTo>
                    <a:pt x="127" y="5"/>
                  </a:lnTo>
                  <a:lnTo>
                    <a:pt x="120" y="9"/>
                  </a:lnTo>
                  <a:lnTo>
                    <a:pt x="114" y="16"/>
                  </a:lnTo>
                  <a:lnTo>
                    <a:pt x="107" y="26"/>
                  </a:lnTo>
                  <a:lnTo>
                    <a:pt x="99" y="37"/>
                  </a:lnTo>
                  <a:lnTo>
                    <a:pt x="97" y="57"/>
                  </a:lnTo>
                  <a:lnTo>
                    <a:pt x="99" y="79"/>
                  </a:lnTo>
                  <a:lnTo>
                    <a:pt x="105" y="100"/>
                  </a:lnTo>
                  <a:lnTo>
                    <a:pt x="110" y="116"/>
                  </a:lnTo>
                  <a:lnTo>
                    <a:pt x="110" y="129"/>
                  </a:lnTo>
                  <a:lnTo>
                    <a:pt x="110" y="138"/>
                  </a:lnTo>
                  <a:lnTo>
                    <a:pt x="109" y="144"/>
                  </a:lnTo>
                  <a:lnTo>
                    <a:pt x="107" y="148"/>
                  </a:lnTo>
                  <a:lnTo>
                    <a:pt x="103" y="149"/>
                  </a:lnTo>
                  <a:lnTo>
                    <a:pt x="101" y="151"/>
                  </a:lnTo>
                  <a:lnTo>
                    <a:pt x="96" y="153"/>
                  </a:lnTo>
                  <a:lnTo>
                    <a:pt x="90" y="153"/>
                  </a:lnTo>
                  <a:lnTo>
                    <a:pt x="85" y="151"/>
                  </a:lnTo>
                  <a:lnTo>
                    <a:pt x="79" y="146"/>
                  </a:lnTo>
                  <a:lnTo>
                    <a:pt x="79" y="153"/>
                  </a:lnTo>
                  <a:lnTo>
                    <a:pt x="75" y="157"/>
                  </a:lnTo>
                  <a:lnTo>
                    <a:pt x="70" y="159"/>
                  </a:lnTo>
                  <a:lnTo>
                    <a:pt x="66" y="161"/>
                  </a:lnTo>
                  <a:lnTo>
                    <a:pt x="64" y="172"/>
                  </a:lnTo>
                  <a:lnTo>
                    <a:pt x="64" y="183"/>
                  </a:lnTo>
                  <a:lnTo>
                    <a:pt x="57" y="183"/>
                  </a:lnTo>
                  <a:lnTo>
                    <a:pt x="49" y="181"/>
                  </a:lnTo>
                  <a:lnTo>
                    <a:pt x="51" y="183"/>
                  </a:lnTo>
                  <a:lnTo>
                    <a:pt x="49" y="186"/>
                  </a:lnTo>
                  <a:lnTo>
                    <a:pt x="48" y="188"/>
                  </a:lnTo>
                  <a:lnTo>
                    <a:pt x="46" y="188"/>
                  </a:lnTo>
                  <a:lnTo>
                    <a:pt x="40" y="192"/>
                  </a:lnTo>
                  <a:lnTo>
                    <a:pt x="35" y="194"/>
                  </a:lnTo>
                  <a:lnTo>
                    <a:pt x="31" y="209"/>
                  </a:lnTo>
                  <a:lnTo>
                    <a:pt x="29" y="222"/>
                  </a:lnTo>
                  <a:lnTo>
                    <a:pt x="25" y="231"/>
                  </a:lnTo>
                  <a:lnTo>
                    <a:pt x="22" y="240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38" name="Freeform 34"/>
            <p:cNvSpPr>
              <a:spLocks/>
            </p:cNvSpPr>
            <p:nvPr/>
          </p:nvSpPr>
          <p:spPr bwMode="auto">
            <a:xfrm>
              <a:off x="4805504" y="4523701"/>
              <a:ext cx="1027548" cy="918395"/>
            </a:xfrm>
            <a:custGeom>
              <a:avLst/>
              <a:gdLst>
                <a:gd name="T0" fmla="*/ 505985 w 591"/>
                <a:gd name="T1" fmla="*/ 754063 h 488"/>
                <a:gd name="T2" fmla="*/ 571983 w 591"/>
                <a:gd name="T3" fmla="*/ 739775 h 488"/>
                <a:gd name="T4" fmla="*/ 617449 w 591"/>
                <a:gd name="T5" fmla="*/ 725488 h 488"/>
                <a:gd name="T6" fmla="*/ 665847 w 591"/>
                <a:gd name="T7" fmla="*/ 708025 h 488"/>
                <a:gd name="T8" fmla="*/ 718646 w 591"/>
                <a:gd name="T9" fmla="*/ 708025 h 488"/>
                <a:gd name="T10" fmla="*/ 774378 w 591"/>
                <a:gd name="T11" fmla="*/ 722313 h 488"/>
                <a:gd name="T12" fmla="*/ 806643 w 591"/>
                <a:gd name="T13" fmla="*/ 704850 h 488"/>
                <a:gd name="T14" fmla="*/ 815443 w 591"/>
                <a:gd name="T15" fmla="*/ 657225 h 488"/>
                <a:gd name="T16" fmla="*/ 866775 w 591"/>
                <a:gd name="T17" fmla="*/ 596900 h 488"/>
                <a:gd name="T18" fmla="*/ 853575 w 591"/>
                <a:gd name="T19" fmla="*/ 577850 h 488"/>
                <a:gd name="T20" fmla="*/ 821310 w 591"/>
                <a:gd name="T21" fmla="*/ 566738 h 488"/>
                <a:gd name="T22" fmla="*/ 790511 w 591"/>
                <a:gd name="T23" fmla="*/ 522288 h 488"/>
                <a:gd name="T24" fmla="*/ 799310 w 591"/>
                <a:gd name="T25" fmla="*/ 466725 h 488"/>
                <a:gd name="T26" fmla="*/ 825710 w 591"/>
                <a:gd name="T27" fmla="*/ 434975 h 488"/>
                <a:gd name="T28" fmla="*/ 859442 w 591"/>
                <a:gd name="T29" fmla="*/ 434975 h 488"/>
                <a:gd name="T30" fmla="*/ 859442 w 591"/>
                <a:gd name="T31" fmla="*/ 393700 h 488"/>
                <a:gd name="T32" fmla="*/ 825710 w 591"/>
                <a:gd name="T33" fmla="*/ 390525 h 488"/>
                <a:gd name="T34" fmla="*/ 806643 w 591"/>
                <a:gd name="T35" fmla="*/ 387350 h 488"/>
                <a:gd name="T36" fmla="*/ 796377 w 591"/>
                <a:gd name="T37" fmla="*/ 361950 h 488"/>
                <a:gd name="T38" fmla="*/ 796377 w 591"/>
                <a:gd name="T39" fmla="*/ 328613 h 488"/>
                <a:gd name="T40" fmla="*/ 780244 w 591"/>
                <a:gd name="T41" fmla="*/ 300038 h 488"/>
                <a:gd name="T42" fmla="*/ 728912 w 591"/>
                <a:gd name="T43" fmla="*/ 285750 h 488"/>
                <a:gd name="T44" fmla="*/ 668781 w 591"/>
                <a:gd name="T45" fmla="*/ 282575 h 488"/>
                <a:gd name="T46" fmla="*/ 639448 w 591"/>
                <a:gd name="T47" fmla="*/ 258763 h 488"/>
                <a:gd name="T48" fmla="*/ 642381 w 591"/>
                <a:gd name="T49" fmla="*/ 234950 h 488"/>
                <a:gd name="T50" fmla="*/ 655581 w 591"/>
                <a:gd name="T51" fmla="*/ 214313 h 488"/>
                <a:gd name="T52" fmla="*/ 649715 w 591"/>
                <a:gd name="T53" fmla="*/ 171450 h 488"/>
                <a:gd name="T54" fmla="*/ 604249 w 591"/>
                <a:gd name="T55" fmla="*/ 112713 h 488"/>
                <a:gd name="T56" fmla="*/ 511852 w 591"/>
                <a:gd name="T57" fmla="*/ 133350 h 488"/>
                <a:gd name="T58" fmla="*/ 473720 w 591"/>
                <a:gd name="T59" fmla="*/ 109538 h 488"/>
                <a:gd name="T60" fmla="*/ 441454 w 591"/>
                <a:gd name="T61" fmla="*/ 77788 h 488"/>
                <a:gd name="T62" fmla="*/ 406255 w 591"/>
                <a:gd name="T63" fmla="*/ 79375 h 488"/>
                <a:gd name="T64" fmla="*/ 365189 w 591"/>
                <a:gd name="T65" fmla="*/ 71438 h 488"/>
                <a:gd name="T66" fmla="*/ 335857 w 591"/>
                <a:gd name="T67" fmla="*/ 41275 h 488"/>
                <a:gd name="T68" fmla="*/ 294791 w 591"/>
                <a:gd name="T69" fmla="*/ 33338 h 488"/>
                <a:gd name="T70" fmla="*/ 252259 w 591"/>
                <a:gd name="T71" fmla="*/ 3175 h 488"/>
                <a:gd name="T72" fmla="*/ 230260 w 591"/>
                <a:gd name="T73" fmla="*/ 23813 h 488"/>
                <a:gd name="T74" fmla="*/ 197994 w 591"/>
                <a:gd name="T75" fmla="*/ 57150 h 488"/>
                <a:gd name="T76" fmla="*/ 165729 w 591"/>
                <a:gd name="T77" fmla="*/ 103188 h 488"/>
                <a:gd name="T78" fmla="*/ 121730 w 591"/>
                <a:gd name="T79" fmla="*/ 144463 h 488"/>
                <a:gd name="T80" fmla="*/ 67465 w 591"/>
                <a:gd name="T81" fmla="*/ 206375 h 488"/>
                <a:gd name="T82" fmla="*/ 35199 w 591"/>
                <a:gd name="T83" fmla="*/ 220663 h 488"/>
                <a:gd name="T84" fmla="*/ 13200 w 591"/>
                <a:gd name="T85" fmla="*/ 306388 h 488"/>
                <a:gd name="T86" fmla="*/ 19066 w 591"/>
                <a:gd name="T87" fmla="*/ 334963 h 488"/>
                <a:gd name="T88" fmla="*/ 8800 w 591"/>
                <a:gd name="T89" fmla="*/ 347663 h 488"/>
                <a:gd name="T90" fmla="*/ 0 w 591"/>
                <a:gd name="T91" fmla="*/ 385763 h 488"/>
                <a:gd name="T92" fmla="*/ 13200 w 591"/>
                <a:gd name="T93" fmla="*/ 438150 h 488"/>
                <a:gd name="T94" fmla="*/ 95331 w 591"/>
                <a:gd name="T95" fmla="*/ 463550 h 488"/>
                <a:gd name="T96" fmla="*/ 219994 w 591"/>
                <a:gd name="T97" fmla="*/ 546100 h 488"/>
                <a:gd name="T98" fmla="*/ 236127 w 591"/>
                <a:gd name="T99" fmla="*/ 593725 h 488"/>
                <a:gd name="T100" fmla="*/ 249326 w 591"/>
                <a:gd name="T101" fmla="*/ 617538 h 488"/>
                <a:gd name="T102" fmla="*/ 327057 w 591"/>
                <a:gd name="T103" fmla="*/ 649288 h 488"/>
                <a:gd name="T104" fmla="*/ 379856 w 591"/>
                <a:gd name="T105" fmla="*/ 673100 h 488"/>
                <a:gd name="T106" fmla="*/ 409188 w 591"/>
                <a:gd name="T107" fmla="*/ 673100 h 488"/>
                <a:gd name="T108" fmla="*/ 441454 w 591"/>
                <a:gd name="T109" fmla="*/ 657225 h 488"/>
                <a:gd name="T110" fmla="*/ 431188 w 591"/>
                <a:gd name="T111" fmla="*/ 754063 h 488"/>
                <a:gd name="T112" fmla="*/ 444387 w 591"/>
                <a:gd name="T113" fmla="*/ 771525 h 488"/>
                <a:gd name="T114" fmla="*/ 473720 w 591"/>
                <a:gd name="T115" fmla="*/ 757238 h 488"/>
                <a:gd name="T116" fmla="*/ 505985 w 591"/>
                <a:gd name="T117" fmla="*/ 754063 h 4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91"/>
                <a:gd name="T178" fmla="*/ 0 h 488"/>
                <a:gd name="T179" fmla="*/ 591 w 591"/>
                <a:gd name="T180" fmla="*/ 488 h 4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91" h="488">
                  <a:moveTo>
                    <a:pt x="345" y="475"/>
                  </a:moveTo>
                  <a:lnTo>
                    <a:pt x="345" y="475"/>
                  </a:lnTo>
                  <a:lnTo>
                    <a:pt x="364" y="470"/>
                  </a:lnTo>
                  <a:lnTo>
                    <a:pt x="381" y="468"/>
                  </a:lnTo>
                  <a:lnTo>
                    <a:pt x="390" y="466"/>
                  </a:lnTo>
                  <a:lnTo>
                    <a:pt x="401" y="464"/>
                  </a:lnTo>
                  <a:lnTo>
                    <a:pt x="410" y="461"/>
                  </a:lnTo>
                  <a:lnTo>
                    <a:pt x="421" y="457"/>
                  </a:lnTo>
                  <a:lnTo>
                    <a:pt x="434" y="448"/>
                  </a:lnTo>
                  <a:lnTo>
                    <a:pt x="440" y="442"/>
                  </a:lnTo>
                  <a:lnTo>
                    <a:pt x="454" y="446"/>
                  </a:lnTo>
                  <a:lnTo>
                    <a:pt x="469" y="449"/>
                  </a:lnTo>
                  <a:lnTo>
                    <a:pt x="480" y="448"/>
                  </a:lnTo>
                  <a:lnTo>
                    <a:pt x="490" y="446"/>
                  </a:lnTo>
                  <a:lnTo>
                    <a:pt x="497" y="453"/>
                  </a:lnTo>
                  <a:lnTo>
                    <a:pt x="508" y="461"/>
                  </a:lnTo>
                  <a:lnTo>
                    <a:pt x="528" y="455"/>
                  </a:lnTo>
                  <a:lnTo>
                    <a:pt x="547" y="446"/>
                  </a:lnTo>
                  <a:lnTo>
                    <a:pt x="549" y="444"/>
                  </a:lnTo>
                  <a:lnTo>
                    <a:pt x="550" y="444"/>
                  </a:lnTo>
                  <a:lnTo>
                    <a:pt x="547" y="433"/>
                  </a:lnTo>
                  <a:lnTo>
                    <a:pt x="543" y="424"/>
                  </a:lnTo>
                  <a:lnTo>
                    <a:pt x="556" y="414"/>
                  </a:lnTo>
                  <a:lnTo>
                    <a:pt x="571" y="403"/>
                  </a:lnTo>
                  <a:lnTo>
                    <a:pt x="582" y="389"/>
                  </a:lnTo>
                  <a:lnTo>
                    <a:pt x="591" y="376"/>
                  </a:lnTo>
                  <a:lnTo>
                    <a:pt x="589" y="370"/>
                  </a:lnTo>
                  <a:lnTo>
                    <a:pt x="587" y="368"/>
                  </a:lnTo>
                  <a:lnTo>
                    <a:pt x="582" y="364"/>
                  </a:lnTo>
                  <a:lnTo>
                    <a:pt x="576" y="363"/>
                  </a:lnTo>
                  <a:lnTo>
                    <a:pt x="569" y="361"/>
                  </a:lnTo>
                  <a:lnTo>
                    <a:pt x="560" y="357"/>
                  </a:lnTo>
                  <a:lnTo>
                    <a:pt x="550" y="350"/>
                  </a:lnTo>
                  <a:lnTo>
                    <a:pt x="541" y="340"/>
                  </a:lnTo>
                  <a:lnTo>
                    <a:pt x="539" y="329"/>
                  </a:lnTo>
                  <a:lnTo>
                    <a:pt x="539" y="318"/>
                  </a:lnTo>
                  <a:lnTo>
                    <a:pt x="541" y="307"/>
                  </a:lnTo>
                  <a:lnTo>
                    <a:pt x="545" y="294"/>
                  </a:lnTo>
                  <a:lnTo>
                    <a:pt x="550" y="285"/>
                  </a:lnTo>
                  <a:lnTo>
                    <a:pt x="558" y="278"/>
                  </a:lnTo>
                  <a:lnTo>
                    <a:pt x="563" y="274"/>
                  </a:lnTo>
                  <a:lnTo>
                    <a:pt x="567" y="270"/>
                  </a:lnTo>
                  <a:lnTo>
                    <a:pt x="578" y="272"/>
                  </a:lnTo>
                  <a:lnTo>
                    <a:pt x="586" y="274"/>
                  </a:lnTo>
                  <a:lnTo>
                    <a:pt x="586" y="267"/>
                  </a:lnTo>
                  <a:lnTo>
                    <a:pt x="586" y="257"/>
                  </a:lnTo>
                  <a:lnTo>
                    <a:pt x="586" y="248"/>
                  </a:lnTo>
                  <a:lnTo>
                    <a:pt x="584" y="243"/>
                  </a:lnTo>
                  <a:lnTo>
                    <a:pt x="573" y="244"/>
                  </a:lnTo>
                  <a:lnTo>
                    <a:pt x="563" y="246"/>
                  </a:lnTo>
                  <a:lnTo>
                    <a:pt x="558" y="246"/>
                  </a:lnTo>
                  <a:lnTo>
                    <a:pt x="554" y="246"/>
                  </a:lnTo>
                  <a:lnTo>
                    <a:pt x="550" y="244"/>
                  </a:lnTo>
                  <a:lnTo>
                    <a:pt x="549" y="243"/>
                  </a:lnTo>
                  <a:lnTo>
                    <a:pt x="545" y="235"/>
                  </a:lnTo>
                  <a:lnTo>
                    <a:pt x="543" y="228"/>
                  </a:lnTo>
                  <a:lnTo>
                    <a:pt x="543" y="222"/>
                  </a:lnTo>
                  <a:lnTo>
                    <a:pt x="543" y="215"/>
                  </a:lnTo>
                  <a:lnTo>
                    <a:pt x="543" y="207"/>
                  </a:lnTo>
                  <a:lnTo>
                    <a:pt x="541" y="202"/>
                  </a:lnTo>
                  <a:lnTo>
                    <a:pt x="538" y="196"/>
                  </a:lnTo>
                  <a:lnTo>
                    <a:pt x="532" y="189"/>
                  </a:lnTo>
                  <a:lnTo>
                    <a:pt x="521" y="183"/>
                  </a:lnTo>
                  <a:lnTo>
                    <a:pt x="510" y="182"/>
                  </a:lnTo>
                  <a:lnTo>
                    <a:pt x="497" y="180"/>
                  </a:lnTo>
                  <a:lnTo>
                    <a:pt x="482" y="180"/>
                  </a:lnTo>
                  <a:lnTo>
                    <a:pt x="469" y="178"/>
                  </a:lnTo>
                  <a:lnTo>
                    <a:pt x="456" y="178"/>
                  </a:lnTo>
                  <a:lnTo>
                    <a:pt x="447" y="174"/>
                  </a:lnTo>
                  <a:lnTo>
                    <a:pt x="438" y="169"/>
                  </a:lnTo>
                  <a:lnTo>
                    <a:pt x="436" y="163"/>
                  </a:lnTo>
                  <a:lnTo>
                    <a:pt x="434" y="158"/>
                  </a:lnTo>
                  <a:lnTo>
                    <a:pt x="436" y="152"/>
                  </a:lnTo>
                  <a:lnTo>
                    <a:pt x="438" y="148"/>
                  </a:lnTo>
                  <a:lnTo>
                    <a:pt x="441" y="145"/>
                  </a:lnTo>
                  <a:lnTo>
                    <a:pt x="445" y="139"/>
                  </a:lnTo>
                  <a:lnTo>
                    <a:pt x="447" y="135"/>
                  </a:lnTo>
                  <a:lnTo>
                    <a:pt x="447" y="130"/>
                  </a:lnTo>
                  <a:lnTo>
                    <a:pt x="445" y="119"/>
                  </a:lnTo>
                  <a:lnTo>
                    <a:pt x="443" y="108"/>
                  </a:lnTo>
                  <a:lnTo>
                    <a:pt x="438" y="93"/>
                  </a:lnTo>
                  <a:lnTo>
                    <a:pt x="432" y="76"/>
                  </a:lnTo>
                  <a:lnTo>
                    <a:pt x="412" y="71"/>
                  </a:lnTo>
                  <a:lnTo>
                    <a:pt x="395" y="63"/>
                  </a:lnTo>
                  <a:lnTo>
                    <a:pt x="371" y="73"/>
                  </a:lnTo>
                  <a:lnTo>
                    <a:pt x="349" y="84"/>
                  </a:lnTo>
                  <a:lnTo>
                    <a:pt x="342" y="78"/>
                  </a:lnTo>
                  <a:lnTo>
                    <a:pt x="338" y="69"/>
                  </a:lnTo>
                  <a:lnTo>
                    <a:pt x="323" y="69"/>
                  </a:lnTo>
                  <a:lnTo>
                    <a:pt x="310" y="69"/>
                  </a:lnTo>
                  <a:lnTo>
                    <a:pt x="305" y="58"/>
                  </a:lnTo>
                  <a:lnTo>
                    <a:pt x="301" y="49"/>
                  </a:lnTo>
                  <a:lnTo>
                    <a:pt x="294" y="49"/>
                  </a:lnTo>
                  <a:lnTo>
                    <a:pt x="284" y="50"/>
                  </a:lnTo>
                  <a:lnTo>
                    <a:pt x="277" y="50"/>
                  </a:lnTo>
                  <a:lnTo>
                    <a:pt x="270" y="50"/>
                  </a:lnTo>
                  <a:lnTo>
                    <a:pt x="260" y="49"/>
                  </a:lnTo>
                  <a:lnTo>
                    <a:pt x="249" y="45"/>
                  </a:lnTo>
                  <a:lnTo>
                    <a:pt x="240" y="36"/>
                  </a:lnTo>
                  <a:lnTo>
                    <a:pt x="235" y="26"/>
                  </a:lnTo>
                  <a:lnTo>
                    <a:pt x="229" y="26"/>
                  </a:lnTo>
                  <a:lnTo>
                    <a:pt x="222" y="26"/>
                  </a:lnTo>
                  <a:lnTo>
                    <a:pt x="212" y="26"/>
                  </a:lnTo>
                  <a:lnTo>
                    <a:pt x="201" y="21"/>
                  </a:lnTo>
                  <a:lnTo>
                    <a:pt x="188" y="10"/>
                  </a:lnTo>
                  <a:lnTo>
                    <a:pt x="175" y="0"/>
                  </a:lnTo>
                  <a:lnTo>
                    <a:pt x="172" y="2"/>
                  </a:lnTo>
                  <a:lnTo>
                    <a:pt x="166" y="4"/>
                  </a:lnTo>
                  <a:lnTo>
                    <a:pt x="163" y="10"/>
                  </a:lnTo>
                  <a:lnTo>
                    <a:pt x="157" y="15"/>
                  </a:lnTo>
                  <a:lnTo>
                    <a:pt x="148" y="21"/>
                  </a:lnTo>
                  <a:lnTo>
                    <a:pt x="137" y="26"/>
                  </a:lnTo>
                  <a:lnTo>
                    <a:pt x="135" y="36"/>
                  </a:lnTo>
                  <a:lnTo>
                    <a:pt x="131" y="45"/>
                  </a:lnTo>
                  <a:lnTo>
                    <a:pt x="122" y="54"/>
                  </a:lnTo>
                  <a:lnTo>
                    <a:pt x="113" y="65"/>
                  </a:lnTo>
                  <a:lnTo>
                    <a:pt x="109" y="74"/>
                  </a:lnTo>
                  <a:lnTo>
                    <a:pt x="102" y="87"/>
                  </a:lnTo>
                  <a:lnTo>
                    <a:pt x="83" y="91"/>
                  </a:lnTo>
                  <a:lnTo>
                    <a:pt x="63" y="93"/>
                  </a:lnTo>
                  <a:lnTo>
                    <a:pt x="54" y="111"/>
                  </a:lnTo>
                  <a:lnTo>
                    <a:pt x="46" y="130"/>
                  </a:lnTo>
                  <a:lnTo>
                    <a:pt x="35" y="135"/>
                  </a:lnTo>
                  <a:lnTo>
                    <a:pt x="24" y="139"/>
                  </a:lnTo>
                  <a:lnTo>
                    <a:pt x="15" y="163"/>
                  </a:lnTo>
                  <a:lnTo>
                    <a:pt x="6" y="183"/>
                  </a:lnTo>
                  <a:lnTo>
                    <a:pt x="9" y="193"/>
                  </a:lnTo>
                  <a:lnTo>
                    <a:pt x="15" y="204"/>
                  </a:lnTo>
                  <a:lnTo>
                    <a:pt x="15" y="209"/>
                  </a:lnTo>
                  <a:lnTo>
                    <a:pt x="13" y="211"/>
                  </a:lnTo>
                  <a:lnTo>
                    <a:pt x="11" y="213"/>
                  </a:lnTo>
                  <a:lnTo>
                    <a:pt x="7" y="215"/>
                  </a:lnTo>
                  <a:lnTo>
                    <a:pt x="6" y="219"/>
                  </a:lnTo>
                  <a:lnTo>
                    <a:pt x="4" y="222"/>
                  </a:lnTo>
                  <a:lnTo>
                    <a:pt x="2" y="231"/>
                  </a:lnTo>
                  <a:lnTo>
                    <a:pt x="0" y="243"/>
                  </a:lnTo>
                  <a:lnTo>
                    <a:pt x="4" y="257"/>
                  </a:lnTo>
                  <a:lnTo>
                    <a:pt x="9" y="276"/>
                  </a:lnTo>
                  <a:lnTo>
                    <a:pt x="30" y="279"/>
                  </a:lnTo>
                  <a:lnTo>
                    <a:pt x="48" y="285"/>
                  </a:lnTo>
                  <a:lnTo>
                    <a:pt x="65" y="292"/>
                  </a:lnTo>
                  <a:lnTo>
                    <a:pt x="83" y="300"/>
                  </a:lnTo>
                  <a:lnTo>
                    <a:pt x="116" y="320"/>
                  </a:lnTo>
                  <a:lnTo>
                    <a:pt x="150" y="344"/>
                  </a:lnTo>
                  <a:lnTo>
                    <a:pt x="153" y="355"/>
                  </a:lnTo>
                  <a:lnTo>
                    <a:pt x="157" y="368"/>
                  </a:lnTo>
                  <a:lnTo>
                    <a:pt x="161" y="374"/>
                  </a:lnTo>
                  <a:lnTo>
                    <a:pt x="163" y="379"/>
                  </a:lnTo>
                  <a:lnTo>
                    <a:pt x="166" y="385"/>
                  </a:lnTo>
                  <a:lnTo>
                    <a:pt x="170" y="389"/>
                  </a:lnTo>
                  <a:lnTo>
                    <a:pt x="187" y="387"/>
                  </a:lnTo>
                  <a:lnTo>
                    <a:pt x="212" y="385"/>
                  </a:lnTo>
                  <a:lnTo>
                    <a:pt x="223" y="409"/>
                  </a:lnTo>
                  <a:lnTo>
                    <a:pt x="233" y="429"/>
                  </a:lnTo>
                  <a:lnTo>
                    <a:pt x="244" y="427"/>
                  </a:lnTo>
                  <a:lnTo>
                    <a:pt x="259" y="424"/>
                  </a:lnTo>
                  <a:lnTo>
                    <a:pt x="266" y="425"/>
                  </a:lnTo>
                  <a:lnTo>
                    <a:pt x="273" y="425"/>
                  </a:lnTo>
                  <a:lnTo>
                    <a:pt x="279" y="424"/>
                  </a:lnTo>
                  <a:lnTo>
                    <a:pt x="284" y="422"/>
                  </a:lnTo>
                  <a:lnTo>
                    <a:pt x="294" y="416"/>
                  </a:lnTo>
                  <a:lnTo>
                    <a:pt x="301" y="414"/>
                  </a:lnTo>
                  <a:lnTo>
                    <a:pt x="299" y="435"/>
                  </a:lnTo>
                  <a:lnTo>
                    <a:pt x="294" y="453"/>
                  </a:lnTo>
                  <a:lnTo>
                    <a:pt x="294" y="475"/>
                  </a:lnTo>
                  <a:lnTo>
                    <a:pt x="292" y="486"/>
                  </a:lnTo>
                  <a:lnTo>
                    <a:pt x="299" y="488"/>
                  </a:lnTo>
                  <a:lnTo>
                    <a:pt x="303" y="486"/>
                  </a:lnTo>
                  <a:lnTo>
                    <a:pt x="308" y="485"/>
                  </a:lnTo>
                  <a:lnTo>
                    <a:pt x="312" y="483"/>
                  </a:lnTo>
                  <a:lnTo>
                    <a:pt x="323" y="477"/>
                  </a:lnTo>
                  <a:lnTo>
                    <a:pt x="332" y="470"/>
                  </a:lnTo>
                  <a:lnTo>
                    <a:pt x="338" y="472"/>
                  </a:lnTo>
                  <a:lnTo>
                    <a:pt x="345" y="475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39" name="Freeform 35"/>
            <p:cNvSpPr>
              <a:spLocks/>
            </p:cNvSpPr>
            <p:nvPr/>
          </p:nvSpPr>
          <p:spPr bwMode="auto">
            <a:xfrm>
              <a:off x="3461787" y="3776566"/>
              <a:ext cx="747136" cy="922159"/>
            </a:xfrm>
            <a:custGeom>
              <a:avLst/>
              <a:gdLst>
                <a:gd name="T0" fmla="*/ 470479 w 430"/>
                <a:gd name="T1" fmla="*/ 52388 h 490"/>
                <a:gd name="T2" fmla="*/ 444097 w 430"/>
                <a:gd name="T3" fmla="*/ 96838 h 490"/>
                <a:gd name="T4" fmla="*/ 389868 w 430"/>
                <a:gd name="T5" fmla="*/ 161925 h 490"/>
                <a:gd name="T6" fmla="*/ 341501 w 430"/>
                <a:gd name="T7" fmla="*/ 206375 h 490"/>
                <a:gd name="T8" fmla="*/ 316584 w 430"/>
                <a:gd name="T9" fmla="*/ 211138 h 490"/>
                <a:gd name="T10" fmla="*/ 290202 w 430"/>
                <a:gd name="T11" fmla="*/ 241300 h 490"/>
                <a:gd name="T12" fmla="*/ 290202 w 430"/>
                <a:gd name="T13" fmla="*/ 263525 h 490"/>
                <a:gd name="T14" fmla="*/ 300462 w 430"/>
                <a:gd name="T15" fmla="*/ 282575 h 490"/>
                <a:gd name="T16" fmla="*/ 281408 w 430"/>
                <a:gd name="T17" fmla="*/ 317500 h 490"/>
                <a:gd name="T18" fmla="*/ 284339 w 430"/>
                <a:gd name="T19" fmla="*/ 342900 h 490"/>
                <a:gd name="T20" fmla="*/ 278477 w 430"/>
                <a:gd name="T21" fmla="*/ 363538 h 490"/>
                <a:gd name="T22" fmla="*/ 205193 w 430"/>
                <a:gd name="T23" fmla="*/ 401637 h 490"/>
                <a:gd name="T24" fmla="*/ 172949 w 430"/>
                <a:gd name="T25" fmla="*/ 434975 h 490"/>
                <a:gd name="T26" fmla="*/ 156826 w 430"/>
                <a:gd name="T27" fmla="*/ 417513 h 490"/>
                <a:gd name="T28" fmla="*/ 137773 w 430"/>
                <a:gd name="T29" fmla="*/ 401637 h 490"/>
                <a:gd name="T30" fmla="*/ 121650 w 430"/>
                <a:gd name="T31" fmla="*/ 411163 h 490"/>
                <a:gd name="T32" fmla="*/ 111391 w 430"/>
                <a:gd name="T33" fmla="*/ 439738 h 490"/>
                <a:gd name="T34" fmla="*/ 102597 w 430"/>
                <a:gd name="T35" fmla="*/ 476250 h 490"/>
                <a:gd name="T36" fmla="*/ 73283 w 430"/>
                <a:gd name="T37" fmla="*/ 477838 h 490"/>
                <a:gd name="T38" fmla="*/ 60092 w 430"/>
                <a:gd name="T39" fmla="*/ 463550 h 490"/>
                <a:gd name="T40" fmla="*/ 43970 w 430"/>
                <a:gd name="T41" fmla="*/ 455613 h 490"/>
                <a:gd name="T42" fmla="*/ 0 w 430"/>
                <a:gd name="T43" fmla="*/ 515938 h 490"/>
                <a:gd name="T44" fmla="*/ 2931 w 430"/>
                <a:gd name="T45" fmla="*/ 515938 h 490"/>
                <a:gd name="T46" fmla="*/ 13191 w 430"/>
                <a:gd name="T47" fmla="*/ 554038 h 490"/>
                <a:gd name="T48" fmla="*/ 41039 w 430"/>
                <a:gd name="T49" fmla="*/ 573088 h 490"/>
                <a:gd name="T50" fmla="*/ 89406 w 430"/>
                <a:gd name="T51" fmla="*/ 622300 h 490"/>
                <a:gd name="T52" fmla="*/ 105528 w 430"/>
                <a:gd name="T53" fmla="*/ 612775 h 490"/>
                <a:gd name="T54" fmla="*/ 140704 w 430"/>
                <a:gd name="T55" fmla="*/ 636588 h 490"/>
                <a:gd name="T56" fmla="*/ 200796 w 430"/>
                <a:gd name="T57" fmla="*/ 688975 h 490"/>
                <a:gd name="T58" fmla="*/ 243301 w 430"/>
                <a:gd name="T59" fmla="*/ 708025 h 490"/>
                <a:gd name="T60" fmla="*/ 284339 w 430"/>
                <a:gd name="T61" fmla="*/ 725488 h 490"/>
                <a:gd name="T62" fmla="*/ 329775 w 430"/>
                <a:gd name="T63" fmla="*/ 727075 h 490"/>
                <a:gd name="T64" fmla="*/ 367883 w 430"/>
                <a:gd name="T65" fmla="*/ 760413 h 490"/>
                <a:gd name="T66" fmla="*/ 398662 w 430"/>
                <a:gd name="T67" fmla="*/ 777875 h 490"/>
                <a:gd name="T68" fmla="*/ 451426 w 430"/>
                <a:gd name="T69" fmla="*/ 763588 h 490"/>
                <a:gd name="T70" fmla="*/ 473411 w 430"/>
                <a:gd name="T71" fmla="*/ 757238 h 490"/>
                <a:gd name="T72" fmla="*/ 492464 w 430"/>
                <a:gd name="T73" fmla="*/ 688975 h 490"/>
                <a:gd name="T74" fmla="*/ 524709 w 430"/>
                <a:gd name="T75" fmla="*/ 671513 h 490"/>
                <a:gd name="T76" fmla="*/ 562816 w 430"/>
                <a:gd name="T77" fmla="*/ 684213 h 490"/>
                <a:gd name="T78" fmla="*/ 614115 w 430"/>
                <a:gd name="T79" fmla="*/ 666750 h 490"/>
                <a:gd name="T80" fmla="*/ 614115 w 430"/>
                <a:gd name="T81" fmla="*/ 649288 h 490"/>
                <a:gd name="T82" fmla="*/ 622909 w 430"/>
                <a:gd name="T83" fmla="*/ 608013 h 490"/>
                <a:gd name="T84" fmla="*/ 630237 w 430"/>
                <a:gd name="T85" fmla="*/ 598488 h 490"/>
                <a:gd name="T86" fmla="*/ 617046 w 430"/>
                <a:gd name="T87" fmla="*/ 546100 h 490"/>
                <a:gd name="T88" fmla="*/ 625840 w 430"/>
                <a:gd name="T89" fmla="*/ 498475 h 490"/>
                <a:gd name="T90" fmla="*/ 600924 w 430"/>
                <a:gd name="T91" fmla="*/ 446088 h 490"/>
                <a:gd name="T92" fmla="*/ 606786 w 430"/>
                <a:gd name="T93" fmla="*/ 352425 h 490"/>
                <a:gd name="T94" fmla="*/ 597992 w 430"/>
                <a:gd name="T95" fmla="*/ 293688 h 490"/>
                <a:gd name="T96" fmla="*/ 595061 w 430"/>
                <a:gd name="T97" fmla="*/ 252413 h 490"/>
                <a:gd name="T98" fmla="*/ 622909 w 430"/>
                <a:gd name="T99" fmla="*/ 193675 h 490"/>
                <a:gd name="T100" fmla="*/ 606786 w 430"/>
                <a:gd name="T101" fmla="*/ 128588 h 490"/>
                <a:gd name="T102" fmla="*/ 576007 w 430"/>
                <a:gd name="T103" fmla="*/ 85725 h 490"/>
                <a:gd name="T104" fmla="*/ 540831 w 430"/>
                <a:gd name="T105" fmla="*/ 55563 h 490"/>
                <a:gd name="T106" fmla="*/ 521778 w 430"/>
                <a:gd name="T107" fmla="*/ 17463 h 490"/>
                <a:gd name="T108" fmla="*/ 514449 w 430"/>
                <a:gd name="T109" fmla="*/ 0 h 49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0"/>
                <a:gd name="T166" fmla="*/ 0 h 490"/>
                <a:gd name="T167" fmla="*/ 430 w 430"/>
                <a:gd name="T168" fmla="*/ 490 h 49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0" h="490">
                  <a:moveTo>
                    <a:pt x="342" y="4"/>
                  </a:moveTo>
                  <a:lnTo>
                    <a:pt x="329" y="24"/>
                  </a:lnTo>
                  <a:lnTo>
                    <a:pt x="321" y="33"/>
                  </a:lnTo>
                  <a:lnTo>
                    <a:pt x="318" y="37"/>
                  </a:lnTo>
                  <a:lnTo>
                    <a:pt x="310" y="45"/>
                  </a:lnTo>
                  <a:lnTo>
                    <a:pt x="303" y="61"/>
                  </a:lnTo>
                  <a:lnTo>
                    <a:pt x="296" y="78"/>
                  </a:lnTo>
                  <a:lnTo>
                    <a:pt x="283" y="89"/>
                  </a:lnTo>
                  <a:lnTo>
                    <a:pt x="266" y="102"/>
                  </a:lnTo>
                  <a:lnTo>
                    <a:pt x="249" y="113"/>
                  </a:lnTo>
                  <a:lnTo>
                    <a:pt x="242" y="124"/>
                  </a:lnTo>
                  <a:lnTo>
                    <a:pt x="233" y="130"/>
                  </a:lnTo>
                  <a:lnTo>
                    <a:pt x="225" y="130"/>
                  </a:lnTo>
                  <a:lnTo>
                    <a:pt x="220" y="131"/>
                  </a:lnTo>
                  <a:lnTo>
                    <a:pt x="216" y="133"/>
                  </a:lnTo>
                  <a:lnTo>
                    <a:pt x="211" y="139"/>
                  </a:lnTo>
                  <a:lnTo>
                    <a:pt x="203" y="144"/>
                  </a:lnTo>
                  <a:lnTo>
                    <a:pt x="198" y="152"/>
                  </a:lnTo>
                  <a:lnTo>
                    <a:pt x="196" y="159"/>
                  </a:lnTo>
                  <a:lnTo>
                    <a:pt x="196" y="163"/>
                  </a:lnTo>
                  <a:lnTo>
                    <a:pt x="198" y="166"/>
                  </a:lnTo>
                  <a:lnTo>
                    <a:pt x="201" y="170"/>
                  </a:lnTo>
                  <a:lnTo>
                    <a:pt x="203" y="174"/>
                  </a:lnTo>
                  <a:lnTo>
                    <a:pt x="205" y="178"/>
                  </a:lnTo>
                  <a:lnTo>
                    <a:pt x="205" y="183"/>
                  </a:lnTo>
                  <a:lnTo>
                    <a:pt x="198" y="191"/>
                  </a:lnTo>
                  <a:lnTo>
                    <a:pt x="192" y="200"/>
                  </a:lnTo>
                  <a:lnTo>
                    <a:pt x="192" y="205"/>
                  </a:lnTo>
                  <a:lnTo>
                    <a:pt x="194" y="213"/>
                  </a:lnTo>
                  <a:lnTo>
                    <a:pt x="194" y="216"/>
                  </a:lnTo>
                  <a:lnTo>
                    <a:pt x="194" y="220"/>
                  </a:lnTo>
                  <a:lnTo>
                    <a:pt x="194" y="226"/>
                  </a:lnTo>
                  <a:lnTo>
                    <a:pt x="190" y="229"/>
                  </a:lnTo>
                  <a:lnTo>
                    <a:pt x="164" y="237"/>
                  </a:lnTo>
                  <a:lnTo>
                    <a:pt x="146" y="239"/>
                  </a:lnTo>
                  <a:lnTo>
                    <a:pt x="140" y="253"/>
                  </a:lnTo>
                  <a:lnTo>
                    <a:pt x="135" y="270"/>
                  </a:lnTo>
                  <a:lnTo>
                    <a:pt x="126" y="274"/>
                  </a:lnTo>
                  <a:lnTo>
                    <a:pt x="118" y="274"/>
                  </a:lnTo>
                  <a:lnTo>
                    <a:pt x="114" y="272"/>
                  </a:lnTo>
                  <a:lnTo>
                    <a:pt x="111" y="268"/>
                  </a:lnTo>
                  <a:lnTo>
                    <a:pt x="107" y="263"/>
                  </a:lnTo>
                  <a:lnTo>
                    <a:pt x="103" y="259"/>
                  </a:lnTo>
                  <a:lnTo>
                    <a:pt x="100" y="255"/>
                  </a:lnTo>
                  <a:lnTo>
                    <a:pt x="94" y="253"/>
                  </a:lnTo>
                  <a:lnTo>
                    <a:pt x="90" y="255"/>
                  </a:lnTo>
                  <a:lnTo>
                    <a:pt x="87" y="257"/>
                  </a:lnTo>
                  <a:lnTo>
                    <a:pt x="83" y="259"/>
                  </a:lnTo>
                  <a:lnTo>
                    <a:pt x="81" y="263"/>
                  </a:lnTo>
                  <a:lnTo>
                    <a:pt x="78" y="270"/>
                  </a:lnTo>
                  <a:lnTo>
                    <a:pt x="76" y="277"/>
                  </a:lnTo>
                  <a:lnTo>
                    <a:pt x="76" y="287"/>
                  </a:lnTo>
                  <a:lnTo>
                    <a:pt x="74" y="294"/>
                  </a:lnTo>
                  <a:lnTo>
                    <a:pt x="70" y="300"/>
                  </a:lnTo>
                  <a:lnTo>
                    <a:pt x="63" y="303"/>
                  </a:lnTo>
                  <a:lnTo>
                    <a:pt x="55" y="303"/>
                  </a:lnTo>
                  <a:lnTo>
                    <a:pt x="50" y="301"/>
                  </a:lnTo>
                  <a:lnTo>
                    <a:pt x="46" y="298"/>
                  </a:lnTo>
                  <a:lnTo>
                    <a:pt x="42" y="296"/>
                  </a:lnTo>
                  <a:lnTo>
                    <a:pt x="41" y="292"/>
                  </a:lnTo>
                  <a:lnTo>
                    <a:pt x="37" y="288"/>
                  </a:lnTo>
                  <a:lnTo>
                    <a:pt x="35" y="287"/>
                  </a:lnTo>
                  <a:lnTo>
                    <a:pt x="30" y="287"/>
                  </a:lnTo>
                  <a:lnTo>
                    <a:pt x="17" y="305"/>
                  </a:lnTo>
                  <a:lnTo>
                    <a:pt x="0" y="325"/>
                  </a:lnTo>
                  <a:lnTo>
                    <a:pt x="2" y="325"/>
                  </a:lnTo>
                  <a:lnTo>
                    <a:pt x="4" y="336"/>
                  </a:lnTo>
                  <a:lnTo>
                    <a:pt x="7" y="344"/>
                  </a:lnTo>
                  <a:lnTo>
                    <a:pt x="9" y="349"/>
                  </a:lnTo>
                  <a:lnTo>
                    <a:pt x="13" y="353"/>
                  </a:lnTo>
                  <a:lnTo>
                    <a:pt x="20" y="357"/>
                  </a:lnTo>
                  <a:lnTo>
                    <a:pt x="28" y="361"/>
                  </a:lnTo>
                  <a:lnTo>
                    <a:pt x="42" y="375"/>
                  </a:lnTo>
                  <a:lnTo>
                    <a:pt x="61" y="392"/>
                  </a:lnTo>
                  <a:lnTo>
                    <a:pt x="63" y="390"/>
                  </a:lnTo>
                  <a:lnTo>
                    <a:pt x="66" y="388"/>
                  </a:lnTo>
                  <a:lnTo>
                    <a:pt x="72" y="386"/>
                  </a:lnTo>
                  <a:lnTo>
                    <a:pt x="78" y="388"/>
                  </a:lnTo>
                  <a:lnTo>
                    <a:pt x="83" y="388"/>
                  </a:lnTo>
                  <a:lnTo>
                    <a:pt x="96" y="401"/>
                  </a:lnTo>
                  <a:lnTo>
                    <a:pt x="109" y="414"/>
                  </a:lnTo>
                  <a:lnTo>
                    <a:pt x="124" y="421"/>
                  </a:lnTo>
                  <a:lnTo>
                    <a:pt x="137" y="434"/>
                  </a:lnTo>
                  <a:lnTo>
                    <a:pt x="146" y="433"/>
                  </a:lnTo>
                  <a:lnTo>
                    <a:pt x="155" y="433"/>
                  </a:lnTo>
                  <a:lnTo>
                    <a:pt x="166" y="446"/>
                  </a:lnTo>
                  <a:lnTo>
                    <a:pt x="177" y="460"/>
                  </a:lnTo>
                  <a:lnTo>
                    <a:pt x="194" y="457"/>
                  </a:lnTo>
                  <a:lnTo>
                    <a:pt x="211" y="451"/>
                  </a:lnTo>
                  <a:lnTo>
                    <a:pt x="216" y="453"/>
                  </a:lnTo>
                  <a:lnTo>
                    <a:pt x="225" y="458"/>
                  </a:lnTo>
                  <a:lnTo>
                    <a:pt x="233" y="464"/>
                  </a:lnTo>
                  <a:lnTo>
                    <a:pt x="242" y="471"/>
                  </a:lnTo>
                  <a:lnTo>
                    <a:pt x="251" y="479"/>
                  </a:lnTo>
                  <a:lnTo>
                    <a:pt x="259" y="484"/>
                  </a:lnTo>
                  <a:lnTo>
                    <a:pt x="266" y="490"/>
                  </a:lnTo>
                  <a:lnTo>
                    <a:pt x="272" y="490"/>
                  </a:lnTo>
                  <a:lnTo>
                    <a:pt x="284" y="484"/>
                  </a:lnTo>
                  <a:lnTo>
                    <a:pt x="297" y="481"/>
                  </a:lnTo>
                  <a:lnTo>
                    <a:pt x="308" y="481"/>
                  </a:lnTo>
                  <a:lnTo>
                    <a:pt x="320" y="482"/>
                  </a:lnTo>
                  <a:lnTo>
                    <a:pt x="323" y="477"/>
                  </a:lnTo>
                  <a:lnTo>
                    <a:pt x="327" y="473"/>
                  </a:lnTo>
                  <a:lnTo>
                    <a:pt x="332" y="455"/>
                  </a:lnTo>
                  <a:lnTo>
                    <a:pt x="336" y="434"/>
                  </a:lnTo>
                  <a:lnTo>
                    <a:pt x="344" y="427"/>
                  </a:lnTo>
                  <a:lnTo>
                    <a:pt x="351" y="423"/>
                  </a:lnTo>
                  <a:lnTo>
                    <a:pt x="358" y="423"/>
                  </a:lnTo>
                  <a:lnTo>
                    <a:pt x="364" y="423"/>
                  </a:lnTo>
                  <a:lnTo>
                    <a:pt x="375" y="429"/>
                  </a:lnTo>
                  <a:lnTo>
                    <a:pt x="384" y="431"/>
                  </a:lnTo>
                  <a:lnTo>
                    <a:pt x="401" y="425"/>
                  </a:lnTo>
                  <a:lnTo>
                    <a:pt x="417" y="420"/>
                  </a:lnTo>
                  <a:lnTo>
                    <a:pt x="419" y="420"/>
                  </a:lnTo>
                  <a:lnTo>
                    <a:pt x="419" y="416"/>
                  </a:lnTo>
                  <a:lnTo>
                    <a:pt x="419" y="412"/>
                  </a:lnTo>
                  <a:lnTo>
                    <a:pt x="419" y="409"/>
                  </a:lnTo>
                  <a:lnTo>
                    <a:pt x="419" y="399"/>
                  </a:lnTo>
                  <a:lnTo>
                    <a:pt x="421" y="390"/>
                  </a:lnTo>
                  <a:lnTo>
                    <a:pt x="425" y="383"/>
                  </a:lnTo>
                  <a:lnTo>
                    <a:pt x="430" y="377"/>
                  </a:lnTo>
                  <a:lnTo>
                    <a:pt x="425" y="364"/>
                  </a:lnTo>
                  <a:lnTo>
                    <a:pt x="423" y="353"/>
                  </a:lnTo>
                  <a:lnTo>
                    <a:pt x="421" y="344"/>
                  </a:lnTo>
                  <a:lnTo>
                    <a:pt x="423" y="333"/>
                  </a:lnTo>
                  <a:lnTo>
                    <a:pt x="425" y="324"/>
                  </a:lnTo>
                  <a:lnTo>
                    <a:pt x="427" y="314"/>
                  </a:lnTo>
                  <a:lnTo>
                    <a:pt x="427" y="305"/>
                  </a:lnTo>
                  <a:lnTo>
                    <a:pt x="425" y="296"/>
                  </a:lnTo>
                  <a:lnTo>
                    <a:pt x="410" y="281"/>
                  </a:lnTo>
                  <a:lnTo>
                    <a:pt x="395" y="266"/>
                  </a:lnTo>
                  <a:lnTo>
                    <a:pt x="405" y="244"/>
                  </a:lnTo>
                  <a:lnTo>
                    <a:pt x="414" y="222"/>
                  </a:lnTo>
                  <a:lnTo>
                    <a:pt x="410" y="211"/>
                  </a:lnTo>
                  <a:lnTo>
                    <a:pt x="406" y="198"/>
                  </a:lnTo>
                  <a:lnTo>
                    <a:pt x="408" y="185"/>
                  </a:lnTo>
                  <a:lnTo>
                    <a:pt x="410" y="172"/>
                  </a:lnTo>
                  <a:lnTo>
                    <a:pt x="408" y="165"/>
                  </a:lnTo>
                  <a:lnTo>
                    <a:pt x="406" y="159"/>
                  </a:lnTo>
                  <a:lnTo>
                    <a:pt x="416" y="148"/>
                  </a:lnTo>
                  <a:lnTo>
                    <a:pt x="427" y="137"/>
                  </a:lnTo>
                  <a:lnTo>
                    <a:pt x="425" y="122"/>
                  </a:lnTo>
                  <a:lnTo>
                    <a:pt x="421" y="102"/>
                  </a:lnTo>
                  <a:lnTo>
                    <a:pt x="417" y="91"/>
                  </a:lnTo>
                  <a:lnTo>
                    <a:pt x="414" y="81"/>
                  </a:lnTo>
                  <a:lnTo>
                    <a:pt x="410" y="74"/>
                  </a:lnTo>
                  <a:lnTo>
                    <a:pt x="405" y="69"/>
                  </a:lnTo>
                  <a:lnTo>
                    <a:pt x="393" y="54"/>
                  </a:lnTo>
                  <a:lnTo>
                    <a:pt x="388" y="46"/>
                  </a:lnTo>
                  <a:lnTo>
                    <a:pt x="377" y="41"/>
                  </a:lnTo>
                  <a:lnTo>
                    <a:pt x="369" y="35"/>
                  </a:lnTo>
                  <a:lnTo>
                    <a:pt x="364" y="30"/>
                  </a:lnTo>
                  <a:lnTo>
                    <a:pt x="360" y="24"/>
                  </a:lnTo>
                  <a:lnTo>
                    <a:pt x="356" y="11"/>
                  </a:lnTo>
                  <a:lnTo>
                    <a:pt x="351" y="0"/>
                  </a:lnTo>
                  <a:lnTo>
                    <a:pt x="345" y="2"/>
                  </a:lnTo>
                  <a:lnTo>
                    <a:pt x="342" y="4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40" name="Freeform 36"/>
            <p:cNvSpPr>
              <a:spLocks noEditPoints="1"/>
            </p:cNvSpPr>
            <p:nvPr/>
          </p:nvSpPr>
          <p:spPr bwMode="auto">
            <a:xfrm>
              <a:off x="4571542" y="2809236"/>
              <a:ext cx="1334308" cy="1919596"/>
            </a:xfrm>
            <a:custGeom>
              <a:avLst/>
              <a:gdLst>
                <a:gd name="T0" fmla="*/ 1014157 w 768"/>
                <a:gd name="T1" fmla="*/ 211138 h 1020"/>
                <a:gd name="T2" fmla="*/ 1012691 w 768"/>
                <a:gd name="T3" fmla="*/ 1593850 h 1020"/>
                <a:gd name="T4" fmla="*/ 1044933 w 768"/>
                <a:gd name="T5" fmla="*/ 1441450 h 1020"/>
                <a:gd name="T6" fmla="*/ 1112348 w 768"/>
                <a:gd name="T7" fmla="*/ 1300163 h 1020"/>
                <a:gd name="T8" fmla="*/ 1061054 w 768"/>
                <a:gd name="T9" fmla="*/ 1220788 h 1020"/>
                <a:gd name="T10" fmla="*/ 1036140 w 768"/>
                <a:gd name="T11" fmla="*/ 1079500 h 1020"/>
                <a:gd name="T12" fmla="*/ 1022950 w 768"/>
                <a:gd name="T13" fmla="*/ 922338 h 1020"/>
                <a:gd name="T14" fmla="*/ 1084503 w 768"/>
                <a:gd name="T15" fmla="*/ 798513 h 1020"/>
                <a:gd name="T16" fmla="*/ 1049330 w 768"/>
                <a:gd name="T17" fmla="*/ 673100 h 1020"/>
                <a:gd name="T18" fmla="*/ 965794 w 768"/>
                <a:gd name="T19" fmla="*/ 576263 h 1020"/>
                <a:gd name="T20" fmla="*/ 1068382 w 768"/>
                <a:gd name="T21" fmla="*/ 504825 h 1020"/>
                <a:gd name="T22" fmla="*/ 1036140 w 768"/>
                <a:gd name="T23" fmla="*/ 361950 h 1020"/>
                <a:gd name="T24" fmla="*/ 1049330 w 768"/>
                <a:gd name="T25" fmla="*/ 269875 h 1020"/>
                <a:gd name="T26" fmla="*/ 1009760 w 768"/>
                <a:gd name="T27" fmla="*/ 317500 h 1020"/>
                <a:gd name="T28" fmla="*/ 959932 w 768"/>
                <a:gd name="T29" fmla="*/ 279400 h 1020"/>
                <a:gd name="T30" fmla="*/ 968725 w 768"/>
                <a:gd name="T31" fmla="*/ 369888 h 1020"/>
                <a:gd name="T32" fmla="*/ 1017088 w 768"/>
                <a:gd name="T33" fmla="*/ 441325 h 1020"/>
                <a:gd name="T34" fmla="*/ 898379 w 768"/>
                <a:gd name="T35" fmla="*/ 344488 h 1020"/>
                <a:gd name="T36" fmla="*/ 920362 w 768"/>
                <a:gd name="T37" fmla="*/ 250825 h 1020"/>
                <a:gd name="T38" fmla="*/ 943811 w 768"/>
                <a:gd name="T39" fmla="*/ 150813 h 1020"/>
                <a:gd name="T40" fmla="*/ 841223 w 768"/>
                <a:gd name="T41" fmla="*/ 261938 h 1020"/>
                <a:gd name="T42" fmla="*/ 795791 w 768"/>
                <a:gd name="T43" fmla="*/ 441325 h 1020"/>
                <a:gd name="T44" fmla="*/ 728375 w 768"/>
                <a:gd name="T45" fmla="*/ 581025 h 1020"/>
                <a:gd name="T46" fmla="*/ 792860 w 768"/>
                <a:gd name="T47" fmla="*/ 593725 h 1020"/>
                <a:gd name="T48" fmla="*/ 882258 w 768"/>
                <a:gd name="T49" fmla="*/ 681038 h 1020"/>
                <a:gd name="T50" fmla="*/ 850016 w 768"/>
                <a:gd name="T51" fmla="*/ 769938 h 1020"/>
                <a:gd name="T52" fmla="*/ 892517 w 768"/>
                <a:gd name="T53" fmla="*/ 881063 h 1020"/>
                <a:gd name="T54" fmla="*/ 811912 w 768"/>
                <a:gd name="T55" fmla="*/ 825500 h 1020"/>
                <a:gd name="T56" fmla="*/ 833895 w 768"/>
                <a:gd name="T57" fmla="*/ 663575 h 1020"/>
                <a:gd name="T58" fmla="*/ 744496 w 768"/>
                <a:gd name="T59" fmla="*/ 642938 h 1020"/>
                <a:gd name="T60" fmla="*/ 655098 w 768"/>
                <a:gd name="T61" fmla="*/ 812800 h 1020"/>
                <a:gd name="T62" fmla="*/ 479233 w 768"/>
                <a:gd name="T63" fmla="*/ 871538 h 1020"/>
                <a:gd name="T64" fmla="*/ 419146 w 768"/>
                <a:gd name="T65" fmla="*/ 784225 h 1020"/>
                <a:gd name="T66" fmla="*/ 514406 w 768"/>
                <a:gd name="T67" fmla="*/ 828675 h 1020"/>
                <a:gd name="T68" fmla="*/ 640443 w 768"/>
                <a:gd name="T69" fmla="*/ 739775 h 1020"/>
                <a:gd name="T70" fmla="*/ 694668 w 768"/>
                <a:gd name="T71" fmla="*/ 639763 h 1020"/>
                <a:gd name="T72" fmla="*/ 716651 w 768"/>
                <a:gd name="T73" fmla="*/ 469900 h 1020"/>
                <a:gd name="T74" fmla="*/ 760618 w 768"/>
                <a:gd name="T75" fmla="*/ 285750 h 1020"/>
                <a:gd name="T76" fmla="*/ 852947 w 768"/>
                <a:gd name="T77" fmla="*/ 147638 h 1020"/>
                <a:gd name="T78" fmla="*/ 722513 w 768"/>
                <a:gd name="T79" fmla="*/ 88900 h 1020"/>
                <a:gd name="T80" fmla="*/ 589149 w 768"/>
                <a:gd name="T81" fmla="*/ 203200 h 1020"/>
                <a:gd name="T82" fmla="*/ 549579 w 768"/>
                <a:gd name="T83" fmla="*/ 255588 h 1020"/>
                <a:gd name="T84" fmla="*/ 505613 w 768"/>
                <a:gd name="T85" fmla="*/ 411163 h 1020"/>
                <a:gd name="T86" fmla="*/ 511475 w 768"/>
                <a:gd name="T87" fmla="*/ 542925 h 1020"/>
                <a:gd name="T88" fmla="*/ 448457 w 768"/>
                <a:gd name="T89" fmla="*/ 549275 h 1020"/>
                <a:gd name="T90" fmla="*/ 400094 w 768"/>
                <a:gd name="T91" fmla="*/ 423863 h 1020"/>
                <a:gd name="T92" fmla="*/ 340006 w 768"/>
                <a:gd name="T93" fmla="*/ 590550 h 1020"/>
                <a:gd name="T94" fmla="*/ 128968 w 768"/>
                <a:gd name="T95" fmla="*/ 649288 h 1020"/>
                <a:gd name="T96" fmla="*/ 7328 w 768"/>
                <a:gd name="T97" fmla="*/ 854075 h 1020"/>
                <a:gd name="T98" fmla="*/ 143623 w 768"/>
                <a:gd name="T99" fmla="*/ 915988 h 1020"/>
                <a:gd name="T100" fmla="*/ 194917 w 768"/>
                <a:gd name="T101" fmla="*/ 1030288 h 1020"/>
                <a:gd name="T102" fmla="*/ 294574 w 768"/>
                <a:gd name="T103" fmla="*/ 1027113 h 1020"/>
                <a:gd name="T104" fmla="*/ 354662 w 768"/>
                <a:gd name="T105" fmla="*/ 1217613 h 1020"/>
                <a:gd name="T106" fmla="*/ 495354 w 768"/>
                <a:gd name="T107" fmla="*/ 1317625 h 1020"/>
                <a:gd name="T108" fmla="*/ 675616 w 768"/>
                <a:gd name="T109" fmla="*/ 1465263 h 1020"/>
                <a:gd name="T110" fmla="*/ 822170 w 768"/>
                <a:gd name="T111" fmla="*/ 1449388 h 1020"/>
                <a:gd name="T112" fmla="*/ 924758 w 768"/>
                <a:gd name="T113" fmla="*/ 1566863 h 1020"/>
                <a:gd name="T114" fmla="*/ 1017088 w 768"/>
                <a:gd name="T115" fmla="*/ 133350 h 1020"/>
                <a:gd name="T116" fmla="*/ 1020019 w 768"/>
                <a:gd name="T117" fmla="*/ 85725 h 1020"/>
                <a:gd name="T118" fmla="*/ 981915 w 768"/>
                <a:gd name="T119" fmla="*/ 82550 h 1020"/>
                <a:gd name="T120" fmla="*/ 936483 w 768"/>
                <a:gd name="T121" fmla="*/ 106363 h 1020"/>
                <a:gd name="T122" fmla="*/ 852947 w 768"/>
                <a:gd name="T123" fmla="*/ 41275 h 102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8"/>
                <a:gd name="T187" fmla="*/ 0 h 1020"/>
                <a:gd name="T188" fmla="*/ 768 w 768"/>
                <a:gd name="T189" fmla="*/ 1020 h 102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8" h="1020">
                  <a:moveTo>
                    <a:pt x="715" y="150"/>
                  </a:moveTo>
                  <a:lnTo>
                    <a:pt x="709" y="154"/>
                  </a:lnTo>
                  <a:lnTo>
                    <a:pt x="700" y="154"/>
                  </a:lnTo>
                  <a:lnTo>
                    <a:pt x="689" y="154"/>
                  </a:lnTo>
                  <a:lnTo>
                    <a:pt x="678" y="154"/>
                  </a:lnTo>
                  <a:lnTo>
                    <a:pt x="676" y="148"/>
                  </a:lnTo>
                  <a:lnTo>
                    <a:pt x="676" y="145"/>
                  </a:lnTo>
                  <a:lnTo>
                    <a:pt x="679" y="143"/>
                  </a:lnTo>
                  <a:lnTo>
                    <a:pt x="683" y="143"/>
                  </a:lnTo>
                  <a:lnTo>
                    <a:pt x="689" y="135"/>
                  </a:lnTo>
                  <a:lnTo>
                    <a:pt x="692" y="133"/>
                  </a:lnTo>
                  <a:lnTo>
                    <a:pt x="698" y="132"/>
                  </a:lnTo>
                  <a:lnTo>
                    <a:pt x="702" y="133"/>
                  </a:lnTo>
                  <a:lnTo>
                    <a:pt x="709" y="141"/>
                  </a:lnTo>
                  <a:lnTo>
                    <a:pt x="715" y="150"/>
                  </a:lnTo>
                  <a:close/>
                  <a:moveTo>
                    <a:pt x="668" y="1020"/>
                  </a:moveTo>
                  <a:lnTo>
                    <a:pt x="670" y="1019"/>
                  </a:lnTo>
                  <a:lnTo>
                    <a:pt x="670" y="1017"/>
                  </a:lnTo>
                  <a:lnTo>
                    <a:pt x="676" y="1011"/>
                  </a:lnTo>
                  <a:lnTo>
                    <a:pt x="683" y="1009"/>
                  </a:lnTo>
                  <a:lnTo>
                    <a:pt x="687" y="1006"/>
                  </a:lnTo>
                  <a:lnTo>
                    <a:pt x="691" y="1004"/>
                  </a:lnTo>
                  <a:lnTo>
                    <a:pt x="694" y="998"/>
                  </a:lnTo>
                  <a:lnTo>
                    <a:pt x="698" y="993"/>
                  </a:lnTo>
                  <a:lnTo>
                    <a:pt x="705" y="978"/>
                  </a:lnTo>
                  <a:lnTo>
                    <a:pt x="709" y="965"/>
                  </a:lnTo>
                  <a:lnTo>
                    <a:pt x="716" y="959"/>
                  </a:lnTo>
                  <a:lnTo>
                    <a:pt x="722" y="952"/>
                  </a:lnTo>
                  <a:lnTo>
                    <a:pt x="726" y="947"/>
                  </a:lnTo>
                  <a:lnTo>
                    <a:pt x="727" y="939"/>
                  </a:lnTo>
                  <a:lnTo>
                    <a:pt x="718" y="924"/>
                  </a:lnTo>
                  <a:lnTo>
                    <a:pt x="709" y="910"/>
                  </a:lnTo>
                  <a:lnTo>
                    <a:pt x="713" y="908"/>
                  </a:lnTo>
                  <a:lnTo>
                    <a:pt x="716" y="910"/>
                  </a:lnTo>
                  <a:lnTo>
                    <a:pt x="718" y="908"/>
                  </a:lnTo>
                  <a:lnTo>
                    <a:pt x="722" y="893"/>
                  </a:lnTo>
                  <a:lnTo>
                    <a:pt x="740" y="889"/>
                  </a:lnTo>
                  <a:lnTo>
                    <a:pt x="755" y="884"/>
                  </a:lnTo>
                  <a:lnTo>
                    <a:pt x="757" y="871"/>
                  </a:lnTo>
                  <a:lnTo>
                    <a:pt x="755" y="856"/>
                  </a:lnTo>
                  <a:lnTo>
                    <a:pt x="763" y="841"/>
                  </a:lnTo>
                  <a:lnTo>
                    <a:pt x="768" y="826"/>
                  </a:lnTo>
                  <a:lnTo>
                    <a:pt x="764" y="821"/>
                  </a:lnTo>
                  <a:lnTo>
                    <a:pt x="759" y="819"/>
                  </a:lnTo>
                  <a:lnTo>
                    <a:pt x="751" y="817"/>
                  </a:lnTo>
                  <a:lnTo>
                    <a:pt x="744" y="817"/>
                  </a:lnTo>
                  <a:lnTo>
                    <a:pt x="737" y="815"/>
                  </a:lnTo>
                  <a:lnTo>
                    <a:pt x="729" y="813"/>
                  </a:lnTo>
                  <a:lnTo>
                    <a:pt x="724" y="810"/>
                  </a:lnTo>
                  <a:lnTo>
                    <a:pt x="718" y="804"/>
                  </a:lnTo>
                  <a:lnTo>
                    <a:pt x="716" y="797"/>
                  </a:lnTo>
                  <a:lnTo>
                    <a:pt x="716" y="789"/>
                  </a:lnTo>
                  <a:lnTo>
                    <a:pt x="718" y="782"/>
                  </a:lnTo>
                  <a:lnTo>
                    <a:pt x="722" y="777"/>
                  </a:lnTo>
                  <a:lnTo>
                    <a:pt x="724" y="769"/>
                  </a:lnTo>
                  <a:lnTo>
                    <a:pt x="726" y="762"/>
                  </a:lnTo>
                  <a:lnTo>
                    <a:pt x="726" y="751"/>
                  </a:lnTo>
                  <a:lnTo>
                    <a:pt x="724" y="740"/>
                  </a:lnTo>
                  <a:lnTo>
                    <a:pt x="713" y="725"/>
                  </a:lnTo>
                  <a:lnTo>
                    <a:pt x="700" y="708"/>
                  </a:lnTo>
                  <a:lnTo>
                    <a:pt x="698" y="701"/>
                  </a:lnTo>
                  <a:lnTo>
                    <a:pt x="698" y="695"/>
                  </a:lnTo>
                  <a:lnTo>
                    <a:pt x="698" y="692"/>
                  </a:lnTo>
                  <a:lnTo>
                    <a:pt x="700" y="690"/>
                  </a:lnTo>
                  <a:lnTo>
                    <a:pt x="703" y="686"/>
                  </a:lnTo>
                  <a:lnTo>
                    <a:pt x="707" y="680"/>
                  </a:lnTo>
                  <a:lnTo>
                    <a:pt x="702" y="668"/>
                  </a:lnTo>
                  <a:lnTo>
                    <a:pt x="698" y="656"/>
                  </a:lnTo>
                  <a:lnTo>
                    <a:pt x="702" y="651"/>
                  </a:lnTo>
                  <a:lnTo>
                    <a:pt x="707" y="645"/>
                  </a:lnTo>
                  <a:lnTo>
                    <a:pt x="711" y="642"/>
                  </a:lnTo>
                  <a:lnTo>
                    <a:pt x="713" y="638"/>
                  </a:lnTo>
                  <a:lnTo>
                    <a:pt x="715" y="634"/>
                  </a:lnTo>
                  <a:lnTo>
                    <a:pt x="715" y="629"/>
                  </a:lnTo>
                  <a:lnTo>
                    <a:pt x="702" y="610"/>
                  </a:lnTo>
                  <a:lnTo>
                    <a:pt x="692" y="594"/>
                  </a:lnTo>
                  <a:lnTo>
                    <a:pt x="698" y="581"/>
                  </a:lnTo>
                  <a:lnTo>
                    <a:pt x="702" y="568"/>
                  </a:lnTo>
                  <a:lnTo>
                    <a:pt x="696" y="547"/>
                  </a:lnTo>
                  <a:lnTo>
                    <a:pt x="691" y="529"/>
                  </a:lnTo>
                  <a:lnTo>
                    <a:pt x="702" y="533"/>
                  </a:lnTo>
                  <a:lnTo>
                    <a:pt x="718" y="536"/>
                  </a:lnTo>
                  <a:lnTo>
                    <a:pt x="720" y="527"/>
                  </a:lnTo>
                  <a:lnTo>
                    <a:pt x="720" y="518"/>
                  </a:lnTo>
                  <a:lnTo>
                    <a:pt x="727" y="514"/>
                  </a:lnTo>
                  <a:lnTo>
                    <a:pt x="735" y="510"/>
                  </a:lnTo>
                  <a:lnTo>
                    <a:pt x="737" y="509"/>
                  </a:lnTo>
                  <a:lnTo>
                    <a:pt x="740" y="503"/>
                  </a:lnTo>
                  <a:lnTo>
                    <a:pt x="742" y="496"/>
                  </a:lnTo>
                  <a:lnTo>
                    <a:pt x="744" y="486"/>
                  </a:lnTo>
                  <a:lnTo>
                    <a:pt x="742" y="477"/>
                  </a:lnTo>
                  <a:lnTo>
                    <a:pt x="740" y="466"/>
                  </a:lnTo>
                  <a:lnTo>
                    <a:pt x="739" y="457"/>
                  </a:lnTo>
                  <a:lnTo>
                    <a:pt x="739" y="448"/>
                  </a:lnTo>
                  <a:lnTo>
                    <a:pt x="739" y="437"/>
                  </a:lnTo>
                  <a:lnTo>
                    <a:pt x="733" y="424"/>
                  </a:lnTo>
                  <a:lnTo>
                    <a:pt x="729" y="422"/>
                  </a:lnTo>
                  <a:lnTo>
                    <a:pt x="724" y="422"/>
                  </a:lnTo>
                  <a:lnTo>
                    <a:pt x="716" y="424"/>
                  </a:lnTo>
                  <a:lnTo>
                    <a:pt x="709" y="425"/>
                  </a:lnTo>
                  <a:lnTo>
                    <a:pt x="700" y="427"/>
                  </a:lnTo>
                  <a:lnTo>
                    <a:pt x="692" y="427"/>
                  </a:lnTo>
                  <a:lnTo>
                    <a:pt x="683" y="427"/>
                  </a:lnTo>
                  <a:lnTo>
                    <a:pt x="678" y="424"/>
                  </a:lnTo>
                  <a:lnTo>
                    <a:pt x="670" y="400"/>
                  </a:lnTo>
                  <a:lnTo>
                    <a:pt x="663" y="385"/>
                  </a:lnTo>
                  <a:lnTo>
                    <a:pt x="661" y="379"/>
                  </a:lnTo>
                  <a:lnTo>
                    <a:pt x="659" y="376"/>
                  </a:lnTo>
                  <a:lnTo>
                    <a:pt x="657" y="370"/>
                  </a:lnTo>
                  <a:lnTo>
                    <a:pt x="659" y="363"/>
                  </a:lnTo>
                  <a:lnTo>
                    <a:pt x="663" y="357"/>
                  </a:lnTo>
                  <a:lnTo>
                    <a:pt x="666" y="353"/>
                  </a:lnTo>
                  <a:lnTo>
                    <a:pt x="672" y="352"/>
                  </a:lnTo>
                  <a:lnTo>
                    <a:pt x="678" y="350"/>
                  </a:lnTo>
                  <a:lnTo>
                    <a:pt x="685" y="346"/>
                  </a:lnTo>
                  <a:lnTo>
                    <a:pt x="691" y="342"/>
                  </a:lnTo>
                  <a:lnTo>
                    <a:pt x="698" y="335"/>
                  </a:lnTo>
                  <a:lnTo>
                    <a:pt x="705" y="324"/>
                  </a:lnTo>
                  <a:lnTo>
                    <a:pt x="716" y="324"/>
                  </a:lnTo>
                  <a:lnTo>
                    <a:pt x="726" y="324"/>
                  </a:lnTo>
                  <a:lnTo>
                    <a:pt x="729" y="318"/>
                  </a:lnTo>
                  <a:lnTo>
                    <a:pt x="731" y="311"/>
                  </a:lnTo>
                  <a:lnTo>
                    <a:pt x="731" y="302"/>
                  </a:lnTo>
                  <a:lnTo>
                    <a:pt x="731" y="292"/>
                  </a:lnTo>
                  <a:lnTo>
                    <a:pt x="731" y="279"/>
                  </a:lnTo>
                  <a:lnTo>
                    <a:pt x="729" y="270"/>
                  </a:lnTo>
                  <a:lnTo>
                    <a:pt x="727" y="261"/>
                  </a:lnTo>
                  <a:lnTo>
                    <a:pt x="722" y="254"/>
                  </a:lnTo>
                  <a:lnTo>
                    <a:pt x="718" y="248"/>
                  </a:lnTo>
                  <a:lnTo>
                    <a:pt x="713" y="241"/>
                  </a:lnTo>
                  <a:lnTo>
                    <a:pt x="709" y="235"/>
                  </a:lnTo>
                  <a:lnTo>
                    <a:pt x="707" y="228"/>
                  </a:lnTo>
                  <a:lnTo>
                    <a:pt x="709" y="222"/>
                  </a:lnTo>
                  <a:lnTo>
                    <a:pt x="713" y="220"/>
                  </a:lnTo>
                  <a:lnTo>
                    <a:pt x="720" y="218"/>
                  </a:lnTo>
                  <a:lnTo>
                    <a:pt x="726" y="217"/>
                  </a:lnTo>
                  <a:lnTo>
                    <a:pt x="731" y="213"/>
                  </a:lnTo>
                  <a:lnTo>
                    <a:pt x="737" y="207"/>
                  </a:lnTo>
                  <a:lnTo>
                    <a:pt x="740" y="196"/>
                  </a:lnTo>
                  <a:lnTo>
                    <a:pt x="740" y="180"/>
                  </a:lnTo>
                  <a:lnTo>
                    <a:pt x="727" y="178"/>
                  </a:lnTo>
                  <a:lnTo>
                    <a:pt x="720" y="174"/>
                  </a:lnTo>
                  <a:lnTo>
                    <a:pt x="716" y="170"/>
                  </a:lnTo>
                  <a:lnTo>
                    <a:pt x="716" y="167"/>
                  </a:lnTo>
                  <a:lnTo>
                    <a:pt x="715" y="163"/>
                  </a:lnTo>
                  <a:lnTo>
                    <a:pt x="716" y="159"/>
                  </a:lnTo>
                  <a:lnTo>
                    <a:pt x="703" y="161"/>
                  </a:lnTo>
                  <a:lnTo>
                    <a:pt x="689" y="163"/>
                  </a:lnTo>
                  <a:lnTo>
                    <a:pt x="694" y="174"/>
                  </a:lnTo>
                  <a:lnTo>
                    <a:pt x="702" y="187"/>
                  </a:lnTo>
                  <a:lnTo>
                    <a:pt x="700" y="193"/>
                  </a:lnTo>
                  <a:lnTo>
                    <a:pt x="698" y="198"/>
                  </a:lnTo>
                  <a:lnTo>
                    <a:pt x="694" y="200"/>
                  </a:lnTo>
                  <a:lnTo>
                    <a:pt x="689" y="200"/>
                  </a:lnTo>
                  <a:lnTo>
                    <a:pt x="683" y="198"/>
                  </a:lnTo>
                  <a:lnTo>
                    <a:pt x="679" y="196"/>
                  </a:lnTo>
                  <a:lnTo>
                    <a:pt x="676" y="193"/>
                  </a:lnTo>
                  <a:lnTo>
                    <a:pt x="676" y="189"/>
                  </a:lnTo>
                  <a:lnTo>
                    <a:pt x="674" y="183"/>
                  </a:lnTo>
                  <a:lnTo>
                    <a:pt x="672" y="176"/>
                  </a:lnTo>
                  <a:lnTo>
                    <a:pt x="670" y="174"/>
                  </a:lnTo>
                  <a:lnTo>
                    <a:pt x="668" y="172"/>
                  </a:lnTo>
                  <a:lnTo>
                    <a:pt x="663" y="174"/>
                  </a:lnTo>
                  <a:lnTo>
                    <a:pt x="659" y="176"/>
                  </a:lnTo>
                  <a:lnTo>
                    <a:pt x="655" y="176"/>
                  </a:lnTo>
                  <a:lnTo>
                    <a:pt x="650" y="176"/>
                  </a:lnTo>
                  <a:lnTo>
                    <a:pt x="646" y="176"/>
                  </a:lnTo>
                  <a:lnTo>
                    <a:pt x="644" y="178"/>
                  </a:lnTo>
                  <a:lnTo>
                    <a:pt x="642" y="189"/>
                  </a:lnTo>
                  <a:lnTo>
                    <a:pt x="642" y="196"/>
                  </a:lnTo>
                  <a:lnTo>
                    <a:pt x="642" y="204"/>
                  </a:lnTo>
                  <a:lnTo>
                    <a:pt x="642" y="209"/>
                  </a:lnTo>
                  <a:lnTo>
                    <a:pt x="648" y="217"/>
                  </a:lnTo>
                  <a:lnTo>
                    <a:pt x="654" y="224"/>
                  </a:lnTo>
                  <a:lnTo>
                    <a:pt x="657" y="228"/>
                  </a:lnTo>
                  <a:lnTo>
                    <a:pt x="661" y="233"/>
                  </a:lnTo>
                  <a:lnTo>
                    <a:pt x="666" y="237"/>
                  </a:lnTo>
                  <a:lnTo>
                    <a:pt x="676" y="239"/>
                  </a:lnTo>
                  <a:lnTo>
                    <a:pt x="679" y="250"/>
                  </a:lnTo>
                  <a:lnTo>
                    <a:pt x="683" y="261"/>
                  </a:lnTo>
                  <a:lnTo>
                    <a:pt x="687" y="265"/>
                  </a:lnTo>
                  <a:lnTo>
                    <a:pt x="692" y="268"/>
                  </a:lnTo>
                  <a:lnTo>
                    <a:pt x="696" y="270"/>
                  </a:lnTo>
                  <a:lnTo>
                    <a:pt x="698" y="272"/>
                  </a:lnTo>
                  <a:lnTo>
                    <a:pt x="698" y="274"/>
                  </a:lnTo>
                  <a:lnTo>
                    <a:pt x="698" y="278"/>
                  </a:lnTo>
                  <a:lnTo>
                    <a:pt x="694" y="278"/>
                  </a:lnTo>
                  <a:lnTo>
                    <a:pt x="689" y="278"/>
                  </a:lnTo>
                  <a:lnTo>
                    <a:pt x="681" y="274"/>
                  </a:lnTo>
                  <a:lnTo>
                    <a:pt x="670" y="267"/>
                  </a:lnTo>
                  <a:lnTo>
                    <a:pt x="665" y="255"/>
                  </a:lnTo>
                  <a:lnTo>
                    <a:pt x="657" y="244"/>
                  </a:lnTo>
                  <a:lnTo>
                    <a:pt x="644" y="244"/>
                  </a:lnTo>
                  <a:lnTo>
                    <a:pt x="633" y="241"/>
                  </a:lnTo>
                  <a:lnTo>
                    <a:pt x="626" y="230"/>
                  </a:lnTo>
                  <a:lnTo>
                    <a:pt x="618" y="222"/>
                  </a:lnTo>
                  <a:lnTo>
                    <a:pt x="615" y="220"/>
                  </a:lnTo>
                  <a:lnTo>
                    <a:pt x="613" y="217"/>
                  </a:lnTo>
                  <a:lnTo>
                    <a:pt x="613" y="211"/>
                  </a:lnTo>
                  <a:lnTo>
                    <a:pt x="617" y="206"/>
                  </a:lnTo>
                  <a:lnTo>
                    <a:pt x="620" y="198"/>
                  </a:lnTo>
                  <a:lnTo>
                    <a:pt x="624" y="193"/>
                  </a:lnTo>
                  <a:lnTo>
                    <a:pt x="624" y="187"/>
                  </a:lnTo>
                  <a:lnTo>
                    <a:pt x="624" y="182"/>
                  </a:lnTo>
                  <a:lnTo>
                    <a:pt x="622" y="178"/>
                  </a:lnTo>
                  <a:lnTo>
                    <a:pt x="622" y="172"/>
                  </a:lnTo>
                  <a:lnTo>
                    <a:pt x="622" y="169"/>
                  </a:lnTo>
                  <a:lnTo>
                    <a:pt x="624" y="165"/>
                  </a:lnTo>
                  <a:lnTo>
                    <a:pt x="628" y="158"/>
                  </a:lnTo>
                  <a:lnTo>
                    <a:pt x="633" y="154"/>
                  </a:lnTo>
                  <a:lnTo>
                    <a:pt x="641" y="148"/>
                  </a:lnTo>
                  <a:lnTo>
                    <a:pt x="650" y="146"/>
                  </a:lnTo>
                  <a:lnTo>
                    <a:pt x="648" y="139"/>
                  </a:lnTo>
                  <a:lnTo>
                    <a:pt x="648" y="130"/>
                  </a:lnTo>
                  <a:lnTo>
                    <a:pt x="650" y="122"/>
                  </a:lnTo>
                  <a:lnTo>
                    <a:pt x="650" y="113"/>
                  </a:lnTo>
                  <a:lnTo>
                    <a:pt x="652" y="106"/>
                  </a:lnTo>
                  <a:lnTo>
                    <a:pt x="652" y="100"/>
                  </a:lnTo>
                  <a:lnTo>
                    <a:pt x="650" y="97"/>
                  </a:lnTo>
                  <a:lnTo>
                    <a:pt x="644" y="95"/>
                  </a:lnTo>
                  <a:lnTo>
                    <a:pt x="641" y="102"/>
                  </a:lnTo>
                  <a:lnTo>
                    <a:pt x="635" y="108"/>
                  </a:lnTo>
                  <a:lnTo>
                    <a:pt x="637" y="115"/>
                  </a:lnTo>
                  <a:lnTo>
                    <a:pt x="637" y="122"/>
                  </a:lnTo>
                  <a:lnTo>
                    <a:pt x="635" y="128"/>
                  </a:lnTo>
                  <a:lnTo>
                    <a:pt x="630" y="135"/>
                  </a:lnTo>
                  <a:lnTo>
                    <a:pt x="618" y="148"/>
                  </a:lnTo>
                  <a:lnTo>
                    <a:pt x="607" y="158"/>
                  </a:lnTo>
                  <a:lnTo>
                    <a:pt x="594" y="158"/>
                  </a:lnTo>
                  <a:lnTo>
                    <a:pt x="582" y="158"/>
                  </a:lnTo>
                  <a:lnTo>
                    <a:pt x="574" y="165"/>
                  </a:lnTo>
                  <a:lnTo>
                    <a:pt x="567" y="174"/>
                  </a:lnTo>
                  <a:lnTo>
                    <a:pt x="559" y="178"/>
                  </a:lnTo>
                  <a:lnTo>
                    <a:pt x="552" y="185"/>
                  </a:lnTo>
                  <a:lnTo>
                    <a:pt x="557" y="198"/>
                  </a:lnTo>
                  <a:lnTo>
                    <a:pt x="561" y="211"/>
                  </a:lnTo>
                  <a:lnTo>
                    <a:pt x="557" y="220"/>
                  </a:lnTo>
                  <a:lnTo>
                    <a:pt x="556" y="230"/>
                  </a:lnTo>
                  <a:lnTo>
                    <a:pt x="557" y="246"/>
                  </a:lnTo>
                  <a:lnTo>
                    <a:pt x="557" y="261"/>
                  </a:lnTo>
                  <a:lnTo>
                    <a:pt x="550" y="270"/>
                  </a:lnTo>
                  <a:lnTo>
                    <a:pt x="543" y="278"/>
                  </a:lnTo>
                  <a:lnTo>
                    <a:pt x="535" y="281"/>
                  </a:lnTo>
                  <a:lnTo>
                    <a:pt x="528" y="287"/>
                  </a:lnTo>
                  <a:lnTo>
                    <a:pt x="526" y="294"/>
                  </a:lnTo>
                  <a:lnTo>
                    <a:pt x="522" y="303"/>
                  </a:lnTo>
                  <a:lnTo>
                    <a:pt x="515" y="315"/>
                  </a:lnTo>
                  <a:lnTo>
                    <a:pt x="508" y="326"/>
                  </a:lnTo>
                  <a:lnTo>
                    <a:pt x="508" y="339"/>
                  </a:lnTo>
                  <a:lnTo>
                    <a:pt x="506" y="348"/>
                  </a:lnTo>
                  <a:lnTo>
                    <a:pt x="502" y="357"/>
                  </a:lnTo>
                  <a:lnTo>
                    <a:pt x="497" y="364"/>
                  </a:lnTo>
                  <a:lnTo>
                    <a:pt x="497" y="366"/>
                  </a:lnTo>
                  <a:lnTo>
                    <a:pt x="498" y="368"/>
                  </a:lnTo>
                  <a:lnTo>
                    <a:pt x="500" y="368"/>
                  </a:lnTo>
                  <a:lnTo>
                    <a:pt x="504" y="368"/>
                  </a:lnTo>
                  <a:lnTo>
                    <a:pt x="511" y="368"/>
                  </a:lnTo>
                  <a:lnTo>
                    <a:pt x="517" y="370"/>
                  </a:lnTo>
                  <a:lnTo>
                    <a:pt x="522" y="377"/>
                  </a:lnTo>
                  <a:lnTo>
                    <a:pt x="526" y="381"/>
                  </a:lnTo>
                  <a:lnTo>
                    <a:pt x="530" y="381"/>
                  </a:lnTo>
                  <a:lnTo>
                    <a:pt x="533" y="379"/>
                  </a:lnTo>
                  <a:lnTo>
                    <a:pt x="537" y="377"/>
                  </a:lnTo>
                  <a:lnTo>
                    <a:pt x="541" y="374"/>
                  </a:lnTo>
                  <a:lnTo>
                    <a:pt x="546" y="374"/>
                  </a:lnTo>
                  <a:lnTo>
                    <a:pt x="552" y="376"/>
                  </a:lnTo>
                  <a:lnTo>
                    <a:pt x="561" y="383"/>
                  </a:lnTo>
                  <a:lnTo>
                    <a:pt x="567" y="390"/>
                  </a:lnTo>
                  <a:lnTo>
                    <a:pt x="576" y="394"/>
                  </a:lnTo>
                  <a:lnTo>
                    <a:pt x="580" y="398"/>
                  </a:lnTo>
                  <a:lnTo>
                    <a:pt x="580" y="403"/>
                  </a:lnTo>
                  <a:lnTo>
                    <a:pt x="582" y="411"/>
                  </a:lnTo>
                  <a:lnTo>
                    <a:pt x="594" y="420"/>
                  </a:lnTo>
                  <a:lnTo>
                    <a:pt x="600" y="425"/>
                  </a:lnTo>
                  <a:lnTo>
                    <a:pt x="602" y="429"/>
                  </a:lnTo>
                  <a:lnTo>
                    <a:pt x="602" y="433"/>
                  </a:lnTo>
                  <a:lnTo>
                    <a:pt x="602" y="437"/>
                  </a:lnTo>
                  <a:lnTo>
                    <a:pt x="598" y="442"/>
                  </a:lnTo>
                  <a:lnTo>
                    <a:pt x="600" y="455"/>
                  </a:lnTo>
                  <a:lnTo>
                    <a:pt x="602" y="461"/>
                  </a:lnTo>
                  <a:lnTo>
                    <a:pt x="600" y="464"/>
                  </a:lnTo>
                  <a:lnTo>
                    <a:pt x="594" y="470"/>
                  </a:lnTo>
                  <a:lnTo>
                    <a:pt x="593" y="475"/>
                  </a:lnTo>
                  <a:lnTo>
                    <a:pt x="591" y="481"/>
                  </a:lnTo>
                  <a:lnTo>
                    <a:pt x="585" y="481"/>
                  </a:lnTo>
                  <a:lnTo>
                    <a:pt x="580" y="485"/>
                  </a:lnTo>
                  <a:lnTo>
                    <a:pt x="578" y="490"/>
                  </a:lnTo>
                  <a:lnTo>
                    <a:pt x="576" y="498"/>
                  </a:lnTo>
                  <a:lnTo>
                    <a:pt x="572" y="505"/>
                  </a:lnTo>
                  <a:lnTo>
                    <a:pt x="572" y="512"/>
                  </a:lnTo>
                  <a:lnTo>
                    <a:pt x="572" y="516"/>
                  </a:lnTo>
                  <a:lnTo>
                    <a:pt x="574" y="520"/>
                  </a:lnTo>
                  <a:lnTo>
                    <a:pt x="583" y="527"/>
                  </a:lnTo>
                  <a:lnTo>
                    <a:pt x="600" y="533"/>
                  </a:lnTo>
                  <a:lnTo>
                    <a:pt x="602" y="536"/>
                  </a:lnTo>
                  <a:lnTo>
                    <a:pt x="604" y="549"/>
                  </a:lnTo>
                  <a:lnTo>
                    <a:pt x="609" y="555"/>
                  </a:lnTo>
                  <a:lnTo>
                    <a:pt x="615" y="564"/>
                  </a:lnTo>
                  <a:lnTo>
                    <a:pt x="617" y="570"/>
                  </a:lnTo>
                  <a:lnTo>
                    <a:pt x="618" y="573"/>
                  </a:lnTo>
                  <a:lnTo>
                    <a:pt x="617" y="577"/>
                  </a:lnTo>
                  <a:lnTo>
                    <a:pt x="615" y="579"/>
                  </a:lnTo>
                  <a:lnTo>
                    <a:pt x="604" y="564"/>
                  </a:lnTo>
                  <a:lnTo>
                    <a:pt x="591" y="544"/>
                  </a:lnTo>
                  <a:lnTo>
                    <a:pt x="572" y="536"/>
                  </a:lnTo>
                  <a:lnTo>
                    <a:pt x="557" y="529"/>
                  </a:lnTo>
                  <a:lnTo>
                    <a:pt x="556" y="525"/>
                  </a:lnTo>
                  <a:lnTo>
                    <a:pt x="554" y="520"/>
                  </a:lnTo>
                  <a:lnTo>
                    <a:pt x="554" y="514"/>
                  </a:lnTo>
                  <a:lnTo>
                    <a:pt x="554" y="509"/>
                  </a:lnTo>
                  <a:lnTo>
                    <a:pt x="554" y="503"/>
                  </a:lnTo>
                  <a:lnTo>
                    <a:pt x="556" y="498"/>
                  </a:lnTo>
                  <a:lnTo>
                    <a:pt x="559" y="492"/>
                  </a:lnTo>
                  <a:lnTo>
                    <a:pt x="563" y="488"/>
                  </a:lnTo>
                  <a:lnTo>
                    <a:pt x="572" y="477"/>
                  </a:lnTo>
                  <a:lnTo>
                    <a:pt x="576" y="466"/>
                  </a:lnTo>
                  <a:lnTo>
                    <a:pt x="576" y="455"/>
                  </a:lnTo>
                  <a:lnTo>
                    <a:pt x="570" y="437"/>
                  </a:lnTo>
                  <a:lnTo>
                    <a:pt x="569" y="418"/>
                  </a:lnTo>
                  <a:lnTo>
                    <a:pt x="569" y="409"/>
                  </a:lnTo>
                  <a:lnTo>
                    <a:pt x="565" y="407"/>
                  </a:lnTo>
                  <a:lnTo>
                    <a:pt x="561" y="407"/>
                  </a:lnTo>
                  <a:lnTo>
                    <a:pt x="552" y="405"/>
                  </a:lnTo>
                  <a:lnTo>
                    <a:pt x="539" y="405"/>
                  </a:lnTo>
                  <a:lnTo>
                    <a:pt x="530" y="405"/>
                  </a:lnTo>
                  <a:lnTo>
                    <a:pt x="521" y="401"/>
                  </a:lnTo>
                  <a:lnTo>
                    <a:pt x="515" y="401"/>
                  </a:lnTo>
                  <a:lnTo>
                    <a:pt x="513" y="401"/>
                  </a:lnTo>
                  <a:lnTo>
                    <a:pt x="509" y="403"/>
                  </a:lnTo>
                  <a:lnTo>
                    <a:pt x="508" y="405"/>
                  </a:lnTo>
                  <a:lnTo>
                    <a:pt x="506" y="411"/>
                  </a:lnTo>
                  <a:lnTo>
                    <a:pt x="504" y="416"/>
                  </a:lnTo>
                  <a:lnTo>
                    <a:pt x="498" y="420"/>
                  </a:lnTo>
                  <a:lnTo>
                    <a:pt x="493" y="427"/>
                  </a:lnTo>
                  <a:lnTo>
                    <a:pt x="495" y="438"/>
                  </a:lnTo>
                  <a:lnTo>
                    <a:pt x="497" y="451"/>
                  </a:lnTo>
                  <a:lnTo>
                    <a:pt x="497" y="464"/>
                  </a:lnTo>
                  <a:lnTo>
                    <a:pt x="491" y="477"/>
                  </a:lnTo>
                  <a:lnTo>
                    <a:pt x="478" y="485"/>
                  </a:lnTo>
                  <a:lnTo>
                    <a:pt x="461" y="496"/>
                  </a:lnTo>
                  <a:lnTo>
                    <a:pt x="447" y="512"/>
                  </a:lnTo>
                  <a:lnTo>
                    <a:pt x="426" y="531"/>
                  </a:lnTo>
                  <a:lnTo>
                    <a:pt x="402" y="538"/>
                  </a:lnTo>
                  <a:lnTo>
                    <a:pt x="386" y="544"/>
                  </a:lnTo>
                  <a:lnTo>
                    <a:pt x="375" y="549"/>
                  </a:lnTo>
                  <a:lnTo>
                    <a:pt x="367" y="553"/>
                  </a:lnTo>
                  <a:lnTo>
                    <a:pt x="364" y="557"/>
                  </a:lnTo>
                  <a:lnTo>
                    <a:pt x="360" y="558"/>
                  </a:lnTo>
                  <a:lnTo>
                    <a:pt x="356" y="560"/>
                  </a:lnTo>
                  <a:lnTo>
                    <a:pt x="349" y="562"/>
                  </a:lnTo>
                  <a:lnTo>
                    <a:pt x="338" y="555"/>
                  </a:lnTo>
                  <a:lnTo>
                    <a:pt x="327" y="549"/>
                  </a:lnTo>
                  <a:lnTo>
                    <a:pt x="317" y="546"/>
                  </a:lnTo>
                  <a:lnTo>
                    <a:pt x="304" y="542"/>
                  </a:lnTo>
                  <a:lnTo>
                    <a:pt x="297" y="534"/>
                  </a:lnTo>
                  <a:lnTo>
                    <a:pt x="290" y="525"/>
                  </a:lnTo>
                  <a:lnTo>
                    <a:pt x="284" y="520"/>
                  </a:lnTo>
                  <a:lnTo>
                    <a:pt x="280" y="512"/>
                  </a:lnTo>
                  <a:lnTo>
                    <a:pt x="277" y="499"/>
                  </a:lnTo>
                  <a:lnTo>
                    <a:pt x="275" y="488"/>
                  </a:lnTo>
                  <a:lnTo>
                    <a:pt x="279" y="488"/>
                  </a:lnTo>
                  <a:lnTo>
                    <a:pt x="282" y="490"/>
                  </a:lnTo>
                  <a:lnTo>
                    <a:pt x="286" y="494"/>
                  </a:lnTo>
                  <a:lnTo>
                    <a:pt x="288" y="499"/>
                  </a:lnTo>
                  <a:lnTo>
                    <a:pt x="291" y="509"/>
                  </a:lnTo>
                  <a:lnTo>
                    <a:pt x="297" y="514"/>
                  </a:lnTo>
                  <a:lnTo>
                    <a:pt x="301" y="503"/>
                  </a:lnTo>
                  <a:lnTo>
                    <a:pt x="304" y="496"/>
                  </a:lnTo>
                  <a:lnTo>
                    <a:pt x="310" y="509"/>
                  </a:lnTo>
                  <a:lnTo>
                    <a:pt x="312" y="522"/>
                  </a:lnTo>
                  <a:lnTo>
                    <a:pt x="319" y="525"/>
                  </a:lnTo>
                  <a:lnTo>
                    <a:pt x="330" y="525"/>
                  </a:lnTo>
                  <a:lnTo>
                    <a:pt x="343" y="525"/>
                  </a:lnTo>
                  <a:lnTo>
                    <a:pt x="351" y="522"/>
                  </a:lnTo>
                  <a:lnTo>
                    <a:pt x="352" y="512"/>
                  </a:lnTo>
                  <a:lnTo>
                    <a:pt x="356" y="507"/>
                  </a:lnTo>
                  <a:lnTo>
                    <a:pt x="371" y="505"/>
                  </a:lnTo>
                  <a:lnTo>
                    <a:pt x="380" y="505"/>
                  </a:lnTo>
                  <a:lnTo>
                    <a:pt x="388" y="501"/>
                  </a:lnTo>
                  <a:lnTo>
                    <a:pt x="391" y="499"/>
                  </a:lnTo>
                  <a:lnTo>
                    <a:pt x="399" y="488"/>
                  </a:lnTo>
                  <a:lnTo>
                    <a:pt x="412" y="468"/>
                  </a:lnTo>
                  <a:lnTo>
                    <a:pt x="421" y="468"/>
                  </a:lnTo>
                  <a:lnTo>
                    <a:pt x="432" y="468"/>
                  </a:lnTo>
                  <a:lnTo>
                    <a:pt x="437" y="466"/>
                  </a:lnTo>
                  <a:lnTo>
                    <a:pt x="439" y="461"/>
                  </a:lnTo>
                  <a:lnTo>
                    <a:pt x="441" y="455"/>
                  </a:lnTo>
                  <a:lnTo>
                    <a:pt x="441" y="449"/>
                  </a:lnTo>
                  <a:lnTo>
                    <a:pt x="443" y="437"/>
                  </a:lnTo>
                  <a:lnTo>
                    <a:pt x="445" y="429"/>
                  </a:lnTo>
                  <a:lnTo>
                    <a:pt x="450" y="422"/>
                  </a:lnTo>
                  <a:lnTo>
                    <a:pt x="461" y="418"/>
                  </a:lnTo>
                  <a:lnTo>
                    <a:pt x="469" y="414"/>
                  </a:lnTo>
                  <a:lnTo>
                    <a:pt x="473" y="411"/>
                  </a:lnTo>
                  <a:lnTo>
                    <a:pt x="474" y="407"/>
                  </a:lnTo>
                  <a:lnTo>
                    <a:pt x="474" y="403"/>
                  </a:lnTo>
                  <a:lnTo>
                    <a:pt x="469" y="392"/>
                  </a:lnTo>
                  <a:lnTo>
                    <a:pt x="461" y="379"/>
                  </a:lnTo>
                  <a:lnTo>
                    <a:pt x="461" y="364"/>
                  </a:lnTo>
                  <a:lnTo>
                    <a:pt x="463" y="353"/>
                  </a:lnTo>
                  <a:lnTo>
                    <a:pt x="467" y="344"/>
                  </a:lnTo>
                  <a:lnTo>
                    <a:pt x="474" y="333"/>
                  </a:lnTo>
                  <a:lnTo>
                    <a:pt x="476" y="324"/>
                  </a:lnTo>
                  <a:lnTo>
                    <a:pt x="480" y="313"/>
                  </a:lnTo>
                  <a:lnTo>
                    <a:pt x="482" y="307"/>
                  </a:lnTo>
                  <a:lnTo>
                    <a:pt x="485" y="302"/>
                  </a:lnTo>
                  <a:lnTo>
                    <a:pt x="489" y="296"/>
                  </a:lnTo>
                  <a:lnTo>
                    <a:pt x="495" y="292"/>
                  </a:lnTo>
                  <a:lnTo>
                    <a:pt x="498" y="278"/>
                  </a:lnTo>
                  <a:lnTo>
                    <a:pt x="502" y="261"/>
                  </a:lnTo>
                  <a:lnTo>
                    <a:pt x="509" y="254"/>
                  </a:lnTo>
                  <a:lnTo>
                    <a:pt x="515" y="250"/>
                  </a:lnTo>
                  <a:lnTo>
                    <a:pt x="519" y="244"/>
                  </a:lnTo>
                  <a:lnTo>
                    <a:pt x="522" y="239"/>
                  </a:lnTo>
                  <a:lnTo>
                    <a:pt x="526" y="230"/>
                  </a:lnTo>
                  <a:lnTo>
                    <a:pt x="528" y="215"/>
                  </a:lnTo>
                  <a:lnTo>
                    <a:pt x="524" y="196"/>
                  </a:lnTo>
                  <a:lnTo>
                    <a:pt x="519" y="180"/>
                  </a:lnTo>
                  <a:lnTo>
                    <a:pt x="519" y="176"/>
                  </a:lnTo>
                  <a:lnTo>
                    <a:pt x="521" y="172"/>
                  </a:lnTo>
                  <a:lnTo>
                    <a:pt x="524" y="169"/>
                  </a:lnTo>
                  <a:lnTo>
                    <a:pt x="528" y="167"/>
                  </a:lnTo>
                  <a:lnTo>
                    <a:pt x="535" y="163"/>
                  </a:lnTo>
                  <a:lnTo>
                    <a:pt x="543" y="161"/>
                  </a:lnTo>
                  <a:lnTo>
                    <a:pt x="556" y="141"/>
                  </a:lnTo>
                  <a:lnTo>
                    <a:pt x="570" y="124"/>
                  </a:lnTo>
                  <a:lnTo>
                    <a:pt x="576" y="115"/>
                  </a:lnTo>
                  <a:lnTo>
                    <a:pt x="580" y="104"/>
                  </a:lnTo>
                  <a:lnTo>
                    <a:pt x="582" y="93"/>
                  </a:lnTo>
                  <a:lnTo>
                    <a:pt x="582" y="76"/>
                  </a:lnTo>
                  <a:lnTo>
                    <a:pt x="580" y="69"/>
                  </a:lnTo>
                  <a:lnTo>
                    <a:pt x="576" y="63"/>
                  </a:lnTo>
                  <a:lnTo>
                    <a:pt x="572" y="60"/>
                  </a:lnTo>
                  <a:lnTo>
                    <a:pt x="567" y="56"/>
                  </a:lnTo>
                  <a:lnTo>
                    <a:pt x="552" y="50"/>
                  </a:lnTo>
                  <a:lnTo>
                    <a:pt x="533" y="47"/>
                  </a:lnTo>
                  <a:lnTo>
                    <a:pt x="530" y="37"/>
                  </a:lnTo>
                  <a:lnTo>
                    <a:pt x="524" y="32"/>
                  </a:lnTo>
                  <a:lnTo>
                    <a:pt x="506" y="45"/>
                  </a:lnTo>
                  <a:lnTo>
                    <a:pt x="493" y="56"/>
                  </a:lnTo>
                  <a:lnTo>
                    <a:pt x="491" y="61"/>
                  </a:lnTo>
                  <a:lnTo>
                    <a:pt x="487" y="67"/>
                  </a:lnTo>
                  <a:lnTo>
                    <a:pt x="484" y="71"/>
                  </a:lnTo>
                  <a:lnTo>
                    <a:pt x="480" y="76"/>
                  </a:lnTo>
                  <a:lnTo>
                    <a:pt x="469" y="84"/>
                  </a:lnTo>
                  <a:lnTo>
                    <a:pt x="460" y="95"/>
                  </a:lnTo>
                  <a:lnTo>
                    <a:pt x="450" y="104"/>
                  </a:lnTo>
                  <a:lnTo>
                    <a:pt x="441" y="113"/>
                  </a:lnTo>
                  <a:lnTo>
                    <a:pt x="432" y="119"/>
                  </a:lnTo>
                  <a:lnTo>
                    <a:pt x="421" y="122"/>
                  </a:lnTo>
                  <a:lnTo>
                    <a:pt x="402" y="128"/>
                  </a:lnTo>
                  <a:lnTo>
                    <a:pt x="380" y="132"/>
                  </a:lnTo>
                  <a:lnTo>
                    <a:pt x="376" y="133"/>
                  </a:lnTo>
                  <a:lnTo>
                    <a:pt x="376" y="135"/>
                  </a:lnTo>
                  <a:lnTo>
                    <a:pt x="376" y="137"/>
                  </a:lnTo>
                  <a:lnTo>
                    <a:pt x="378" y="139"/>
                  </a:lnTo>
                  <a:lnTo>
                    <a:pt x="382" y="145"/>
                  </a:lnTo>
                  <a:lnTo>
                    <a:pt x="382" y="148"/>
                  </a:lnTo>
                  <a:lnTo>
                    <a:pt x="376" y="152"/>
                  </a:lnTo>
                  <a:lnTo>
                    <a:pt x="375" y="156"/>
                  </a:lnTo>
                  <a:lnTo>
                    <a:pt x="373" y="158"/>
                  </a:lnTo>
                  <a:lnTo>
                    <a:pt x="375" y="161"/>
                  </a:lnTo>
                  <a:lnTo>
                    <a:pt x="380" y="167"/>
                  </a:lnTo>
                  <a:lnTo>
                    <a:pt x="382" y="172"/>
                  </a:lnTo>
                  <a:lnTo>
                    <a:pt x="376" y="178"/>
                  </a:lnTo>
                  <a:lnTo>
                    <a:pt x="369" y="183"/>
                  </a:lnTo>
                  <a:lnTo>
                    <a:pt x="365" y="196"/>
                  </a:lnTo>
                  <a:lnTo>
                    <a:pt x="364" y="206"/>
                  </a:lnTo>
                  <a:lnTo>
                    <a:pt x="341" y="220"/>
                  </a:lnTo>
                  <a:lnTo>
                    <a:pt x="332" y="230"/>
                  </a:lnTo>
                  <a:lnTo>
                    <a:pt x="336" y="239"/>
                  </a:lnTo>
                  <a:lnTo>
                    <a:pt x="343" y="252"/>
                  </a:lnTo>
                  <a:lnTo>
                    <a:pt x="345" y="259"/>
                  </a:lnTo>
                  <a:lnTo>
                    <a:pt x="345" y="265"/>
                  </a:lnTo>
                  <a:lnTo>
                    <a:pt x="349" y="267"/>
                  </a:lnTo>
                  <a:lnTo>
                    <a:pt x="356" y="267"/>
                  </a:lnTo>
                  <a:lnTo>
                    <a:pt x="352" y="279"/>
                  </a:lnTo>
                  <a:lnTo>
                    <a:pt x="343" y="291"/>
                  </a:lnTo>
                  <a:lnTo>
                    <a:pt x="343" y="300"/>
                  </a:lnTo>
                  <a:lnTo>
                    <a:pt x="343" y="307"/>
                  </a:lnTo>
                  <a:lnTo>
                    <a:pt x="345" y="315"/>
                  </a:lnTo>
                  <a:lnTo>
                    <a:pt x="349" y="322"/>
                  </a:lnTo>
                  <a:lnTo>
                    <a:pt x="351" y="335"/>
                  </a:lnTo>
                  <a:lnTo>
                    <a:pt x="349" y="342"/>
                  </a:lnTo>
                  <a:lnTo>
                    <a:pt x="345" y="346"/>
                  </a:lnTo>
                  <a:lnTo>
                    <a:pt x="332" y="352"/>
                  </a:lnTo>
                  <a:lnTo>
                    <a:pt x="327" y="355"/>
                  </a:lnTo>
                  <a:lnTo>
                    <a:pt x="321" y="359"/>
                  </a:lnTo>
                  <a:lnTo>
                    <a:pt x="319" y="361"/>
                  </a:lnTo>
                  <a:lnTo>
                    <a:pt x="316" y="363"/>
                  </a:lnTo>
                  <a:lnTo>
                    <a:pt x="312" y="363"/>
                  </a:lnTo>
                  <a:lnTo>
                    <a:pt x="308" y="361"/>
                  </a:lnTo>
                  <a:lnTo>
                    <a:pt x="310" y="355"/>
                  </a:lnTo>
                  <a:lnTo>
                    <a:pt x="312" y="350"/>
                  </a:lnTo>
                  <a:lnTo>
                    <a:pt x="306" y="346"/>
                  </a:lnTo>
                  <a:lnTo>
                    <a:pt x="301" y="340"/>
                  </a:lnTo>
                  <a:lnTo>
                    <a:pt x="303" y="333"/>
                  </a:lnTo>
                  <a:lnTo>
                    <a:pt x="304" y="324"/>
                  </a:lnTo>
                  <a:lnTo>
                    <a:pt x="299" y="316"/>
                  </a:lnTo>
                  <a:lnTo>
                    <a:pt x="293" y="309"/>
                  </a:lnTo>
                  <a:lnTo>
                    <a:pt x="293" y="303"/>
                  </a:lnTo>
                  <a:lnTo>
                    <a:pt x="291" y="298"/>
                  </a:lnTo>
                  <a:lnTo>
                    <a:pt x="284" y="289"/>
                  </a:lnTo>
                  <a:lnTo>
                    <a:pt x="275" y="279"/>
                  </a:lnTo>
                  <a:lnTo>
                    <a:pt x="275" y="272"/>
                  </a:lnTo>
                  <a:lnTo>
                    <a:pt x="273" y="267"/>
                  </a:lnTo>
                  <a:lnTo>
                    <a:pt x="266" y="265"/>
                  </a:lnTo>
                  <a:lnTo>
                    <a:pt x="260" y="267"/>
                  </a:lnTo>
                  <a:lnTo>
                    <a:pt x="258" y="278"/>
                  </a:lnTo>
                  <a:lnTo>
                    <a:pt x="255" y="287"/>
                  </a:lnTo>
                  <a:lnTo>
                    <a:pt x="249" y="294"/>
                  </a:lnTo>
                  <a:lnTo>
                    <a:pt x="245" y="300"/>
                  </a:lnTo>
                  <a:lnTo>
                    <a:pt x="234" y="309"/>
                  </a:lnTo>
                  <a:lnTo>
                    <a:pt x="225" y="322"/>
                  </a:lnTo>
                  <a:lnTo>
                    <a:pt x="234" y="344"/>
                  </a:lnTo>
                  <a:lnTo>
                    <a:pt x="242" y="370"/>
                  </a:lnTo>
                  <a:lnTo>
                    <a:pt x="232" y="372"/>
                  </a:lnTo>
                  <a:lnTo>
                    <a:pt x="227" y="372"/>
                  </a:lnTo>
                  <a:lnTo>
                    <a:pt x="225" y="377"/>
                  </a:lnTo>
                  <a:lnTo>
                    <a:pt x="223" y="385"/>
                  </a:lnTo>
                  <a:lnTo>
                    <a:pt x="208" y="388"/>
                  </a:lnTo>
                  <a:lnTo>
                    <a:pt x="184" y="390"/>
                  </a:lnTo>
                  <a:lnTo>
                    <a:pt x="171" y="401"/>
                  </a:lnTo>
                  <a:lnTo>
                    <a:pt x="155" y="411"/>
                  </a:lnTo>
                  <a:lnTo>
                    <a:pt x="133" y="405"/>
                  </a:lnTo>
                  <a:lnTo>
                    <a:pt x="105" y="401"/>
                  </a:lnTo>
                  <a:lnTo>
                    <a:pt x="96" y="405"/>
                  </a:lnTo>
                  <a:lnTo>
                    <a:pt x="88" y="409"/>
                  </a:lnTo>
                  <a:lnTo>
                    <a:pt x="83" y="413"/>
                  </a:lnTo>
                  <a:lnTo>
                    <a:pt x="79" y="418"/>
                  </a:lnTo>
                  <a:lnTo>
                    <a:pt x="70" y="427"/>
                  </a:lnTo>
                  <a:lnTo>
                    <a:pt x="61" y="437"/>
                  </a:lnTo>
                  <a:lnTo>
                    <a:pt x="48" y="437"/>
                  </a:lnTo>
                  <a:lnTo>
                    <a:pt x="33" y="437"/>
                  </a:lnTo>
                  <a:lnTo>
                    <a:pt x="37" y="457"/>
                  </a:lnTo>
                  <a:lnTo>
                    <a:pt x="38" y="479"/>
                  </a:lnTo>
                  <a:lnTo>
                    <a:pt x="14" y="512"/>
                  </a:lnTo>
                  <a:lnTo>
                    <a:pt x="0" y="533"/>
                  </a:lnTo>
                  <a:lnTo>
                    <a:pt x="5" y="538"/>
                  </a:lnTo>
                  <a:lnTo>
                    <a:pt x="16" y="542"/>
                  </a:lnTo>
                  <a:lnTo>
                    <a:pt x="18" y="549"/>
                  </a:lnTo>
                  <a:lnTo>
                    <a:pt x="20" y="555"/>
                  </a:lnTo>
                  <a:lnTo>
                    <a:pt x="24" y="562"/>
                  </a:lnTo>
                  <a:lnTo>
                    <a:pt x="27" y="566"/>
                  </a:lnTo>
                  <a:lnTo>
                    <a:pt x="38" y="570"/>
                  </a:lnTo>
                  <a:lnTo>
                    <a:pt x="51" y="571"/>
                  </a:lnTo>
                  <a:lnTo>
                    <a:pt x="62" y="571"/>
                  </a:lnTo>
                  <a:lnTo>
                    <a:pt x="74" y="573"/>
                  </a:lnTo>
                  <a:lnTo>
                    <a:pt x="86" y="573"/>
                  </a:lnTo>
                  <a:lnTo>
                    <a:pt x="98" y="577"/>
                  </a:lnTo>
                  <a:lnTo>
                    <a:pt x="110" y="586"/>
                  </a:lnTo>
                  <a:lnTo>
                    <a:pt x="125" y="597"/>
                  </a:lnTo>
                  <a:lnTo>
                    <a:pt x="127" y="603"/>
                  </a:lnTo>
                  <a:lnTo>
                    <a:pt x="125" y="607"/>
                  </a:lnTo>
                  <a:lnTo>
                    <a:pt x="122" y="610"/>
                  </a:lnTo>
                  <a:lnTo>
                    <a:pt x="118" y="612"/>
                  </a:lnTo>
                  <a:lnTo>
                    <a:pt x="114" y="614"/>
                  </a:lnTo>
                  <a:lnTo>
                    <a:pt x="110" y="616"/>
                  </a:lnTo>
                  <a:lnTo>
                    <a:pt x="109" y="619"/>
                  </a:lnTo>
                  <a:lnTo>
                    <a:pt x="109" y="623"/>
                  </a:lnTo>
                  <a:lnTo>
                    <a:pt x="133" y="649"/>
                  </a:lnTo>
                  <a:lnTo>
                    <a:pt x="149" y="662"/>
                  </a:lnTo>
                  <a:lnTo>
                    <a:pt x="158" y="656"/>
                  </a:lnTo>
                  <a:lnTo>
                    <a:pt x="168" y="649"/>
                  </a:lnTo>
                  <a:lnTo>
                    <a:pt x="175" y="651"/>
                  </a:lnTo>
                  <a:lnTo>
                    <a:pt x="182" y="653"/>
                  </a:lnTo>
                  <a:lnTo>
                    <a:pt x="184" y="642"/>
                  </a:lnTo>
                  <a:lnTo>
                    <a:pt x="186" y="632"/>
                  </a:lnTo>
                  <a:lnTo>
                    <a:pt x="192" y="632"/>
                  </a:lnTo>
                  <a:lnTo>
                    <a:pt x="195" y="634"/>
                  </a:lnTo>
                  <a:lnTo>
                    <a:pt x="197" y="640"/>
                  </a:lnTo>
                  <a:lnTo>
                    <a:pt x="201" y="647"/>
                  </a:lnTo>
                  <a:lnTo>
                    <a:pt x="203" y="655"/>
                  </a:lnTo>
                  <a:lnTo>
                    <a:pt x="208" y="664"/>
                  </a:lnTo>
                  <a:lnTo>
                    <a:pt x="214" y="671"/>
                  </a:lnTo>
                  <a:lnTo>
                    <a:pt x="223" y="679"/>
                  </a:lnTo>
                  <a:lnTo>
                    <a:pt x="223" y="699"/>
                  </a:lnTo>
                  <a:lnTo>
                    <a:pt x="223" y="728"/>
                  </a:lnTo>
                  <a:lnTo>
                    <a:pt x="225" y="738"/>
                  </a:lnTo>
                  <a:lnTo>
                    <a:pt x="231" y="745"/>
                  </a:lnTo>
                  <a:lnTo>
                    <a:pt x="236" y="753"/>
                  </a:lnTo>
                  <a:lnTo>
                    <a:pt x="242" y="760"/>
                  </a:lnTo>
                  <a:lnTo>
                    <a:pt x="242" y="767"/>
                  </a:lnTo>
                  <a:lnTo>
                    <a:pt x="242" y="777"/>
                  </a:lnTo>
                  <a:lnTo>
                    <a:pt x="243" y="780"/>
                  </a:lnTo>
                  <a:lnTo>
                    <a:pt x="245" y="782"/>
                  </a:lnTo>
                  <a:lnTo>
                    <a:pt x="251" y="786"/>
                  </a:lnTo>
                  <a:lnTo>
                    <a:pt x="256" y="788"/>
                  </a:lnTo>
                  <a:lnTo>
                    <a:pt x="271" y="788"/>
                  </a:lnTo>
                  <a:lnTo>
                    <a:pt x="286" y="791"/>
                  </a:lnTo>
                  <a:lnTo>
                    <a:pt x="297" y="801"/>
                  </a:lnTo>
                  <a:lnTo>
                    <a:pt x="310" y="812"/>
                  </a:lnTo>
                  <a:lnTo>
                    <a:pt x="323" y="823"/>
                  </a:lnTo>
                  <a:lnTo>
                    <a:pt x="338" y="830"/>
                  </a:lnTo>
                  <a:lnTo>
                    <a:pt x="358" y="834"/>
                  </a:lnTo>
                  <a:lnTo>
                    <a:pt x="376" y="836"/>
                  </a:lnTo>
                  <a:lnTo>
                    <a:pt x="382" y="854"/>
                  </a:lnTo>
                  <a:lnTo>
                    <a:pt x="389" y="873"/>
                  </a:lnTo>
                  <a:lnTo>
                    <a:pt x="402" y="873"/>
                  </a:lnTo>
                  <a:lnTo>
                    <a:pt x="417" y="876"/>
                  </a:lnTo>
                  <a:lnTo>
                    <a:pt x="424" y="898"/>
                  </a:lnTo>
                  <a:lnTo>
                    <a:pt x="432" y="919"/>
                  </a:lnTo>
                  <a:lnTo>
                    <a:pt x="443" y="923"/>
                  </a:lnTo>
                  <a:lnTo>
                    <a:pt x="454" y="923"/>
                  </a:lnTo>
                  <a:lnTo>
                    <a:pt x="461" y="923"/>
                  </a:lnTo>
                  <a:lnTo>
                    <a:pt x="469" y="924"/>
                  </a:lnTo>
                  <a:lnTo>
                    <a:pt x="478" y="928"/>
                  </a:lnTo>
                  <a:lnTo>
                    <a:pt x="491" y="934"/>
                  </a:lnTo>
                  <a:lnTo>
                    <a:pt x="498" y="934"/>
                  </a:lnTo>
                  <a:lnTo>
                    <a:pt x="509" y="932"/>
                  </a:lnTo>
                  <a:lnTo>
                    <a:pt x="519" y="928"/>
                  </a:lnTo>
                  <a:lnTo>
                    <a:pt x="528" y="923"/>
                  </a:lnTo>
                  <a:lnTo>
                    <a:pt x="537" y="919"/>
                  </a:lnTo>
                  <a:lnTo>
                    <a:pt x="546" y="915"/>
                  </a:lnTo>
                  <a:lnTo>
                    <a:pt x="554" y="913"/>
                  </a:lnTo>
                  <a:lnTo>
                    <a:pt x="561" y="913"/>
                  </a:lnTo>
                  <a:lnTo>
                    <a:pt x="570" y="928"/>
                  </a:lnTo>
                  <a:lnTo>
                    <a:pt x="583" y="948"/>
                  </a:lnTo>
                  <a:lnTo>
                    <a:pt x="589" y="948"/>
                  </a:lnTo>
                  <a:lnTo>
                    <a:pt x="594" y="948"/>
                  </a:lnTo>
                  <a:lnTo>
                    <a:pt x="598" y="950"/>
                  </a:lnTo>
                  <a:lnTo>
                    <a:pt x="604" y="952"/>
                  </a:lnTo>
                  <a:lnTo>
                    <a:pt x="611" y="963"/>
                  </a:lnTo>
                  <a:lnTo>
                    <a:pt x="622" y="983"/>
                  </a:lnTo>
                  <a:lnTo>
                    <a:pt x="624" y="985"/>
                  </a:lnTo>
                  <a:lnTo>
                    <a:pt x="628" y="987"/>
                  </a:lnTo>
                  <a:lnTo>
                    <a:pt x="631" y="987"/>
                  </a:lnTo>
                  <a:lnTo>
                    <a:pt x="637" y="985"/>
                  </a:lnTo>
                  <a:lnTo>
                    <a:pt x="644" y="982"/>
                  </a:lnTo>
                  <a:lnTo>
                    <a:pt x="654" y="980"/>
                  </a:lnTo>
                  <a:lnTo>
                    <a:pt x="663" y="998"/>
                  </a:lnTo>
                  <a:lnTo>
                    <a:pt x="668" y="1020"/>
                  </a:lnTo>
                  <a:close/>
                  <a:moveTo>
                    <a:pt x="683" y="85"/>
                  </a:moveTo>
                  <a:lnTo>
                    <a:pt x="683" y="84"/>
                  </a:lnTo>
                  <a:lnTo>
                    <a:pt x="687" y="82"/>
                  </a:lnTo>
                  <a:lnTo>
                    <a:pt x="689" y="82"/>
                  </a:lnTo>
                  <a:lnTo>
                    <a:pt x="694" y="84"/>
                  </a:lnTo>
                  <a:lnTo>
                    <a:pt x="692" y="85"/>
                  </a:lnTo>
                  <a:lnTo>
                    <a:pt x="687" y="85"/>
                  </a:lnTo>
                  <a:lnTo>
                    <a:pt x="683" y="85"/>
                  </a:lnTo>
                  <a:close/>
                  <a:moveTo>
                    <a:pt x="694" y="52"/>
                  </a:moveTo>
                  <a:lnTo>
                    <a:pt x="694" y="58"/>
                  </a:lnTo>
                  <a:lnTo>
                    <a:pt x="694" y="61"/>
                  </a:lnTo>
                  <a:lnTo>
                    <a:pt x="696" y="63"/>
                  </a:lnTo>
                  <a:lnTo>
                    <a:pt x="700" y="65"/>
                  </a:lnTo>
                  <a:lnTo>
                    <a:pt x="702" y="61"/>
                  </a:lnTo>
                  <a:lnTo>
                    <a:pt x="700" y="58"/>
                  </a:lnTo>
                  <a:lnTo>
                    <a:pt x="696" y="54"/>
                  </a:lnTo>
                  <a:lnTo>
                    <a:pt x="694" y="52"/>
                  </a:lnTo>
                  <a:close/>
                  <a:moveTo>
                    <a:pt x="670" y="48"/>
                  </a:moveTo>
                  <a:lnTo>
                    <a:pt x="676" y="47"/>
                  </a:lnTo>
                  <a:lnTo>
                    <a:pt x="681" y="43"/>
                  </a:lnTo>
                  <a:lnTo>
                    <a:pt x="685" y="47"/>
                  </a:lnTo>
                  <a:lnTo>
                    <a:pt x="685" y="50"/>
                  </a:lnTo>
                  <a:lnTo>
                    <a:pt x="683" y="50"/>
                  </a:lnTo>
                  <a:lnTo>
                    <a:pt x="681" y="50"/>
                  </a:lnTo>
                  <a:lnTo>
                    <a:pt x="676" y="52"/>
                  </a:lnTo>
                  <a:lnTo>
                    <a:pt x="670" y="54"/>
                  </a:lnTo>
                  <a:lnTo>
                    <a:pt x="670" y="52"/>
                  </a:lnTo>
                  <a:lnTo>
                    <a:pt x="670" y="48"/>
                  </a:lnTo>
                  <a:close/>
                  <a:moveTo>
                    <a:pt x="648" y="65"/>
                  </a:moveTo>
                  <a:lnTo>
                    <a:pt x="648" y="71"/>
                  </a:lnTo>
                  <a:lnTo>
                    <a:pt x="646" y="74"/>
                  </a:lnTo>
                  <a:lnTo>
                    <a:pt x="642" y="76"/>
                  </a:lnTo>
                  <a:lnTo>
                    <a:pt x="637" y="80"/>
                  </a:lnTo>
                  <a:lnTo>
                    <a:pt x="635" y="80"/>
                  </a:lnTo>
                  <a:lnTo>
                    <a:pt x="635" y="76"/>
                  </a:lnTo>
                  <a:lnTo>
                    <a:pt x="635" y="74"/>
                  </a:lnTo>
                  <a:lnTo>
                    <a:pt x="635" y="73"/>
                  </a:lnTo>
                  <a:lnTo>
                    <a:pt x="639" y="67"/>
                  </a:lnTo>
                  <a:lnTo>
                    <a:pt x="648" y="65"/>
                  </a:lnTo>
                  <a:close/>
                  <a:moveTo>
                    <a:pt x="533" y="23"/>
                  </a:moveTo>
                  <a:lnTo>
                    <a:pt x="543" y="15"/>
                  </a:lnTo>
                  <a:lnTo>
                    <a:pt x="548" y="6"/>
                  </a:lnTo>
                  <a:lnTo>
                    <a:pt x="556" y="2"/>
                  </a:lnTo>
                  <a:lnTo>
                    <a:pt x="563" y="0"/>
                  </a:lnTo>
                  <a:lnTo>
                    <a:pt x="570" y="2"/>
                  </a:lnTo>
                  <a:lnTo>
                    <a:pt x="578" y="10"/>
                  </a:lnTo>
                  <a:lnTo>
                    <a:pt x="582" y="17"/>
                  </a:lnTo>
                  <a:lnTo>
                    <a:pt x="583" y="23"/>
                  </a:lnTo>
                  <a:lnTo>
                    <a:pt x="582" y="26"/>
                  </a:lnTo>
                  <a:lnTo>
                    <a:pt x="580" y="28"/>
                  </a:lnTo>
                  <a:lnTo>
                    <a:pt x="576" y="32"/>
                  </a:lnTo>
                  <a:lnTo>
                    <a:pt x="570" y="34"/>
                  </a:lnTo>
                  <a:lnTo>
                    <a:pt x="561" y="34"/>
                  </a:lnTo>
                  <a:lnTo>
                    <a:pt x="552" y="30"/>
                  </a:lnTo>
                  <a:lnTo>
                    <a:pt x="543" y="30"/>
                  </a:lnTo>
                  <a:lnTo>
                    <a:pt x="537" y="30"/>
                  </a:lnTo>
                  <a:lnTo>
                    <a:pt x="533" y="28"/>
                  </a:lnTo>
                  <a:lnTo>
                    <a:pt x="533" y="23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41" name="Freeform 37"/>
            <p:cNvSpPr>
              <a:spLocks/>
            </p:cNvSpPr>
            <p:nvPr/>
          </p:nvSpPr>
          <p:spPr bwMode="auto">
            <a:xfrm>
              <a:off x="4066777" y="3381355"/>
              <a:ext cx="1601545" cy="1403940"/>
            </a:xfrm>
            <a:custGeom>
              <a:avLst/>
              <a:gdLst>
                <a:gd name="T0" fmla="*/ 712112 w 922"/>
                <a:gd name="T1" fmla="*/ 1111250 h 746"/>
                <a:gd name="T2" fmla="*/ 798562 w 922"/>
                <a:gd name="T3" fmla="*/ 1049338 h 746"/>
                <a:gd name="T4" fmla="*/ 849846 w 922"/>
                <a:gd name="T5" fmla="*/ 987425 h 746"/>
                <a:gd name="T6" fmla="*/ 895269 w 922"/>
                <a:gd name="T7" fmla="*/ 979488 h 746"/>
                <a:gd name="T8" fmla="*/ 964136 w 922"/>
                <a:gd name="T9" fmla="*/ 1004888 h 746"/>
                <a:gd name="T10" fmla="*/ 1025676 w 922"/>
                <a:gd name="T11" fmla="*/ 1042988 h 746"/>
                <a:gd name="T12" fmla="*/ 1074030 w 922"/>
                <a:gd name="T13" fmla="*/ 1073150 h 746"/>
                <a:gd name="T14" fmla="*/ 1163410 w 922"/>
                <a:gd name="T15" fmla="*/ 1079500 h 746"/>
                <a:gd name="T16" fmla="*/ 1277699 w 922"/>
                <a:gd name="T17" fmla="*/ 1079500 h 746"/>
                <a:gd name="T18" fmla="*/ 1348031 w 922"/>
                <a:gd name="T19" fmla="*/ 1052513 h 746"/>
                <a:gd name="T20" fmla="*/ 1315796 w 922"/>
                <a:gd name="T21" fmla="*/ 996950 h 746"/>
                <a:gd name="T22" fmla="*/ 1304074 w 922"/>
                <a:gd name="T23" fmla="*/ 925513 h 746"/>
                <a:gd name="T24" fmla="*/ 1249860 w 922"/>
                <a:gd name="T25" fmla="*/ 873125 h 746"/>
                <a:gd name="T26" fmla="*/ 1210298 w 922"/>
                <a:gd name="T27" fmla="*/ 817563 h 746"/>
                <a:gd name="T28" fmla="*/ 1160479 w 922"/>
                <a:gd name="T29" fmla="*/ 779462 h 746"/>
                <a:gd name="T30" fmla="*/ 1098939 w 922"/>
                <a:gd name="T31" fmla="*/ 771525 h 746"/>
                <a:gd name="T32" fmla="*/ 1025676 w 922"/>
                <a:gd name="T33" fmla="*/ 779462 h 746"/>
                <a:gd name="T34" fmla="*/ 958275 w 922"/>
                <a:gd name="T35" fmla="*/ 765175 h 746"/>
                <a:gd name="T36" fmla="*/ 885012 w 922"/>
                <a:gd name="T37" fmla="*/ 661987 h 746"/>
                <a:gd name="T38" fmla="*/ 779514 w 922"/>
                <a:gd name="T39" fmla="*/ 595312 h 746"/>
                <a:gd name="T40" fmla="*/ 693064 w 922"/>
                <a:gd name="T41" fmla="*/ 554038 h 746"/>
                <a:gd name="T42" fmla="*/ 679877 w 922"/>
                <a:gd name="T43" fmla="*/ 512763 h 746"/>
                <a:gd name="T44" fmla="*/ 652037 w 922"/>
                <a:gd name="T45" fmla="*/ 415925 h 746"/>
                <a:gd name="T46" fmla="*/ 619801 w 922"/>
                <a:gd name="T47" fmla="*/ 333375 h 746"/>
                <a:gd name="T48" fmla="*/ 594892 w 922"/>
                <a:gd name="T49" fmla="*/ 325437 h 746"/>
                <a:gd name="T50" fmla="*/ 543608 w 922"/>
                <a:gd name="T51" fmla="*/ 357187 h 746"/>
                <a:gd name="T52" fmla="*/ 492325 w 922"/>
                <a:gd name="T53" fmla="*/ 280988 h 746"/>
                <a:gd name="T54" fmla="*/ 508442 w 922"/>
                <a:gd name="T55" fmla="*/ 254000 h 746"/>
                <a:gd name="T56" fmla="*/ 416132 w 922"/>
                <a:gd name="T57" fmla="*/ 212725 h 746"/>
                <a:gd name="T58" fmla="*/ 354591 w 922"/>
                <a:gd name="T59" fmla="*/ 187325 h 746"/>
                <a:gd name="T60" fmla="*/ 345799 w 922"/>
                <a:gd name="T61" fmla="*/ 119063 h 746"/>
                <a:gd name="T62" fmla="*/ 351660 w 922"/>
                <a:gd name="T63" fmla="*/ 0 h 746"/>
                <a:gd name="T64" fmla="*/ 291585 w 922"/>
                <a:gd name="T65" fmla="*/ 39687 h 746"/>
                <a:gd name="T66" fmla="*/ 238836 w 922"/>
                <a:gd name="T67" fmla="*/ 7938 h 746"/>
                <a:gd name="T68" fmla="*/ 205135 w 922"/>
                <a:gd name="T69" fmla="*/ 38100 h 746"/>
                <a:gd name="T70" fmla="*/ 167039 w 922"/>
                <a:gd name="T71" fmla="*/ 60325 h 746"/>
                <a:gd name="T72" fmla="*/ 140664 w 922"/>
                <a:gd name="T73" fmla="*/ 146050 h 746"/>
                <a:gd name="T74" fmla="*/ 57145 w 922"/>
                <a:gd name="T75" fmla="*/ 249238 h 746"/>
                <a:gd name="T76" fmla="*/ 45423 w 922"/>
                <a:gd name="T77" fmla="*/ 292100 h 746"/>
                <a:gd name="T78" fmla="*/ 0 w 922"/>
                <a:gd name="T79" fmla="*/ 333375 h 746"/>
                <a:gd name="T80" fmla="*/ 38097 w 922"/>
                <a:gd name="T81" fmla="*/ 398462 h 746"/>
                <a:gd name="T82" fmla="*/ 92311 w 922"/>
                <a:gd name="T83" fmla="*/ 461963 h 746"/>
                <a:gd name="T84" fmla="*/ 95241 w 922"/>
                <a:gd name="T85" fmla="*/ 568325 h 746"/>
                <a:gd name="T86" fmla="*/ 80589 w 922"/>
                <a:gd name="T87" fmla="*/ 647700 h 746"/>
                <a:gd name="T88" fmla="*/ 86450 w 922"/>
                <a:gd name="T89" fmla="*/ 779462 h 746"/>
                <a:gd name="T90" fmla="*/ 105498 w 922"/>
                <a:gd name="T91" fmla="*/ 862013 h 746"/>
                <a:gd name="T92" fmla="*/ 130407 w 922"/>
                <a:gd name="T93" fmla="*/ 941388 h 746"/>
                <a:gd name="T94" fmla="*/ 227114 w 922"/>
                <a:gd name="T95" fmla="*/ 931863 h 746"/>
                <a:gd name="T96" fmla="*/ 348730 w 922"/>
                <a:gd name="T97" fmla="*/ 903288 h 746"/>
                <a:gd name="T98" fmla="*/ 438110 w 922"/>
                <a:gd name="T99" fmla="*/ 925513 h 746"/>
                <a:gd name="T100" fmla="*/ 504047 w 922"/>
                <a:gd name="T101" fmla="*/ 955675 h 746"/>
                <a:gd name="T102" fmla="*/ 540678 w 922"/>
                <a:gd name="T103" fmla="*/ 1076325 h 746"/>
                <a:gd name="T104" fmla="*/ 571448 w 922"/>
                <a:gd name="T105" fmla="*/ 1122363 h 746"/>
                <a:gd name="T106" fmla="*/ 603684 w 922"/>
                <a:gd name="T107" fmla="*/ 1155700 h 74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22"/>
                <a:gd name="T163" fmla="*/ 0 h 746"/>
                <a:gd name="T164" fmla="*/ 922 w 922"/>
                <a:gd name="T165" fmla="*/ 746 h 74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22" h="746">
                  <a:moveTo>
                    <a:pt x="447" y="746"/>
                  </a:moveTo>
                  <a:lnTo>
                    <a:pt x="458" y="742"/>
                  </a:lnTo>
                  <a:lnTo>
                    <a:pt x="469" y="737"/>
                  </a:lnTo>
                  <a:lnTo>
                    <a:pt x="477" y="718"/>
                  </a:lnTo>
                  <a:lnTo>
                    <a:pt x="486" y="700"/>
                  </a:lnTo>
                  <a:lnTo>
                    <a:pt x="506" y="698"/>
                  </a:lnTo>
                  <a:lnTo>
                    <a:pt x="525" y="694"/>
                  </a:lnTo>
                  <a:lnTo>
                    <a:pt x="532" y="681"/>
                  </a:lnTo>
                  <a:lnTo>
                    <a:pt x="536" y="672"/>
                  </a:lnTo>
                  <a:lnTo>
                    <a:pt x="545" y="661"/>
                  </a:lnTo>
                  <a:lnTo>
                    <a:pt x="554" y="652"/>
                  </a:lnTo>
                  <a:lnTo>
                    <a:pt x="558" y="643"/>
                  </a:lnTo>
                  <a:lnTo>
                    <a:pt x="560" y="633"/>
                  </a:lnTo>
                  <a:lnTo>
                    <a:pt x="571" y="628"/>
                  </a:lnTo>
                  <a:lnTo>
                    <a:pt x="580" y="622"/>
                  </a:lnTo>
                  <a:lnTo>
                    <a:pt x="586" y="617"/>
                  </a:lnTo>
                  <a:lnTo>
                    <a:pt x="589" y="611"/>
                  </a:lnTo>
                  <a:lnTo>
                    <a:pt x="595" y="609"/>
                  </a:lnTo>
                  <a:lnTo>
                    <a:pt x="598" y="607"/>
                  </a:lnTo>
                  <a:lnTo>
                    <a:pt x="611" y="617"/>
                  </a:lnTo>
                  <a:lnTo>
                    <a:pt x="624" y="628"/>
                  </a:lnTo>
                  <a:lnTo>
                    <a:pt x="635" y="633"/>
                  </a:lnTo>
                  <a:lnTo>
                    <a:pt x="645" y="633"/>
                  </a:lnTo>
                  <a:lnTo>
                    <a:pt x="652" y="633"/>
                  </a:lnTo>
                  <a:lnTo>
                    <a:pt x="658" y="633"/>
                  </a:lnTo>
                  <a:lnTo>
                    <a:pt x="663" y="643"/>
                  </a:lnTo>
                  <a:lnTo>
                    <a:pt x="672" y="652"/>
                  </a:lnTo>
                  <a:lnTo>
                    <a:pt x="683" y="656"/>
                  </a:lnTo>
                  <a:lnTo>
                    <a:pt x="693" y="657"/>
                  </a:lnTo>
                  <a:lnTo>
                    <a:pt x="700" y="657"/>
                  </a:lnTo>
                  <a:lnTo>
                    <a:pt x="707" y="657"/>
                  </a:lnTo>
                  <a:lnTo>
                    <a:pt x="717" y="656"/>
                  </a:lnTo>
                  <a:lnTo>
                    <a:pt x="724" y="656"/>
                  </a:lnTo>
                  <a:lnTo>
                    <a:pt x="728" y="665"/>
                  </a:lnTo>
                  <a:lnTo>
                    <a:pt x="733" y="676"/>
                  </a:lnTo>
                  <a:lnTo>
                    <a:pt x="746" y="676"/>
                  </a:lnTo>
                  <a:lnTo>
                    <a:pt x="761" y="676"/>
                  </a:lnTo>
                  <a:lnTo>
                    <a:pt x="765" y="685"/>
                  </a:lnTo>
                  <a:lnTo>
                    <a:pt x="772" y="691"/>
                  </a:lnTo>
                  <a:lnTo>
                    <a:pt x="794" y="680"/>
                  </a:lnTo>
                  <a:lnTo>
                    <a:pt x="818" y="670"/>
                  </a:lnTo>
                  <a:lnTo>
                    <a:pt x="835" y="678"/>
                  </a:lnTo>
                  <a:lnTo>
                    <a:pt x="855" y="683"/>
                  </a:lnTo>
                  <a:lnTo>
                    <a:pt x="872" y="680"/>
                  </a:lnTo>
                  <a:lnTo>
                    <a:pt x="890" y="676"/>
                  </a:lnTo>
                  <a:lnTo>
                    <a:pt x="901" y="674"/>
                  </a:lnTo>
                  <a:lnTo>
                    <a:pt x="909" y="672"/>
                  </a:lnTo>
                  <a:lnTo>
                    <a:pt x="916" y="668"/>
                  </a:lnTo>
                  <a:lnTo>
                    <a:pt x="920" y="663"/>
                  </a:lnTo>
                  <a:lnTo>
                    <a:pt x="922" y="652"/>
                  </a:lnTo>
                  <a:lnTo>
                    <a:pt x="922" y="644"/>
                  </a:lnTo>
                  <a:lnTo>
                    <a:pt x="918" y="637"/>
                  </a:lnTo>
                  <a:lnTo>
                    <a:pt x="911" y="633"/>
                  </a:lnTo>
                  <a:lnTo>
                    <a:pt x="898" y="628"/>
                  </a:lnTo>
                  <a:lnTo>
                    <a:pt x="888" y="620"/>
                  </a:lnTo>
                  <a:lnTo>
                    <a:pt x="885" y="611"/>
                  </a:lnTo>
                  <a:lnTo>
                    <a:pt x="885" y="602"/>
                  </a:lnTo>
                  <a:lnTo>
                    <a:pt x="887" y="595"/>
                  </a:lnTo>
                  <a:lnTo>
                    <a:pt x="890" y="583"/>
                  </a:lnTo>
                  <a:lnTo>
                    <a:pt x="885" y="561"/>
                  </a:lnTo>
                  <a:lnTo>
                    <a:pt x="876" y="543"/>
                  </a:lnTo>
                  <a:lnTo>
                    <a:pt x="866" y="545"/>
                  </a:lnTo>
                  <a:lnTo>
                    <a:pt x="859" y="548"/>
                  </a:lnTo>
                  <a:lnTo>
                    <a:pt x="853" y="550"/>
                  </a:lnTo>
                  <a:lnTo>
                    <a:pt x="850" y="550"/>
                  </a:lnTo>
                  <a:lnTo>
                    <a:pt x="846" y="548"/>
                  </a:lnTo>
                  <a:lnTo>
                    <a:pt x="844" y="546"/>
                  </a:lnTo>
                  <a:lnTo>
                    <a:pt x="833" y="526"/>
                  </a:lnTo>
                  <a:lnTo>
                    <a:pt x="826" y="515"/>
                  </a:lnTo>
                  <a:lnTo>
                    <a:pt x="820" y="513"/>
                  </a:lnTo>
                  <a:lnTo>
                    <a:pt x="816" y="511"/>
                  </a:lnTo>
                  <a:lnTo>
                    <a:pt x="811" y="511"/>
                  </a:lnTo>
                  <a:lnTo>
                    <a:pt x="805" y="511"/>
                  </a:lnTo>
                  <a:lnTo>
                    <a:pt x="792" y="491"/>
                  </a:lnTo>
                  <a:lnTo>
                    <a:pt x="783" y="476"/>
                  </a:lnTo>
                  <a:lnTo>
                    <a:pt x="776" y="476"/>
                  </a:lnTo>
                  <a:lnTo>
                    <a:pt x="768" y="478"/>
                  </a:lnTo>
                  <a:lnTo>
                    <a:pt x="759" y="482"/>
                  </a:lnTo>
                  <a:lnTo>
                    <a:pt x="750" y="486"/>
                  </a:lnTo>
                  <a:lnTo>
                    <a:pt x="741" y="491"/>
                  </a:lnTo>
                  <a:lnTo>
                    <a:pt x="731" y="495"/>
                  </a:lnTo>
                  <a:lnTo>
                    <a:pt x="720" y="497"/>
                  </a:lnTo>
                  <a:lnTo>
                    <a:pt x="713" y="497"/>
                  </a:lnTo>
                  <a:lnTo>
                    <a:pt x="700" y="491"/>
                  </a:lnTo>
                  <a:lnTo>
                    <a:pt x="691" y="487"/>
                  </a:lnTo>
                  <a:lnTo>
                    <a:pt x="683" y="486"/>
                  </a:lnTo>
                  <a:lnTo>
                    <a:pt x="676" y="486"/>
                  </a:lnTo>
                  <a:lnTo>
                    <a:pt x="665" y="486"/>
                  </a:lnTo>
                  <a:lnTo>
                    <a:pt x="654" y="482"/>
                  </a:lnTo>
                  <a:lnTo>
                    <a:pt x="646" y="461"/>
                  </a:lnTo>
                  <a:lnTo>
                    <a:pt x="639" y="439"/>
                  </a:lnTo>
                  <a:lnTo>
                    <a:pt x="624" y="436"/>
                  </a:lnTo>
                  <a:lnTo>
                    <a:pt x="611" y="436"/>
                  </a:lnTo>
                  <a:lnTo>
                    <a:pt x="604" y="417"/>
                  </a:lnTo>
                  <a:lnTo>
                    <a:pt x="598" y="399"/>
                  </a:lnTo>
                  <a:lnTo>
                    <a:pt x="580" y="397"/>
                  </a:lnTo>
                  <a:lnTo>
                    <a:pt x="560" y="393"/>
                  </a:lnTo>
                  <a:lnTo>
                    <a:pt x="545" y="386"/>
                  </a:lnTo>
                  <a:lnTo>
                    <a:pt x="532" y="375"/>
                  </a:lnTo>
                  <a:lnTo>
                    <a:pt x="519" y="364"/>
                  </a:lnTo>
                  <a:lnTo>
                    <a:pt x="508" y="354"/>
                  </a:lnTo>
                  <a:lnTo>
                    <a:pt x="493" y="351"/>
                  </a:lnTo>
                  <a:lnTo>
                    <a:pt x="478" y="351"/>
                  </a:lnTo>
                  <a:lnTo>
                    <a:pt x="473" y="349"/>
                  </a:lnTo>
                  <a:lnTo>
                    <a:pt x="467" y="345"/>
                  </a:lnTo>
                  <a:lnTo>
                    <a:pt x="465" y="343"/>
                  </a:lnTo>
                  <a:lnTo>
                    <a:pt x="464" y="340"/>
                  </a:lnTo>
                  <a:lnTo>
                    <a:pt x="464" y="330"/>
                  </a:lnTo>
                  <a:lnTo>
                    <a:pt x="464" y="323"/>
                  </a:lnTo>
                  <a:lnTo>
                    <a:pt x="458" y="316"/>
                  </a:lnTo>
                  <a:lnTo>
                    <a:pt x="453" y="308"/>
                  </a:lnTo>
                  <a:lnTo>
                    <a:pt x="447" y="301"/>
                  </a:lnTo>
                  <a:lnTo>
                    <a:pt x="445" y="291"/>
                  </a:lnTo>
                  <a:lnTo>
                    <a:pt x="445" y="262"/>
                  </a:lnTo>
                  <a:lnTo>
                    <a:pt x="445" y="242"/>
                  </a:lnTo>
                  <a:lnTo>
                    <a:pt x="436" y="234"/>
                  </a:lnTo>
                  <a:lnTo>
                    <a:pt x="430" y="227"/>
                  </a:lnTo>
                  <a:lnTo>
                    <a:pt x="425" y="218"/>
                  </a:lnTo>
                  <a:lnTo>
                    <a:pt x="423" y="210"/>
                  </a:lnTo>
                  <a:lnTo>
                    <a:pt x="419" y="203"/>
                  </a:lnTo>
                  <a:lnTo>
                    <a:pt x="417" y="197"/>
                  </a:lnTo>
                  <a:lnTo>
                    <a:pt x="414" y="195"/>
                  </a:lnTo>
                  <a:lnTo>
                    <a:pt x="408" y="195"/>
                  </a:lnTo>
                  <a:lnTo>
                    <a:pt x="406" y="205"/>
                  </a:lnTo>
                  <a:lnTo>
                    <a:pt x="404" y="216"/>
                  </a:lnTo>
                  <a:lnTo>
                    <a:pt x="397" y="214"/>
                  </a:lnTo>
                  <a:lnTo>
                    <a:pt x="390" y="212"/>
                  </a:lnTo>
                  <a:lnTo>
                    <a:pt x="380" y="219"/>
                  </a:lnTo>
                  <a:lnTo>
                    <a:pt x="371" y="225"/>
                  </a:lnTo>
                  <a:lnTo>
                    <a:pt x="355" y="212"/>
                  </a:lnTo>
                  <a:lnTo>
                    <a:pt x="331" y="186"/>
                  </a:lnTo>
                  <a:lnTo>
                    <a:pt x="331" y="182"/>
                  </a:lnTo>
                  <a:lnTo>
                    <a:pt x="332" y="179"/>
                  </a:lnTo>
                  <a:lnTo>
                    <a:pt x="336" y="177"/>
                  </a:lnTo>
                  <a:lnTo>
                    <a:pt x="340" y="175"/>
                  </a:lnTo>
                  <a:lnTo>
                    <a:pt x="344" y="173"/>
                  </a:lnTo>
                  <a:lnTo>
                    <a:pt x="347" y="170"/>
                  </a:lnTo>
                  <a:lnTo>
                    <a:pt x="349" y="166"/>
                  </a:lnTo>
                  <a:lnTo>
                    <a:pt x="347" y="160"/>
                  </a:lnTo>
                  <a:lnTo>
                    <a:pt x="332" y="149"/>
                  </a:lnTo>
                  <a:lnTo>
                    <a:pt x="320" y="140"/>
                  </a:lnTo>
                  <a:lnTo>
                    <a:pt x="308" y="136"/>
                  </a:lnTo>
                  <a:lnTo>
                    <a:pt x="296" y="136"/>
                  </a:lnTo>
                  <a:lnTo>
                    <a:pt x="284" y="134"/>
                  </a:lnTo>
                  <a:lnTo>
                    <a:pt x="273" y="134"/>
                  </a:lnTo>
                  <a:lnTo>
                    <a:pt x="260" y="133"/>
                  </a:lnTo>
                  <a:lnTo>
                    <a:pt x="249" y="129"/>
                  </a:lnTo>
                  <a:lnTo>
                    <a:pt x="246" y="125"/>
                  </a:lnTo>
                  <a:lnTo>
                    <a:pt x="242" y="118"/>
                  </a:lnTo>
                  <a:lnTo>
                    <a:pt x="240" y="112"/>
                  </a:lnTo>
                  <a:lnTo>
                    <a:pt x="238" y="105"/>
                  </a:lnTo>
                  <a:lnTo>
                    <a:pt x="227" y="101"/>
                  </a:lnTo>
                  <a:lnTo>
                    <a:pt x="222" y="96"/>
                  </a:lnTo>
                  <a:lnTo>
                    <a:pt x="236" y="75"/>
                  </a:lnTo>
                  <a:lnTo>
                    <a:pt x="260" y="42"/>
                  </a:lnTo>
                  <a:lnTo>
                    <a:pt x="259" y="20"/>
                  </a:lnTo>
                  <a:lnTo>
                    <a:pt x="255" y="0"/>
                  </a:lnTo>
                  <a:lnTo>
                    <a:pt x="247" y="0"/>
                  </a:lnTo>
                  <a:lnTo>
                    <a:pt x="240" y="0"/>
                  </a:lnTo>
                  <a:lnTo>
                    <a:pt x="231" y="5"/>
                  </a:lnTo>
                  <a:lnTo>
                    <a:pt x="222" y="9"/>
                  </a:lnTo>
                  <a:lnTo>
                    <a:pt x="214" y="14"/>
                  </a:lnTo>
                  <a:lnTo>
                    <a:pt x="207" y="20"/>
                  </a:lnTo>
                  <a:lnTo>
                    <a:pt x="199" y="25"/>
                  </a:lnTo>
                  <a:lnTo>
                    <a:pt x="192" y="31"/>
                  </a:lnTo>
                  <a:lnTo>
                    <a:pt x="183" y="35"/>
                  </a:lnTo>
                  <a:lnTo>
                    <a:pt x="172" y="38"/>
                  </a:lnTo>
                  <a:lnTo>
                    <a:pt x="168" y="18"/>
                  </a:lnTo>
                  <a:lnTo>
                    <a:pt x="163" y="5"/>
                  </a:lnTo>
                  <a:lnTo>
                    <a:pt x="157" y="5"/>
                  </a:lnTo>
                  <a:lnTo>
                    <a:pt x="151" y="9"/>
                  </a:lnTo>
                  <a:lnTo>
                    <a:pt x="146" y="14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38" y="27"/>
                  </a:lnTo>
                  <a:lnTo>
                    <a:pt x="137" y="31"/>
                  </a:lnTo>
                  <a:lnTo>
                    <a:pt x="133" y="33"/>
                  </a:lnTo>
                  <a:lnTo>
                    <a:pt x="126" y="35"/>
                  </a:lnTo>
                  <a:lnTo>
                    <a:pt x="114" y="38"/>
                  </a:lnTo>
                  <a:lnTo>
                    <a:pt x="114" y="48"/>
                  </a:lnTo>
                  <a:lnTo>
                    <a:pt x="113" y="61"/>
                  </a:lnTo>
                  <a:lnTo>
                    <a:pt x="111" y="70"/>
                  </a:lnTo>
                  <a:lnTo>
                    <a:pt x="105" y="81"/>
                  </a:lnTo>
                  <a:lnTo>
                    <a:pt x="96" y="92"/>
                  </a:lnTo>
                  <a:lnTo>
                    <a:pt x="85" y="103"/>
                  </a:lnTo>
                  <a:lnTo>
                    <a:pt x="72" y="112"/>
                  </a:lnTo>
                  <a:lnTo>
                    <a:pt x="59" y="123"/>
                  </a:lnTo>
                  <a:lnTo>
                    <a:pt x="48" y="144"/>
                  </a:lnTo>
                  <a:lnTo>
                    <a:pt x="39" y="157"/>
                  </a:lnTo>
                  <a:lnTo>
                    <a:pt x="35" y="162"/>
                  </a:lnTo>
                  <a:lnTo>
                    <a:pt x="31" y="168"/>
                  </a:lnTo>
                  <a:lnTo>
                    <a:pt x="31" y="173"/>
                  </a:lnTo>
                  <a:lnTo>
                    <a:pt x="31" y="179"/>
                  </a:lnTo>
                  <a:lnTo>
                    <a:pt x="31" y="184"/>
                  </a:lnTo>
                  <a:lnTo>
                    <a:pt x="28" y="190"/>
                  </a:lnTo>
                  <a:lnTo>
                    <a:pt x="26" y="194"/>
                  </a:lnTo>
                  <a:lnTo>
                    <a:pt x="20" y="199"/>
                  </a:lnTo>
                  <a:lnTo>
                    <a:pt x="11" y="205"/>
                  </a:lnTo>
                  <a:lnTo>
                    <a:pt x="0" y="210"/>
                  </a:lnTo>
                  <a:lnTo>
                    <a:pt x="5" y="221"/>
                  </a:lnTo>
                  <a:lnTo>
                    <a:pt x="9" y="234"/>
                  </a:lnTo>
                  <a:lnTo>
                    <a:pt x="13" y="240"/>
                  </a:lnTo>
                  <a:lnTo>
                    <a:pt x="18" y="245"/>
                  </a:lnTo>
                  <a:lnTo>
                    <a:pt x="26" y="251"/>
                  </a:lnTo>
                  <a:lnTo>
                    <a:pt x="37" y="256"/>
                  </a:lnTo>
                  <a:lnTo>
                    <a:pt x="42" y="264"/>
                  </a:lnTo>
                  <a:lnTo>
                    <a:pt x="54" y="279"/>
                  </a:lnTo>
                  <a:lnTo>
                    <a:pt x="59" y="284"/>
                  </a:lnTo>
                  <a:lnTo>
                    <a:pt x="63" y="291"/>
                  </a:lnTo>
                  <a:lnTo>
                    <a:pt x="66" y="301"/>
                  </a:lnTo>
                  <a:lnTo>
                    <a:pt x="70" y="312"/>
                  </a:lnTo>
                  <a:lnTo>
                    <a:pt x="74" y="332"/>
                  </a:lnTo>
                  <a:lnTo>
                    <a:pt x="76" y="347"/>
                  </a:lnTo>
                  <a:lnTo>
                    <a:pt x="65" y="358"/>
                  </a:lnTo>
                  <a:lnTo>
                    <a:pt x="55" y="369"/>
                  </a:lnTo>
                  <a:lnTo>
                    <a:pt x="57" y="375"/>
                  </a:lnTo>
                  <a:lnTo>
                    <a:pt x="59" y="382"/>
                  </a:lnTo>
                  <a:lnTo>
                    <a:pt x="57" y="395"/>
                  </a:lnTo>
                  <a:lnTo>
                    <a:pt x="55" y="408"/>
                  </a:lnTo>
                  <a:lnTo>
                    <a:pt x="59" y="421"/>
                  </a:lnTo>
                  <a:lnTo>
                    <a:pt x="63" y="432"/>
                  </a:lnTo>
                  <a:lnTo>
                    <a:pt x="54" y="454"/>
                  </a:lnTo>
                  <a:lnTo>
                    <a:pt x="44" y="476"/>
                  </a:lnTo>
                  <a:lnTo>
                    <a:pt x="59" y="491"/>
                  </a:lnTo>
                  <a:lnTo>
                    <a:pt x="74" y="506"/>
                  </a:lnTo>
                  <a:lnTo>
                    <a:pt x="76" y="515"/>
                  </a:lnTo>
                  <a:lnTo>
                    <a:pt x="76" y="524"/>
                  </a:lnTo>
                  <a:lnTo>
                    <a:pt x="74" y="534"/>
                  </a:lnTo>
                  <a:lnTo>
                    <a:pt x="72" y="543"/>
                  </a:lnTo>
                  <a:lnTo>
                    <a:pt x="70" y="554"/>
                  </a:lnTo>
                  <a:lnTo>
                    <a:pt x="72" y="563"/>
                  </a:lnTo>
                  <a:lnTo>
                    <a:pt x="74" y="574"/>
                  </a:lnTo>
                  <a:lnTo>
                    <a:pt x="79" y="587"/>
                  </a:lnTo>
                  <a:lnTo>
                    <a:pt x="89" y="593"/>
                  </a:lnTo>
                  <a:lnTo>
                    <a:pt x="98" y="595"/>
                  </a:lnTo>
                  <a:lnTo>
                    <a:pt x="107" y="596"/>
                  </a:lnTo>
                  <a:lnTo>
                    <a:pt x="116" y="595"/>
                  </a:lnTo>
                  <a:lnTo>
                    <a:pt x="135" y="591"/>
                  </a:lnTo>
                  <a:lnTo>
                    <a:pt x="155" y="587"/>
                  </a:lnTo>
                  <a:lnTo>
                    <a:pt x="168" y="585"/>
                  </a:lnTo>
                  <a:lnTo>
                    <a:pt x="183" y="585"/>
                  </a:lnTo>
                  <a:lnTo>
                    <a:pt x="198" y="587"/>
                  </a:lnTo>
                  <a:lnTo>
                    <a:pt x="211" y="585"/>
                  </a:lnTo>
                  <a:lnTo>
                    <a:pt x="238" y="569"/>
                  </a:lnTo>
                  <a:lnTo>
                    <a:pt x="255" y="558"/>
                  </a:lnTo>
                  <a:lnTo>
                    <a:pt x="264" y="572"/>
                  </a:lnTo>
                  <a:lnTo>
                    <a:pt x="271" y="587"/>
                  </a:lnTo>
                  <a:lnTo>
                    <a:pt x="284" y="587"/>
                  </a:lnTo>
                  <a:lnTo>
                    <a:pt x="299" y="583"/>
                  </a:lnTo>
                  <a:lnTo>
                    <a:pt x="308" y="583"/>
                  </a:lnTo>
                  <a:lnTo>
                    <a:pt x="318" y="583"/>
                  </a:lnTo>
                  <a:lnTo>
                    <a:pt x="327" y="587"/>
                  </a:lnTo>
                  <a:lnTo>
                    <a:pt x="336" y="593"/>
                  </a:lnTo>
                  <a:lnTo>
                    <a:pt x="344" y="602"/>
                  </a:lnTo>
                  <a:lnTo>
                    <a:pt x="349" y="613"/>
                  </a:lnTo>
                  <a:lnTo>
                    <a:pt x="353" y="630"/>
                  </a:lnTo>
                  <a:lnTo>
                    <a:pt x="353" y="654"/>
                  </a:lnTo>
                  <a:lnTo>
                    <a:pt x="362" y="667"/>
                  </a:lnTo>
                  <a:lnTo>
                    <a:pt x="369" y="678"/>
                  </a:lnTo>
                  <a:lnTo>
                    <a:pt x="366" y="685"/>
                  </a:lnTo>
                  <a:lnTo>
                    <a:pt x="364" y="698"/>
                  </a:lnTo>
                  <a:lnTo>
                    <a:pt x="371" y="704"/>
                  </a:lnTo>
                  <a:lnTo>
                    <a:pt x="380" y="705"/>
                  </a:lnTo>
                  <a:lnTo>
                    <a:pt x="390" y="707"/>
                  </a:lnTo>
                  <a:lnTo>
                    <a:pt x="395" y="707"/>
                  </a:lnTo>
                  <a:lnTo>
                    <a:pt x="403" y="713"/>
                  </a:lnTo>
                  <a:lnTo>
                    <a:pt x="406" y="716"/>
                  </a:lnTo>
                  <a:lnTo>
                    <a:pt x="410" y="722"/>
                  </a:lnTo>
                  <a:lnTo>
                    <a:pt x="412" y="728"/>
                  </a:lnTo>
                  <a:lnTo>
                    <a:pt x="417" y="733"/>
                  </a:lnTo>
                  <a:lnTo>
                    <a:pt x="423" y="737"/>
                  </a:lnTo>
                  <a:lnTo>
                    <a:pt x="432" y="742"/>
                  </a:lnTo>
                  <a:lnTo>
                    <a:pt x="447" y="746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42" name="Freeform 39"/>
            <p:cNvSpPr>
              <a:spLocks/>
            </p:cNvSpPr>
            <p:nvPr/>
          </p:nvSpPr>
          <p:spPr bwMode="auto">
            <a:xfrm>
              <a:off x="3670684" y="4625328"/>
              <a:ext cx="515656" cy="455434"/>
            </a:xfrm>
            <a:custGeom>
              <a:avLst/>
              <a:gdLst>
                <a:gd name="T0" fmla="*/ 64441 w 297"/>
                <a:gd name="T1" fmla="*/ 311150 h 242"/>
                <a:gd name="T2" fmla="*/ 124488 w 297"/>
                <a:gd name="T3" fmla="*/ 334963 h 242"/>
                <a:gd name="T4" fmla="*/ 168425 w 297"/>
                <a:gd name="T5" fmla="*/ 346075 h 242"/>
                <a:gd name="T6" fmla="*/ 191858 w 297"/>
                <a:gd name="T7" fmla="*/ 338138 h 242"/>
                <a:gd name="T8" fmla="*/ 216755 w 297"/>
                <a:gd name="T9" fmla="*/ 339725 h 242"/>
                <a:gd name="T10" fmla="*/ 262157 w 297"/>
                <a:gd name="T11" fmla="*/ 360363 h 242"/>
                <a:gd name="T12" fmla="*/ 335385 w 297"/>
                <a:gd name="T13" fmla="*/ 381000 h 242"/>
                <a:gd name="T14" fmla="*/ 364676 w 297"/>
                <a:gd name="T15" fmla="*/ 384175 h 242"/>
                <a:gd name="T16" fmla="*/ 380786 w 297"/>
                <a:gd name="T17" fmla="*/ 377825 h 242"/>
                <a:gd name="T18" fmla="*/ 399826 w 297"/>
                <a:gd name="T19" fmla="*/ 376238 h 242"/>
                <a:gd name="T20" fmla="*/ 421794 w 297"/>
                <a:gd name="T21" fmla="*/ 373063 h 242"/>
                <a:gd name="T22" fmla="*/ 433510 w 297"/>
                <a:gd name="T23" fmla="*/ 369888 h 242"/>
                <a:gd name="T24" fmla="*/ 434975 w 297"/>
                <a:gd name="T25" fmla="*/ 360363 h 242"/>
                <a:gd name="T26" fmla="*/ 434975 w 297"/>
                <a:gd name="T27" fmla="*/ 342900 h 242"/>
                <a:gd name="T28" fmla="*/ 434975 w 297"/>
                <a:gd name="T29" fmla="*/ 331788 h 242"/>
                <a:gd name="T30" fmla="*/ 424723 w 297"/>
                <a:gd name="T31" fmla="*/ 317500 h 242"/>
                <a:gd name="T32" fmla="*/ 398361 w 297"/>
                <a:gd name="T33" fmla="*/ 280988 h 242"/>
                <a:gd name="T34" fmla="*/ 364676 w 297"/>
                <a:gd name="T35" fmla="*/ 238125 h 242"/>
                <a:gd name="T36" fmla="*/ 341243 w 297"/>
                <a:gd name="T37" fmla="*/ 203200 h 242"/>
                <a:gd name="T38" fmla="*/ 316345 w 297"/>
                <a:gd name="T39" fmla="*/ 173038 h 242"/>
                <a:gd name="T40" fmla="*/ 287054 w 297"/>
                <a:gd name="T41" fmla="*/ 138113 h 242"/>
                <a:gd name="T42" fmla="*/ 268015 w 297"/>
                <a:gd name="T43" fmla="*/ 111125 h 242"/>
                <a:gd name="T44" fmla="*/ 265086 w 297"/>
                <a:gd name="T45" fmla="*/ 87313 h 242"/>
                <a:gd name="T46" fmla="*/ 281196 w 297"/>
                <a:gd name="T47" fmla="*/ 61913 h 242"/>
                <a:gd name="T48" fmla="*/ 275338 w 297"/>
                <a:gd name="T49" fmla="*/ 47625 h 242"/>
                <a:gd name="T50" fmla="*/ 240188 w 297"/>
                <a:gd name="T51" fmla="*/ 52388 h 242"/>
                <a:gd name="T52" fmla="*/ 213826 w 297"/>
                <a:gd name="T53" fmla="*/ 61913 h 242"/>
                <a:gd name="T54" fmla="*/ 191858 w 297"/>
                <a:gd name="T55" fmla="*/ 44450 h 242"/>
                <a:gd name="T56" fmla="*/ 165496 w 297"/>
                <a:gd name="T57" fmla="*/ 20638 h 242"/>
                <a:gd name="T58" fmla="*/ 140598 w 297"/>
                <a:gd name="T59" fmla="*/ 3175 h 242"/>
                <a:gd name="T60" fmla="*/ 108378 w 297"/>
                <a:gd name="T61" fmla="*/ 9525 h 242"/>
                <a:gd name="T62" fmla="*/ 86409 w 297"/>
                <a:gd name="T63" fmla="*/ 34925 h 242"/>
                <a:gd name="T64" fmla="*/ 80551 w 297"/>
                <a:gd name="T65" fmla="*/ 79375 h 242"/>
                <a:gd name="T66" fmla="*/ 67370 w 297"/>
                <a:gd name="T67" fmla="*/ 114300 h 242"/>
                <a:gd name="T68" fmla="*/ 43937 w 297"/>
                <a:gd name="T69" fmla="*/ 131763 h 242"/>
                <a:gd name="T70" fmla="*/ 13181 w 297"/>
                <a:gd name="T71" fmla="*/ 152400 h 242"/>
                <a:gd name="T72" fmla="*/ 0 w 297"/>
                <a:gd name="T73" fmla="*/ 166688 h 242"/>
                <a:gd name="T74" fmla="*/ 2929 w 297"/>
                <a:gd name="T75" fmla="*/ 176213 h 242"/>
                <a:gd name="T76" fmla="*/ 19039 w 297"/>
                <a:gd name="T77" fmla="*/ 196850 h 242"/>
                <a:gd name="T78" fmla="*/ 32220 w 297"/>
                <a:gd name="T79" fmla="*/ 220663 h 242"/>
                <a:gd name="T80" fmla="*/ 41008 w 297"/>
                <a:gd name="T81" fmla="*/ 252413 h 242"/>
                <a:gd name="T82" fmla="*/ 38079 w 297"/>
                <a:gd name="T83" fmla="*/ 284163 h 24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7"/>
                <a:gd name="T127" fmla="*/ 0 h 242"/>
                <a:gd name="T128" fmla="*/ 297 w 297"/>
                <a:gd name="T129" fmla="*/ 242 h 24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7" h="242">
                  <a:moveTo>
                    <a:pt x="24" y="189"/>
                  </a:moveTo>
                  <a:lnTo>
                    <a:pt x="44" y="196"/>
                  </a:lnTo>
                  <a:lnTo>
                    <a:pt x="65" y="203"/>
                  </a:lnTo>
                  <a:lnTo>
                    <a:pt x="85" y="211"/>
                  </a:lnTo>
                  <a:lnTo>
                    <a:pt x="107" y="218"/>
                  </a:lnTo>
                  <a:lnTo>
                    <a:pt x="115" y="218"/>
                  </a:lnTo>
                  <a:lnTo>
                    <a:pt x="126" y="214"/>
                  </a:lnTo>
                  <a:lnTo>
                    <a:pt x="131" y="213"/>
                  </a:lnTo>
                  <a:lnTo>
                    <a:pt x="139" y="213"/>
                  </a:lnTo>
                  <a:lnTo>
                    <a:pt x="148" y="214"/>
                  </a:lnTo>
                  <a:lnTo>
                    <a:pt x="157" y="220"/>
                  </a:lnTo>
                  <a:lnTo>
                    <a:pt x="179" y="227"/>
                  </a:lnTo>
                  <a:lnTo>
                    <a:pt x="212" y="237"/>
                  </a:lnTo>
                  <a:lnTo>
                    <a:pt x="229" y="240"/>
                  </a:lnTo>
                  <a:lnTo>
                    <a:pt x="244" y="242"/>
                  </a:lnTo>
                  <a:lnTo>
                    <a:pt x="249" y="242"/>
                  </a:lnTo>
                  <a:lnTo>
                    <a:pt x="255" y="240"/>
                  </a:lnTo>
                  <a:lnTo>
                    <a:pt x="260" y="238"/>
                  </a:lnTo>
                  <a:lnTo>
                    <a:pt x="264" y="235"/>
                  </a:lnTo>
                  <a:lnTo>
                    <a:pt x="273" y="237"/>
                  </a:lnTo>
                  <a:lnTo>
                    <a:pt x="281" y="237"/>
                  </a:lnTo>
                  <a:lnTo>
                    <a:pt x="288" y="235"/>
                  </a:lnTo>
                  <a:lnTo>
                    <a:pt x="296" y="233"/>
                  </a:lnTo>
                  <a:lnTo>
                    <a:pt x="297" y="227"/>
                  </a:lnTo>
                  <a:lnTo>
                    <a:pt x="297" y="220"/>
                  </a:lnTo>
                  <a:lnTo>
                    <a:pt x="297" y="216"/>
                  </a:lnTo>
                  <a:lnTo>
                    <a:pt x="297" y="213"/>
                  </a:lnTo>
                  <a:lnTo>
                    <a:pt x="297" y="209"/>
                  </a:lnTo>
                  <a:lnTo>
                    <a:pt x="296" y="207"/>
                  </a:lnTo>
                  <a:lnTo>
                    <a:pt x="290" y="200"/>
                  </a:lnTo>
                  <a:lnTo>
                    <a:pt x="285" y="185"/>
                  </a:lnTo>
                  <a:lnTo>
                    <a:pt x="272" y="177"/>
                  </a:lnTo>
                  <a:lnTo>
                    <a:pt x="257" y="168"/>
                  </a:lnTo>
                  <a:lnTo>
                    <a:pt x="249" y="150"/>
                  </a:lnTo>
                  <a:lnTo>
                    <a:pt x="242" y="133"/>
                  </a:lnTo>
                  <a:lnTo>
                    <a:pt x="233" y="128"/>
                  </a:lnTo>
                  <a:lnTo>
                    <a:pt x="225" y="122"/>
                  </a:lnTo>
                  <a:lnTo>
                    <a:pt x="216" y="109"/>
                  </a:lnTo>
                  <a:lnTo>
                    <a:pt x="207" y="98"/>
                  </a:lnTo>
                  <a:lnTo>
                    <a:pt x="196" y="87"/>
                  </a:lnTo>
                  <a:lnTo>
                    <a:pt x="188" y="78"/>
                  </a:lnTo>
                  <a:lnTo>
                    <a:pt x="183" y="70"/>
                  </a:lnTo>
                  <a:lnTo>
                    <a:pt x="181" y="63"/>
                  </a:lnTo>
                  <a:lnTo>
                    <a:pt x="181" y="55"/>
                  </a:lnTo>
                  <a:lnTo>
                    <a:pt x="185" y="48"/>
                  </a:lnTo>
                  <a:lnTo>
                    <a:pt x="192" y="39"/>
                  </a:lnTo>
                  <a:lnTo>
                    <a:pt x="200" y="31"/>
                  </a:lnTo>
                  <a:lnTo>
                    <a:pt x="188" y="30"/>
                  </a:lnTo>
                  <a:lnTo>
                    <a:pt x="177" y="30"/>
                  </a:lnTo>
                  <a:lnTo>
                    <a:pt x="164" y="33"/>
                  </a:lnTo>
                  <a:lnTo>
                    <a:pt x="152" y="39"/>
                  </a:lnTo>
                  <a:lnTo>
                    <a:pt x="146" y="39"/>
                  </a:lnTo>
                  <a:lnTo>
                    <a:pt x="139" y="33"/>
                  </a:lnTo>
                  <a:lnTo>
                    <a:pt x="131" y="28"/>
                  </a:lnTo>
                  <a:lnTo>
                    <a:pt x="122" y="20"/>
                  </a:lnTo>
                  <a:lnTo>
                    <a:pt x="113" y="13"/>
                  </a:lnTo>
                  <a:lnTo>
                    <a:pt x="105" y="7"/>
                  </a:lnTo>
                  <a:lnTo>
                    <a:pt x="96" y="2"/>
                  </a:lnTo>
                  <a:lnTo>
                    <a:pt x="91" y="0"/>
                  </a:lnTo>
                  <a:lnTo>
                    <a:pt x="74" y="6"/>
                  </a:lnTo>
                  <a:lnTo>
                    <a:pt x="57" y="9"/>
                  </a:lnTo>
                  <a:lnTo>
                    <a:pt x="59" y="22"/>
                  </a:lnTo>
                  <a:lnTo>
                    <a:pt x="57" y="37"/>
                  </a:lnTo>
                  <a:lnTo>
                    <a:pt x="55" y="50"/>
                  </a:lnTo>
                  <a:lnTo>
                    <a:pt x="55" y="67"/>
                  </a:lnTo>
                  <a:lnTo>
                    <a:pt x="46" y="72"/>
                  </a:lnTo>
                  <a:lnTo>
                    <a:pt x="33" y="76"/>
                  </a:lnTo>
                  <a:lnTo>
                    <a:pt x="30" y="83"/>
                  </a:lnTo>
                  <a:lnTo>
                    <a:pt x="22" y="92"/>
                  </a:lnTo>
                  <a:lnTo>
                    <a:pt x="9" y="96"/>
                  </a:lnTo>
                  <a:lnTo>
                    <a:pt x="2" y="102"/>
                  </a:lnTo>
                  <a:lnTo>
                    <a:pt x="0" y="105"/>
                  </a:lnTo>
                  <a:lnTo>
                    <a:pt x="0" y="107"/>
                  </a:lnTo>
                  <a:lnTo>
                    <a:pt x="2" y="111"/>
                  </a:lnTo>
                  <a:lnTo>
                    <a:pt x="4" y="116"/>
                  </a:lnTo>
                  <a:lnTo>
                    <a:pt x="13" y="124"/>
                  </a:lnTo>
                  <a:lnTo>
                    <a:pt x="19" y="131"/>
                  </a:lnTo>
                  <a:lnTo>
                    <a:pt x="22" y="139"/>
                  </a:lnTo>
                  <a:lnTo>
                    <a:pt x="26" y="144"/>
                  </a:lnTo>
                  <a:lnTo>
                    <a:pt x="28" y="159"/>
                  </a:lnTo>
                  <a:lnTo>
                    <a:pt x="28" y="172"/>
                  </a:lnTo>
                  <a:lnTo>
                    <a:pt x="26" y="179"/>
                  </a:lnTo>
                  <a:lnTo>
                    <a:pt x="24" y="189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43" name="Freeform 40"/>
            <p:cNvSpPr>
              <a:spLocks/>
            </p:cNvSpPr>
            <p:nvPr/>
          </p:nvSpPr>
          <p:spPr bwMode="auto">
            <a:xfrm>
              <a:off x="3245360" y="4503000"/>
              <a:ext cx="526948" cy="615399"/>
            </a:xfrm>
            <a:custGeom>
              <a:avLst/>
              <a:gdLst>
                <a:gd name="T0" fmla="*/ 44010 w 303"/>
                <a:gd name="T1" fmla="*/ 500062 h 327"/>
                <a:gd name="T2" fmla="*/ 98289 w 303"/>
                <a:gd name="T3" fmla="*/ 519112 h 327"/>
                <a:gd name="T4" fmla="*/ 133497 w 303"/>
                <a:gd name="T5" fmla="*/ 511175 h 327"/>
                <a:gd name="T6" fmla="*/ 133497 w 303"/>
                <a:gd name="T7" fmla="*/ 449262 h 327"/>
                <a:gd name="T8" fmla="*/ 152568 w 303"/>
                <a:gd name="T9" fmla="*/ 442912 h 327"/>
                <a:gd name="T10" fmla="*/ 195111 w 303"/>
                <a:gd name="T11" fmla="*/ 446087 h 327"/>
                <a:gd name="T12" fmla="*/ 222983 w 303"/>
                <a:gd name="T13" fmla="*/ 481012 h 327"/>
                <a:gd name="T14" fmla="*/ 239120 w 303"/>
                <a:gd name="T15" fmla="*/ 479425 h 327"/>
                <a:gd name="T16" fmla="*/ 208314 w 303"/>
                <a:gd name="T17" fmla="*/ 411162 h 327"/>
                <a:gd name="T18" fmla="*/ 227384 w 303"/>
                <a:gd name="T19" fmla="*/ 379412 h 327"/>
                <a:gd name="T20" fmla="*/ 233252 w 303"/>
                <a:gd name="T21" fmla="*/ 338137 h 327"/>
                <a:gd name="T22" fmla="*/ 277262 w 303"/>
                <a:gd name="T23" fmla="*/ 355600 h 327"/>
                <a:gd name="T24" fmla="*/ 325673 w 303"/>
                <a:gd name="T25" fmla="*/ 384175 h 327"/>
                <a:gd name="T26" fmla="*/ 377018 w 303"/>
                <a:gd name="T27" fmla="*/ 393700 h 327"/>
                <a:gd name="T28" fmla="*/ 399023 w 303"/>
                <a:gd name="T29" fmla="*/ 376237 h 327"/>
                <a:gd name="T30" fmla="*/ 390221 w 303"/>
                <a:gd name="T31" fmla="*/ 323850 h 327"/>
                <a:gd name="T32" fmla="*/ 363815 w 303"/>
                <a:gd name="T33" fmla="*/ 287337 h 327"/>
                <a:gd name="T34" fmla="*/ 357947 w 303"/>
                <a:gd name="T35" fmla="*/ 269875 h 327"/>
                <a:gd name="T36" fmla="*/ 390221 w 303"/>
                <a:gd name="T37" fmla="*/ 249237 h 327"/>
                <a:gd name="T38" fmla="*/ 425429 w 303"/>
                <a:gd name="T39" fmla="*/ 217487 h 327"/>
                <a:gd name="T40" fmla="*/ 441566 w 303"/>
                <a:gd name="T41" fmla="*/ 161925 h 327"/>
                <a:gd name="T42" fmla="*/ 425429 w 303"/>
                <a:gd name="T43" fmla="*/ 95250 h 327"/>
                <a:gd name="T44" fmla="*/ 382886 w 303"/>
                <a:gd name="T45" fmla="*/ 76200 h 327"/>
                <a:gd name="T46" fmla="*/ 322739 w 303"/>
                <a:gd name="T47" fmla="*/ 23812 h 327"/>
                <a:gd name="T48" fmla="*/ 287531 w 303"/>
                <a:gd name="T49" fmla="*/ 0 h 327"/>
                <a:gd name="T50" fmla="*/ 271394 w 303"/>
                <a:gd name="T51" fmla="*/ 17462 h 327"/>
                <a:gd name="T52" fmla="*/ 246455 w 303"/>
                <a:gd name="T53" fmla="*/ 50800 h 327"/>
                <a:gd name="T54" fmla="*/ 255257 w 303"/>
                <a:gd name="T55" fmla="*/ 92075 h 327"/>
                <a:gd name="T56" fmla="*/ 239120 w 303"/>
                <a:gd name="T57" fmla="*/ 92075 h 327"/>
                <a:gd name="T58" fmla="*/ 222983 w 303"/>
                <a:gd name="T59" fmla="*/ 85725 h 327"/>
                <a:gd name="T60" fmla="*/ 203913 w 303"/>
                <a:gd name="T61" fmla="*/ 100012 h 327"/>
                <a:gd name="T62" fmla="*/ 189243 w 303"/>
                <a:gd name="T63" fmla="*/ 82550 h 327"/>
                <a:gd name="T64" fmla="*/ 154035 w 303"/>
                <a:gd name="T65" fmla="*/ 76200 h 327"/>
                <a:gd name="T66" fmla="*/ 136431 w 303"/>
                <a:gd name="T67" fmla="*/ 61912 h 327"/>
                <a:gd name="T68" fmla="*/ 124695 w 303"/>
                <a:gd name="T69" fmla="*/ 15875 h 327"/>
                <a:gd name="T70" fmla="*/ 105624 w 303"/>
                <a:gd name="T71" fmla="*/ 9525 h 327"/>
                <a:gd name="T72" fmla="*/ 79218 w 303"/>
                <a:gd name="T73" fmla="*/ 36512 h 327"/>
                <a:gd name="T74" fmla="*/ 63081 w 303"/>
                <a:gd name="T75" fmla="*/ 88900 h 327"/>
                <a:gd name="T76" fmla="*/ 79218 w 303"/>
                <a:gd name="T77" fmla="*/ 133350 h 327"/>
                <a:gd name="T78" fmla="*/ 117360 w 303"/>
                <a:gd name="T79" fmla="*/ 144462 h 327"/>
                <a:gd name="T80" fmla="*/ 146700 w 303"/>
                <a:gd name="T81" fmla="*/ 155575 h 327"/>
                <a:gd name="T82" fmla="*/ 187776 w 303"/>
                <a:gd name="T83" fmla="*/ 168275 h 327"/>
                <a:gd name="T84" fmla="*/ 206847 w 303"/>
                <a:gd name="T85" fmla="*/ 161925 h 327"/>
                <a:gd name="T86" fmla="*/ 222983 w 303"/>
                <a:gd name="T87" fmla="*/ 176212 h 327"/>
                <a:gd name="T88" fmla="*/ 214182 w 303"/>
                <a:gd name="T89" fmla="*/ 190500 h 327"/>
                <a:gd name="T90" fmla="*/ 187776 w 303"/>
                <a:gd name="T91" fmla="*/ 217487 h 327"/>
                <a:gd name="T92" fmla="*/ 152568 w 303"/>
                <a:gd name="T93" fmla="*/ 217487 h 327"/>
                <a:gd name="T94" fmla="*/ 102690 w 303"/>
                <a:gd name="T95" fmla="*/ 227012 h 327"/>
                <a:gd name="T96" fmla="*/ 41076 w 303"/>
                <a:gd name="T97" fmla="*/ 331787 h 327"/>
                <a:gd name="T98" fmla="*/ 11736 w 303"/>
                <a:gd name="T99" fmla="*/ 361950 h 327"/>
                <a:gd name="T100" fmla="*/ 0 w 303"/>
                <a:gd name="T101" fmla="*/ 411162 h 327"/>
                <a:gd name="T102" fmla="*/ 11736 w 303"/>
                <a:gd name="T103" fmla="*/ 425450 h 327"/>
                <a:gd name="T104" fmla="*/ 35208 w 303"/>
                <a:gd name="T105" fmla="*/ 417512 h 327"/>
                <a:gd name="T106" fmla="*/ 57213 w 303"/>
                <a:gd name="T107" fmla="*/ 441325 h 327"/>
                <a:gd name="T108" fmla="*/ 70416 w 303"/>
                <a:gd name="T109" fmla="*/ 469900 h 327"/>
                <a:gd name="T110" fmla="*/ 44010 w 303"/>
                <a:gd name="T111" fmla="*/ 500062 h 32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03"/>
                <a:gd name="T169" fmla="*/ 0 h 327"/>
                <a:gd name="T170" fmla="*/ 303 w 303"/>
                <a:gd name="T171" fmla="*/ 327 h 32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03" h="327">
                  <a:moveTo>
                    <a:pt x="30" y="315"/>
                  </a:moveTo>
                  <a:lnTo>
                    <a:pt x="30" y="315"/>
                  </a:lnTo>
                  <a:lnTo>
                    <a:pt x="45" y="322"/>
                  </a:lnTo>
                  <a:lnTo>
                    <a:pt x="59" y="326"/>
                  </a:lnTo>
                  <a:lnTo>
                    <a:pt x="67" y="327"/>
                  </a:lnTo>
                  <a:lnTo>
                    <a:pt x="76" y="327"/>
                  </a:lnTo>
                  <a:lnTo>
                    <a:pt x="83" y="326"/>
                  </a:lnTo>
                  <a:lnTo>
                    <a:pt x="91" y="322"/>
                  </a:lnTo>
                  <a:lnTo>
                    <a:pt x="91" y="305"/>
                  </a:lnTo>
                  <a:lnTo>
                    <a:pt x="87" y="287"/>
                  </a:lnTo>
                  <a:lnTo>
                    <a:pt x="91" y="283"/>
                  </a:lnTo>
                  <a:lnTo>
                    <a:pt x="94" y="281"/>
                  </a:lnTo>
                  <a:lnTo>
                    <a:pt x="98" y="281"/>
                  </a:lnTo>
                  <a:lnTo>
                    <a:pt x="104" y="279"/>
                  </a:lnTo>
                  <a:lnTo>
                    <a:pt x="115" y="279"/>
                  </a:lnTo>
                  <a:lnTo>
                    <a:pt x="124" y="279"/>
                  </a:lnTo>
                  <a:lnTo>
                    <a:pt x="133" y="281"/>
                  </a:lnTo>
                  <a:lnTo>
                    <a:pt x="139" y="287"/>
                  </a:lnTo>
                  <a:lnTo>
                    <a:pt x="146" y="292"/>
                  </a:lnTo>
                  <a:lnTo>
                    <a:pt x="152" y="303"/>
                  </a:lnTo>
                  <a:lnTo>
                    <a:pt x="155" y="305"/>
                  </a:lnTo>
                  <a:lnTo>
                    <a:pt x="159" y="305"/>
                  </a:lnTo>
                  <a:lnTo>
                    <a:pt x="163" y="302"/>
                  </a:lnTo>
                  <a:lnTo>
                    <a:pt x="163" y="298"/>
                  </a:lnTo>
                  <a:lnTo>
                    <a:pt x="152" y="279"/>
                  </a:lnTo>
                  <a:lnTo>
                    <a:pt x="142" y="259"/>
                  </a:lnTo>
                  <a:lnTo>
                    <a:pt x="150" y="254"/>
                  </a:lnTo>
                  <a:lnTo>
                    <a:pt x="159" y="250"/>
                  </a:lnTo>
                  <a:lnTo>
                    <a:pt x="155" y="239"/>
                  </a:lnTo>
                  <a:lnTo>
                    <a:pt x="150" y="228"/>
                  </a:lnTo>
                  <a:lnTo>
                    <a:pt x="152" y="220"/>
                  </a:lnTo>
                  <a:lnTo>
                    <a:pt x="159" y="213"/>
                  </a:lnTo>
                  <a:lnTo>
                    <a:pt x="168" y="207"/>
                  </a:lnTo>
                  <a:lnTo>
                    <a:pt x="174" y="207"/>
                  </a:lnTo>
                  <a:lnTo>
                    <a:pt x="189" y="224"/>
                  </a:lnTo>
                  <a:lnTo>
                    <a:pt x="202" y="235"/>
                  </a:lnTo>
                  <a:lnTo>
                    <a:pt x="213" y="241"/>
                  </a:lnTo>
                  <a:lnTo>
                    <a:pt x="222" y="242"/>
                  </a:lnTo>
                  <a:lnTo>
                    <a:pt x="235" y="242"/>
                  </a:lnTo>
                  <a:lnTo>
                    <a:pt x="244" y="244"/>
                  </a:lnTo>
                  <a:lnTo>
                    <a:pt x="257" y="248"/>
                  </a:lnTo>
                  <a:lnTo>
                    <a:pt x="268" y="254"/>
                  </a:lnTo>
                  <a:lnTo>
                    <a:pt x="270" y="244"/>
                  </a:lnTo>
                  <a:lnTo>
                    <a:pt x="272" y="237"/>
                  </a:lnTo>
                  <a:lnTo>
                    <a:pt x="272" y="224"/>
                  </a:lnTo>
                  <a:lnTo>
                    <a:pt x="270" y="209"/>
                  </a:lnTo>
                  <a:lnTo>
                    <a:pt x="266" y="204"/>
                  </a:lnTo>
                  <a:lnTo>
                    <a:pt x="263" y="196"/>
                  </a:lnTo>
                  <a:lnTo>
                    <a:pt x="257" y="189"/>
                  </a:lnTo>
                  <a:lnTo>
                    <a:pt x="248" y="181"/>
                  </a:lnTo>
                  <a:lnTo>
                    <a:pt x="246" y="176"/>
                  </a:lnTo>
                  <a:lnTo>
                    <a:pt x="244" y="172"/>
                  </a:lnTo>
                  <a:lnTo>
                    <a:pt x="244" y="170"/>
                  </a:lnTo>
                  <a:lnTo>
                    <a:pt x="246" y="167"/>
                  </a:lnTo>
                  <a:lnTo>
                    <a:pt x="253" y="161"/>
                  </a:lnTo>
                  <a:lnTo>
                    <a:pt x="266" y="157"/>
                  </a:lnTo>
                  <a:lnTo>
                    <a:pt x="274" y="148"/>
                  </a:lnTo>
                  <a:lnTo>
                    <a:pt x="277" y="141"/>
                  </a:lnTo>
                  <a:lnTo>
                    <a:pt x="290" y="137"/>
                  </a:lnTo>
                  <a:lnTo>
                    <a:pt x="299" y="132"/>
                  </a:lnTo>
                  <a:lnTo>
                    <a:pt x="299" y="115"/>
                  </a:lnTo>
                  <a:lnTo>
                    <a:pt x="301" y="102"/>
                  </a:lnTo>
                  <a:lnTo>
                    <a:pt x="303" y="87"/>
                  </a:lnTo>
                  <a:lnTo>
                    <a:pt x="301" y="74"/>
                  </a:lnTo>
                  <a:lnTo>
                    <a:pt x="290" y="60"/>
                  </a:lnTo>
                  <a:lnTo>
                    <a:pt x="279" y="47"/>
                  </a:lnTo>
                  <a:lnTo>
                    <a:pt x="270" y="47"/>
                  </a:lnTo>
                  <a:lnTo>
                    <a:pt x="261" y="48"/>
                  </a:lnTo>
                  <a:lnTo>
                    <a:pt x="248" y="35"/>
                  </a:lnTo>
                  <a:lnTo>
                    <a:pt x="233" y="28"/>
                  </a:lnTo>
                  <a:lnTo>
                    <a:pt x="220" y="15"/>
                  </a:lnTo>
                  <a:lnTo>
                    <a:pt x="207" y="2"/>
                  </a:lnTo>
                  <a:lnTo>
                    <a:pt x="202" y="2"/>
                  </a:lnTo>
                  <a:lnTo>
                    <a:pt x="196" y="0"/>
                  </a:lnTo>
                  <a:lnTo>
                    <a:pt x="190" y="2"/>
                  </a:lnTo>
                  <a:lnTo>
                    <a:pt x="187" y="4"/>
                  </a:lnTo>
                  <a:lnTo>
                    <a:pt x="185" y="11"/>
                  </a:lnTo>
                  <a:lnTo>
                    <a:pt x="185" y="21"/>
                  </a:lnTo>
                  <a:lnTo>
                    <a:pt x="176" y="24"/>
                  </a:lnTo>
                  <a:lnTo>
                    <a:pt x="168" y="32"/>
                  </a:lnTo>
                  <a:lnTo>
                    <a:pt x="174" y="41"/>
                  </a:lnTo>
                  <a:lnTo>
                    <a:pt x="178" y="54"/>
                  </a:lnTo>
                  <a:lnTo>
                    <a:pt x="174" y="58"/>
                  </a:lnTo>
                  <a:lnTo>
                    <a:pt x="170" y="60"/>
                  </a:lnTo>
                  <a:lnTo>
                    <a:pt x="166" y="60"/>
                  </a:lnTo>
                  <a:lnTo>
                    <a:pt x="163" y="58"/>
                  </a:lnTo>
                  <a:lnTo>
                    <a:pt x="159" y="56"/>
                  </a:lnTo>
                  <a:lnTo>
                    <a:pt x="155" y="54"/>
                  </a:lnTo>
                  <a:lnTo>
                    <a:pt x="152" y="54"/>
                  </a:lnTo>
                  <a:lnTo>
                    <a:pt x="148" y="56"/>
                  </a:lnTo>
                  <a:lnTo>
                    <a:pt x="144" y="61"/>
                  </a:lnTo>
                  <a:lnTo>
                    <a:pt x="139" y="63"/>
                  </a:lnTo>
                  <a:lnTo>
                    <a:pt x="133" y="61"/>
                  </a:lnTo>
                  <a:lnTo>
                    <a:pt x="131" y="56"/>
                  </a:lnTo>
                  <a:lnTo>
                    <a:pt x="129" y="52"/>
                  </a:lnTo>
                  <a:lnTo>
                    <a:pt x="124" y="50"/>
                  </a:lnTo>
                  <a:lnTo>
                    <a:pt x="117" y="48"/>
                  </a:lnTo>
                  <a:lnTo>
                    <a:pt x="105" y="48"/>
                  </a:lnTo>
                  <a:lnTo>
                    <a:pt x="93" y="50"/>
                  </a:lnTo>
                  <a:lnTo>
                    <a:pt x="85" y="48"/>
                  </a:lnTo>
                  <a:lnTo>
                    <a:pt x="93" y="39"/>
                  </a:lnTo>
                  <a:lnTo>
                    <a:pt x="98" y="24"/>
                  </a:lnTo>
                  <a:lnTo>
                    <a:pt x="93" y="15"/>
                  </a:lnTo>
                  <a:lnTo>
                    <a:pt x="85" y="10"/>
                  </a:lnTo>
                  <a:lnTo>
                    <a:pt x="81" y="8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67" y="6"/>
                  </a:lnTo>
                  <a:lnTo>
                    <a:pt x="61" y="11"/>
                  </a:lnTo>
                  <a:lnTo>
                    <a:pt x="54" y="23"/>
                  </a:lnTo>
                  <a:lnTo>
                    <a:pt x="48" y="34"/>
                  </a:lnTo>
                  <a:lnTo>
                    <a:pt x="45" y="45"/>
                  </a:lnTo>
                  <a:lnTo>
                    <a:pt x="43" y="56"/>
                  </a:lnTo>
                  <a:lnTo>
                    <a:pt x="43" y="67"/>
                  </a:lnTo>
                  <a:lnTo>
                    <a:pt x="46" y="76"/>
                  </a:lnTo>
                  <a:lnTo>
                    <a:pt x="54" y="84"/>
                  </a:lnTo>
                  <a:lnTo>
                    <a:pt x="65" y="84"/>
                  </a:lnTo>
                  <a:lnTo>
                    <a:pt x="74" y="82"/>
                  </a:lnTo>
                  <a:lnTo>
                    <a:pt x="80" y="91"/>
                  </a:lnTo>
                  <a:lnTo>
                    <a:pt x="85" y="100"/>
                  </a:lnTo>
                  <a:lnTo>
                    <a:pt x="93" y="100"/>
                  </a:lnTo>
                  <a:lnTo>
                    <a:pt x="100" y="98"/>
                  </a:lnTo>
                  <a:lnTo>
                    <a:pt x="109" y="104"/>
                  </a:lnTo>
                  <a:lnTo>
                    <a:pt x="120" y="108"/>
                  </a:lnTo>
                  <a:lnTo>
                    <a:pt x="128" y="106"/>
                  </a:lnTo>
                  <a:lnTo>
                    <a:pt x="133" y="104"/>
                  </a:lnTo>
                  <a:lnTo>
                    <a:pt x="137" y="102"/>
                  </a:lnTo>
                  <a:lnTo>
                    <a:pt x="141" y="102"/>
                  </a:lnTo>
                  <a:lnTo>
                    <a:pt x="144" y="102"/>
                  </a:lnTo>
                  <a:lnTo>
                    <a:pt x="148" y="104"/>
                  </a:lnTo>
                  <a:lnTo>
                    <a:pt x="152" y="111"/>
                  </a:lnTo>
                  <a:lnTo>
                    <a:pt x="152" y="115"/>
                  </a:lnTo>
                  <a:lnTo>
                    <a:pt x="150" y="119"/>
                  </a:lnTo>
                  <a:lnTo>
                    <a:pt x="146" y="120"/>
                  </a:lnTo>
                  <a:lnTo>
                    <a:pt x="137" y="122"/>
                  </a:lnTo>
                  <a:lnTo>
                    <a:pt x="131" y="126"/>
                  </a:lnTo>
                  <a:lnTo>
                    <a:pt x="128" y="137"/>
                  </a:lnTo>
                  <a:lnTo>
                    <a:pt x="124" y="146"/>
                  </a:lnTo>
                  <a:lnTo>
                    <a:pt x="115" y="143"/>
                  </a:lnTo>
                  <a:lnTo>
                    <a:pt x="104" y="137"/>
                  </a:lnTo>
                  <a:lnTo>
                    <a:pt x="87" y="133"/>
                  </a:lnTo>
                  <a:lnTo>
                    <a:pt x="74" y="133"/>
                  </a:lnTo>
                  <a:lnTo>
                    <a:pt x="70" y="143"/>
                  </a:lnTo>
                  <a:lnTo>
                    <a:pt x="65" y="159"/>
                  </a:lnTo>
                  <a:lnTo>
                    <a:pt x="48" y="181"/>
                  </a:lnTo>
                  <a:lnTo>
                    <a:pt x="28" y="209"/>
                  </a:lnTo>
                  <a:lnTo>
                    <a:pt x="21" y="217"/>
                  </a:lnTo>
                  <a:lnTo>
                    <a:pt x="13" y="224"/>
                  </a:lnTo>
                  <a:lnTo>
                    <a:pt x="8" y="228"/>
                  </a:lnTo>
                  <a:lnTo>
                    <a:pt x="6" y="235"/>
                  </a:lnTo>
                  <a:lnTo>
                    <a:pt x="2" y="246"/>
                  </a:lnTo>
                  <a:lnTo>
                    <a:pt x="0" y="259"/>
                  </a:lnTo>
                  <a:lnTo>
                    <a:pt x="2" y="266"/>
                  </a:lnTo>
                  <a:lnTo>
                    <a:pt x="4" y="268"/>
                  </a:lnTo>
                  <a:lnTo>
                    <a:pt x="8" y="268"/>
                  </a:lnTo>
                  <a:lnTo>
                    <a:pt x="13" y="266"/>
                  </a:lnTo>
                  <a:lnTo>
                    <a:pt x="19" y="263"/>
                  </a:lnTo>
                  <a:lnTo>
                    <a:pt x="24" y="263"/>
                  </a:lnTo>
                  <a:lnTo>
                    <a:pt x="30" y="266"/>
                  </a:lnTo>
                  <a:lnTo>
                    <a:pt x="35" y="272"/>
                  </a:lnTo>
                  <a:lnTo>
                    <a:pt x="39" y="278"/>
                  </a:lnTo>
                  <a:lnTo>
                    <a:pt x="45" y="283"/>
                  </a:lnTo>
                  <a:lnTo>
                    <a:pt x="48" y="289"/>
                  </a:lnTo>
                  <a:lnTo>
                    <a:pt x="48" y="296"/>
                  </a:lnTo>
                  <a:lnTo>
                    <a:pt x="37" y="305"/>
                  </a:lnTo>
                  <a:lnTo>
                    <a:pt x="30" y="311"/>
                  </a:lnTo>
                  <a:lnTo>
                    <a:pt x="30" y="315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44" name="Freeform 41"/>
            <p:cNvSpPr>
              <a:spLocks/>
            </p:cNvSpPr>
            <p:nvPr/>
          </p:nvSpPr>
          <p:spPr bwMode="auto">
            <a:xfrm>
              <a:off x="1284362" y="4973490"/>
              <a:ext cx="366982" cy="604108"/>
            </a:xfrm>
            <a:custGeom>
              <a:avLst/>
              <a:gdLst>
                <a:gd name="T0" fmla="*/ 17605 w 211"/>
                <a:gd name="T1" fmla="*/ 239712 h 321"/>
                <a:gd name="T2" fmla="*/ 2934 w 211"/>
                <a:gd name="T3" fmla="*/ 257175 h 321"/>
                <a:gd name="T4" fmla="*/ 8803 w 211"/>
                <a:gd name="T5" fmla="*/ 295275 h 321"/>
                <a:gd name="T6" fmla="*/ 36678 w 211"/>
                <a:gd name="T7" fmla="*/ 395287 h 321"/>
                <a:gd name="T8" fmla="*/ 38145 w 211"/>
                <a:gd name="T9" fmla="*/ 463550 h 321"/>
                <a:gd name="T10" fmla="*/ 46948 w 211"/>
                <a:gd name="T11" fmla="*/ 487362 h 321"/>
                <a:gd name="T12" fmla="*/ 88027 w 211"/>
                <a:gd name="T13" fmla="*/ 504825 h 321"/>
                <a:gd name="T14" fmla="*/ 165785 w 211"/>
                <a:gd name="T15" fmla="*/ 460375 h 321"/>
                <a:gd name="T16" fmla="*/ 174588 w 211"/>
                <a:gd name="T17" fmla="*/ 398462 h 321"/>
                <a:gd name="T18" fmla="*/ 177522 w 211"/>
                <a:gd name="T19" fmla="*/ 363537 h 321"/>
                <a:gd name="T20" fmla="*/ 181923 w 211"/>
                <a:gd name="T21" fmla="*/ 336550 h 321"/>
                <a:gd name="T22" fmla="*/ 190726 w 211"/>
                <a:gd name="T23" fmla="*/ 304800 h 321"/>
                <a:gd name="T24" fmla="*/ 214200 w 211"/>
                <a:gd name="T25" fmla="*/ 298450 h 321"/>
                <a:gd name="T26" fmla="*/ 233273 w 211"/>
                <a:gd name="T27" fmla="*/ 266700 h 321"/>
                <a:gd name="T28" fmla="*/ 277286 w 211"/>
                <a:gd name="T29" fmla="*/ 246062 h 321"/>
                <a:gd name="T30" fmla="*/ 271418 w 211"/>
                <a:gd name="T31" fmla="*/ 239712 h 321"/>
                <a:gd name="T32" fmla="*/ 233273 w 211"/>
                <a:gd name="T33" fmla="*/ 242887 h 321"/>
                <a:gd name="T34" fmla="*/ 233273 w 211"/>
                <a:gd name="T35" fmla="*/ 238125 h 321"/>
                <a:gd name="T36" fmla="*/ 249411 w 211"/>
                <a:gd name="T37" fmla="*/ 234950 h 321"/>
                <a:gd name="T38" fmla="*/ 274352 w 211"/>
                <a:gd name="T39" fmla="*/ 180975 h 321"/>
                <a:gd name="T40" fmla="*/ 268484 w 211"/>
                <a:gd name="T41" fmla="*/ 142875 h 321"/>
                <a:gd name="T42" fmla="*/ 284622 w 211"/>
                <a:gd name="T43" fmla="*/ 111125 h 321"/>
                <a:gd name="T44" fmla="*/ 306629 w 211"/>
                <a:gd name="T45" fmla="*/ 79375 h 321"/>
                <a:gd name="T46" fmla="*/ 274352 w 211"/>
                <a:gd name="T47" fmla="*/ 23812 h 321"/>
                <a:gd name="T48" fmla="*/ 184858 w 211"/>
                <a:gd name="T49" fmla="*/ 0 h 321"/>
                <a:gd name="T50" fmla="*/ 178989 w 211"/>
                <a:gd name="T51" fmla="*/ 17462 h 321"/>
                <a:gd name="T52" fmla="*/ 187792 w 211"/>
                <a:gd name="T53" fmla="*/ 38100 h 321"/>
                <a:gd name="T54" fmla="*/ 133508 w 211"/>
                <a:gd name="T55" fmla="*/ 34925 h 321"/>
                <a:gd name="T56" fmla="*/ 149647 w 211"/>
                <a:gd name="T57" fmla="*/ 44450 h 321"/>
                <a:gd name="T58" fmla="*/ 165785 w 211"/>
                <a:gd name="T59" fmla="*/ 61912 h 321"/>
                <a:gd name="T60" fmla="*/ 146712 w 211"/>
                <a:gd name="T61" fmla="*/ 79375 h 321"/>
                <a:gd name="T62" fmla="*/ 168719 w 211"/>
                <a:gd name="T63" fmla="*/ 114300 h 321"/>
                <a:gd name="T64" fmla="*/ 162851 w 211"/>
                <a:gd name="T65" fmla="*/ 125412 h 321"/>
                <a:gd name="T66" fmla="*/ 190726 w 211"/>
                <a:gd name="T67" fmla="*/ 134937 h 321"/>
                <a:gd name="T68" fmla="*/ 209799 w 211"/>
                <a:gd name="T69" fmla="*/ 149225 h 321"/>
                <a:gd name="T70" fmla="*/ 200996 w 211"/>
                <a:gd name="T71" fmla="*/ 166687 h 321"/>
                <a:gd name="T72" fmla="*/ 174588 w 211"/>
                <a:gd name="T73" fmla="*/ 180975 h 321"/>
                <a:gd name="T74" fmla="*/ 139377 w 211"/>
                <a:gd name="T75" fmla="*/ 196850 h 321"/>
                <a:gd name="T76" fmla="*/ 127640 w 211"/>
                <a:gd name="T77" fmla="*/ 231775 h 321"/>
                <a:gd name="T78" fmla="*/ 114436 w 211"/>
                <a:gd name="T79" fmla="*/ 242887 h 321"/>
                <a:gd name="T80" fmla="*/ 79225 w 211"/>
                <a:gd name="T81" fmla="*/ 228600 h 321"/>
                <a:gd name="T82" fmla="*/ 57218 w 211"/>
                <a:gd name="T83" fmla="*/ 239712 h 321"/>
                <a:gd name="T84" fmla="*/ 30810 w 211"/>
                <a:gd name="T85" fmla="*/ 231775 h 321"/>
                <a:gd name="T86" fmla="*/ 5868 w 211"/>
                <a:gd name="T87" fmla="*/ 204787 h 32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1"/>
                <a:gd name="T133" fmla="*/ 0 h 321"/>
                <a:gd name="T134" fmla="*/ 211 w 211"/>
                <a:gd name="T135" fmla="*/ 321 h 32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1" h="321">
                  <a:moveTo>
                    <a:pt x="4" y="129"/>
                  </a:moveTo>
                  <a:lnTo>
                    <a:pt x="8" y="142"/>
                  </a:lnTo>
                  <a:lnTo>
                    <a:pt x="12" y="151"/>
                  </a:lnTo>
                  <a:lnTo>
                    <a:pt x="6" y="155"/>
                  </a:lnTo>
                  <a:lnTo>
                    <a:pt x="4" y="159"/>
                  </a:lnTo>
                  <a:lnTo>
                    <a:pt x="2" y="162"/>
                  </a:lnTo>
                  <a:lnTo>
                    <a:pt x="0" y="166"/>
                  </a:lnTo>
                  <a:lnTo>
                    <a:pt x="2" y="175"/>
                  </a:lnTo>
                  <a:lnTo>
                    <a:pt x="6" y="186"/>
                  </a:lnTo>
                  <a:lnTo>
                    <a:pt x="15" y="207"/>
                  </a:lnTo>
                  <a:lnTo>
                    <a:pt x="23" y="233"/>
                  </a:lnTo>
                  <a:lnTo>
                    <a:pt x="25" y="249"/>
                  </a:lnTo>
                  <a:lnTo>
                    <a:pt x="25" y="262"/>
                  </a:lnTo>
                  <a:lnTo>
                    <a:pt x="25" y="275"/>
                  </a:lnTo>
                  <a:lnTo>
                    <a:pt x="26" y="292"/>
                  </a:lnTo>
                  <a:lnTo>
                    <a:pt x="26" y="297"/>
                  </a:lnTo>
                  <a:lnTo>
                    <a:pt x="28" y="303"/>
                  </a:lnTo>
                  <a:lnTo>
                    <a:pt x="32" y="307"/>
                  </a:lnTo>
                  <a:lnTo>
                    <a:pt x="36" y="310"/>
                  </a:lnTo>
                  <a:lnTo>
                    <a:pt x="47" y="314"/>
                  </a:lnTo>
                  <a:lnTo>
                    <a:pt x="60" y="318"/>
                  </a:lnTo>
                  <a:lnTo>
                    <a:pt x="85" y="320"/>
                  </a:lnTo>
                  <a:lnTo>
                    <a:pt x="111" y="321"/>
                  </a:lnTo>
                  <a:lnTo>
                    <a:pt x="113" y="290"/>
                  </a:lnTo>
                  <a:lnTo>
                    <a:pt x="115" y="268"/>
                  </a:lnTo>
                  <a:lnTo>
                    <a:pt x="117" y="259"/>
                  </a:lnTo>
                  <a:lnTo>
                    <a:pt x="119" y="251"/>
                  </a:lnTo>
                  <a:lnTo>
                    <a:pt x="119" y="244"/>
                  </a:lnTo>
                  <a:lnTo>
                    <a:pt x="117" y="235"/>
                  </a:lnTo>
                  <a:lnTo>
                    <a:pt x="121" y="229"/>
                  </a:lnTo>
                  <a:lnTo>
                    <a:pt x="124" y="223"/>
                  </a:lnTo>
                  <a:lnTo>
                    <a:pt x="124" y="218"/>
                  </a:lnTo>
                  <a:lnTo>
                    <a:pt x="124" y="212"/>
                  </a:lnTo>
                  <a:lnTo>
                    <a:pt x="122" y="205"/>
                  </a:lnTo>
                  <a:lnTo>
                    <a:pt x="124" y="196"/>
                  </a:lnTo>
                  <a:lnTo>
                    <a:pt x="130" y="192"/>
                  </a:lnTo>
                  <a:lnTo>
                    <a:pt x="135" y="190"/>
                  </a:lnTo>
                  <a:lnTo>
                    <a:pt x="141" y="188"/>
                  </a:lnTo>
                  <a:lnTo>
                    <a:pt x="146" y="188"/>
                  </a:lnTo>
                  <a:lnTo>
                    <a:pt x="152" y="181"/>
                  </a:lnTo>
                  <a:lnTo>
                    <a:pt x="156" y="172"/>
                  </a:lnTo>
                  <a:lnTo>
                    <a:pt x="159" y="168"/>
                  </a:lnTo>
                  <a:lnTo>
                    <a:pt x="165" y="162"/>
                  </a:lnTo>
                  <a:lnTo>
                    <a:pt x="174" y="159"/>
                  </a:lnTo>
                  <a:lnTo>
                    <a:pt x="189" y="155"/>
                  </a:lnTo>
                  <a:lnTo>
                    <a:pt x="189" y="153"/>
                  </a:lnTo>
                  <a:lnTo>
                    <a:pt x="187" y="151"/>
                  </a:lnTo>
                  <a:lnTo>
                    <a:pt x="185" y="151"/>
                  </a:lnTo>
                  <a:lnTo>
                    <a:pt x="182" y="151"/>
                  </a:lnTo>
                  <a:lnTo>
                    <a:pt x="170" y="151"/>
                  </a:lnTo>
                  <a:lnTo>
                    <a:pt x="159" y="153"/>
                  </a:lnTo>
                  <a:lnTo>
                    <a:pt x="158" y="151"/>
                  </a:lnTo>
                  <a:lnTo>
                    <a:pt x="158" y="150"/>
                  </a:lnTo>
                  <a:lnTo>
                    <a:pt x="159" y="150"/>
                  </a:lnTo>
                  <a:lnTo>
                    <a:pt x="161" y="148"/>
                  </a:lnTo>
                  <a:lnTo>
                    <a:pt x="167" y="148"/>
                  </a:lnTo>
                  <a:lnTo>
                    <a:pt x="170" y="148"/>
                  </a:lnTo>
                  <a:lnTo>
                    <a:pt x="178" y="137"/>
                  </a:lnTo>
                  <a:lnTo>
                    <a:pt x="183" y="125"/>
                  </a:lnTo>
                  <a:lnTo>
                    <a:pt x="187" y="114"/>
                  </a:lnTo>
                  <a:lnTo>
                    <a:pt x="189" y="105"/>
                  </a:lnTo>
                  <a:lnTo>
                    <a:pt x="185" y="98"/>
                  </a:lnTo>
                  <a:lnTo>
                    <a:pt x="183" y="90"/>
                  </a:lnTo>
                  <a:lnTo>
                    <a:pt x="180" y="81"/>
                  </a:lnTo>
                  <a:lnTo>
                    <a:pt x="182" y="70"/>
                  </a:lnTo>
                  <a:lnTo>
                    <a:pt x="194" y="70"/>
                  </a:lnTo>
                  <a:lnTo>
                    <a:pt x="211" y="68"/>
                  </a:lnTo>
                  <a:lnTo>
                    <a:pt x="211" y="59"/>
                  </a:lnTo>
                  <a:lnTo>
                    <a:pt x="209" y="50"/>
                  </a:lnTo>
                  <a:lnTo>
                    <a:pt x="204" y="40"/>
                  </a:lnTo>
                  <a:lnTo>
                    <a:pt x="198" y="31"/>
                  </a:lnTo>
                  <a:lnTo>
                    <a:pt x="187" y="15"/>
                  </a:lnTo>
                  <a:lnTo>
                    <a:pt x="174" y="4"/>
                  </a:lnTo>
                  <a:lnTo>
                    <a:pt x="146" y="4"/>
                  </a:lnTo>
                  <a:lnTo>
                    <a:pt x="126" y="0"/>
                  </a:lnTo>
                  <a:lnTo>
                    <a:pt x="122" y="4"/>
                  </a:lnTo>
                  <a:lnTo>
                    <a:pt x="122" y="7"/>
                  </a:lnTo>
                  <a:lnTo>
                    <a:pt x="122" y="11"/>
                  </a:lnTo>
                  <a:lnTo>
                    <a:pt x="124" y="15"/>
                  </a:lnTo>
                  <a:lnTo>
                    <a:pt x="130" y="20"/>
                  </a:lnTo>
                  <a:lnTo>
                    <a:pt x="128" y="24"/>
                  </a:lnTo>
                  <a:lnTo>
                    <a:pt x="109" y="20"/>
                  </a:lnTo>
                  <a:lnTo>
                    <a:pt x="91" y="18"/>
                  </a:lnTo>
                  <a:lnTo>
                    <a:pt x="91" y="22"/>
                  </a:lnTo>
                  <a:lnTo>
                    <a:pt x="93" y="24"/>
                  </a:lnTo>
                  <a:lnTo>
                    <a:pt x="97" y="26"/>
                  </a:lnTo>
                  <a:lnTo>
                    <a:pt x="102" y="28"/>
                  </a:lnTo>
                  <a:lnTo>
                    <a:pt x="106" y="29"/>
                  </a:lnTo>
                  <a:lnTo>
                    <a:pt x="111" y="33"/>
                  </a:lnTo>
                  <a:lnTo>
                    <a:pt x="113" y="39"/>
                  </a:lnTo>
                  <a:lnTo>
                    <a:pt x="115" y="44"/>
                  </a:lnTo>
                  <a:lnTo>
                    <a:pt x="108" y="48"/>
                  </a:lnTo>
                  <a:lnTo>
                    <a:pt x="100" y="50"/>
                  </a:lnTo>
                  <a:lnTo>
                    <a:pt x="109" y="59"/>
                  </a:lnTo>
                  <a:lnTo>
                    <a:pt x="117" y="65"/>
                  </a:lnTo>
                  <a:lnTo>
                    <a:pt x="115" y="72"/>
                  </a:lnTo>
                  <a:lnTo>
                    <a:pt x="111" y="76"/>
                  </a:lnTo>
                  <a:lnTo>
                    <a:pt x="109" y="77"/>
                  </a:lnTo>
                  <a:lnTo>
                    <a:pt x="111" y="79"/>
                  </a:lnTo>
                  <a:lnTo>
                    <a:pt x="113" y="83"/>
                  </a:lnTo>
                  <a:lnTo>
                    <a:pt x="121" y="89"/>
                  </a:lnTo>
                  <a:lnTo>
                    <a:pt x="130" y="85"/>
                  </a:lnTo>
                  <a:lnTo>
                    <a:pt x="137" y="85"/>
                  </a:lnTo>
                  <a:lnTo>
                    <a:pt x="141" y="89"/>
                  </a:lnTo>
                  <a:lnTo>
                    <a:pt x="143" y="94"/>
                  </a:lnTo>
                  <a:lnTo>
                    <a:pt x="143" y="98"/>
                  </a:lnTo>
                  <a:lnTo>
                    <a:pt x="141" y="101"/>
                  </a:lnTo>
                  <a:lnTo>
                    <a:pt x="137" y="105"/>
                  </a:lnTo>
                  <a:lnTo>
                    <a:pt x="132" y="109"/>
                  </a:lnTo>
                  <a:lnTo>
                    <a:pt x="126" y="111"/>
                  </a:lnTo>
                  <a:lnTo>
                    <a:pt x="119" y="114"/>
                  </a:lnTo>
                  <a:lnTo>
                    <a:pt x="111" y="116"/>
                  </a:lnTo>
                  <a:lnTo>
                    <a:pt x="102" y="116"/>
                  </a:lnTo>
                  <a:lnTo>
                    <a:pt x="95" y="124"/>
                  </a:lnTo>
                  <a:lnTo>
                    <a:pt x="91" y="133"/>
                  </a:lnTo>
                  <a:lnTo>
                    <a:pt x="87" y="142"/>
                  </a:lnTo>
                  <a:lnTo>
                    <a:pt x="87" y="146"/>
                  </a:lnTo>
                  <a:lnTo>
                    <a:pt x="84" y="150"/>
                  </a:lnTo>
                  <a:lnTo>
                    <a:pt x="82" y="151"/>
                  </a:lnTo>
                  <a:lnTo>
                    <a:pt x="78" y="153"/>
                  </a:lnTo>
                  <a:lnTo>
                    <a:pt x="69" y="148"/>
                  </a:lnTo>
                  <a:lnTo>
                    <a:pt x="61" y="140"/>
                  </a:lnTo>
                  <a:lnTo>
                    <a:pt x="54" y="144"/>
                  </a:lnTo>
                  <a:lnTo>
                    <a:pt x="47" y="148"/>
                  </a:lnTo>
                  <a:lnTo>
                    <a:pt x="43" y="150"/>
                  </a:lnTo>
                  <a:lnTo>
                    <a:pt x="39" y="151"/>
                  </a:lnTo>
                  <a:lnTo>
                    <a:pt x="34" y="151"/>
                  </a:lnTo>
                  <a:lnTo>
                    <a:pt x="30" y="150"/>
                  </a:lnTo>
                  <a:lnTo>
                    <a:pt x="21" y="146"/>
                  </a:lnTo>
                  <a:lnTo>
                    <a:pt x="13" y="140"/>
                  </a:lnTo>
                  <a:lnTo>
                    <a:pt x="10" y="135"/>
                  </a:lnTo>
                  <a:lnTo>
                    <a:pt x="4" y="129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45" name="Freeform 42"/>
            <p:cNvSpPr>
              <a:spLocks/>
            </p:cNvSpPr>
            <p:nvPr/>
          </p:nvSpPr>
          <p:spPr bwMode="auto">
            <a:xfrm>
              <a:off x="1188382" y="4958434"/>
              <a:ext cx="239008" cy="178785"/>
            </a:xfrm>
            <a:custGeom>
              <a:avLst/>
              <a:gdLst>
                <a:gd name="T0" fmla="*/ 0 w 137"/>
                <a:gd name="T1" fmla="*/ 36512 h 95"/>
                <a:gd name="T2" fmla="*/ 0 w 137"/>
                <a:gd name="T3" fmla="*/ 53975 h 95"/>
                <a:gd name="T4" fmla="*/ 2943 w 137"/>
                <a:gd name="T5" fmla="*/ 71437 h 95"/>
                <a:gd name="T6" fmla="*/ 5886 w 137"/>
                <a:gd name="T7" fmla="*/ 85725 h 95"/>
                <a:gd name="T8" fmla="*/ 8830 w 137"/>
                <a:gd name="T9" fmla="*/ 96837 h 95"/>
                <a:gd name="T10" fmla="*/ 16188 w 137"/>
                <a:gd name="T11" fmla="*/ 109537 h 95"/>
                <a:gd name="T12" fmla="*/ 29432 w 137"/>
                <a:gd name="T13" fmla="*/ 120650 h 95"/>
                <a:gd name="T14" fmla="*/ 45620 w 137"/>
                <a:gd name="T15" fmla="*/ 130175 h 95"/>
                <a:gd name="T16" fmla="*/ 70638 w 137"/>
                <a:gd name="T17" fmla="*/ 134937 h 95"/>
                <a:gd name="T18" fmla="*/ 76524 w 137"/>
                <a:gd name="T19" fmla="*/ 138112 h 95"/>
                <a:gd name="T20" fmla="*/ 79467 w 137"/>
                <a:gd name="T21" fmla="*/ 147637 h 95"/>
                <a:gd name="T22" fmla="*/ 83882 w 137"/>
                <a:gd name="T23" fmla="*/ 150812 h 95"/>
                <a:gd name="T24" fmla="*/ 89769 w 137"/>
                <a:gd name="T25" fmla="*/ 150812 h 95"/>
                <a:gd name="T26" fmla="*/ 98599 w 137"/>
                <a:gd name="T27" fmla="*/ 150812 h 95"/>
                <a:gd name="T28" fmla="*/ 103013 w 137"/>
                <a:gd name="T29" fmla="*/ 147637 h 95"/>
                <a:gd name="T30" fmla="*/ 108900 w 137"/>
                <a:gd name="T31" fmla="*/ 141287 h 95"/>
                <a:gd name="T32" fmla="*/ 111843 w 137"/>
                <a:gd name="T33" fmla="*/ 130175 h 95"/>
                <a:gd name="T34" fmla="*/ 114786 w 137"/>
                <a:gd name="T35" fmla="*/ 115887 h 95"/>
                <a:gd name="T36" fmla="*/ 114786 w 137"/>
                <a:gd name="T37" fmla="*/ 103187 h 95"/>
                <a:gd name="T38" fmla="*/ 114786 w 137"/>
                <a:gd name="T39" fmla="*/ 88900 h 95"/>
                <a:gd name="T40" fmla="*/ 117730 w 137"/>
                <a:gd name="T41" fmla="*/ 76200 h 95"/>
                <a:gd name="T42" fmla="*/ 119201 w 137"/>
                <a:gd name="T43" fmla="*/ 68262 h 95"/>
                <a:gd name="T44" fmla="*/ 128031 w 137"/>
                <a:gd name="T45" fmla="*/ 58737 h 95"/>
                <a:gd name="T46" fmla="*/ 153049 w 137"/>
                <a:gd name="T47" fmla="*/ 76200 h 95"/>
                <a:gd name="T48" fmla="*/ 170708 w 137"/>
                <a:gd name="T49" fmla="*/ 92075 h 95"/>
                <a:gd name="T50" fmla="*/ 185424 w 137"/>
                <a:gd name="T51" fmla="*/ 76200 h 95"/>
                <a:gd name="T52" fmla="*/ 201612 w 137"/>
                <a:gd name="T53" fmla="*/ 65087 h 95"/>
                <a:gd name="T54" fmla="*/ 188367 w 137"/>
                <a:gd name="T55" fmla="*/ 57150 h 95"/>
                <a:gd name="T56" fmla="*/ 173651 w 137"/>
                <a:gd name="T57" fmla="*/ 50800 h 95"/>
                <a:gd name="T58" fmla="*/ 163350 w 137"/>
                <a:gd name="T59" fmla="*/ 23812 h 95"/>
                <a:gd name="T60" fmla="*/ 153049 w 137"/>
                <a:gd name="T61" fmla="*/ 0 h 95"/>
                <a:gd name="T62" fmla="*/ 141276 w 137"/>
                <a:gd name="T63" fmla="*/ 15875 h 95"/>
                <a:gd name="T64" fmla="*/ 133917 w 137"/>
                <a:gd name="T65" fmla="*/ 30162 h 95"/>
                <a:gd name="T66" fmla="*/ 114786 w 137"/>
                <a:gd name="T67" fmla="*/ 38100 h 95"/>
                <a:gd name="T68" fmla="*/ 95655 w 137"/>
                <a:gd name="T69" fmla="*/ 44450 h 95"/>
                <a:gd name="T70" fmla="*/ 76524 w 137"/>
                <a:gd name="T71" fmla="*/ 33337 h 95"/>
                <a:gd name="T72" fmla="*/ 57393 w 137"/>
                <a:gd name="T73" fmla="*/ 26987 h 95"/>
                <a:gd name="T74" fmla="*/ 45620 w 137"/>
                <a:gd name="T75" fmla="*/ 33337 h 95"/>
                <a:gd name="T76" fmla="*/ 35319 w 137"/>
                <a:gd name="T77" fmla="*/ 38100 h 95"/>
                <a:gd name="T78" fmla="*/ 27961 w 137"/>
                <a:gd name="T79" fmla="*/ 41275 h 95"/>
                <a:gd name="T80" fmla="*/ 19131 w 137"/>
                <a:gd name="T81" fmla="*/ 41275 h 95"/>
                <a:gd name="T82" fmla="*/ 10301 w 137"/>
                <a:gd name="T83" fmla="*/ 38100 h 95"/>
                <a:gd name="T84" fmla="*/ 0 w 137"/>
                <a:gd name="T85" fmla="*/ 36512 h 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37"/>
                <a:gd name="T130" fmla="*/ 0 h 95"/>
                <a:gd name="T131" fmla="*/ 137 w 137"/>
                <a:gd name="T132" fmla="*/ 95 h 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37" h="95">
                  <a:moveTo>
                    <a:pt x="0" y="23"/>
                  </a:moveTo>
                  <a:lnTo>
                    <a:pt x="0" y="34"/>
                  </a:lnTo>
                  <a:lnTo>
                    <a:pt x="2" y="45"/>
                  </a:lnTo>
                  <a:lnTo>
                    <a:pt x="4" y="54"/>
                  </a:lnTo>
                  <a:lnTo>
                    <a:pt x="6" y="61"/>
                  </a:lnTo>
                  <a:lnTo>
                    <a:pt x="11" y="69"/>
                  </a:lnTo>
                  <a:lnTo>
                    <a:pt x="20" y="76"/>
                  </a:lnTo>
                  <a:lnTo>
                    <a:pt x="31" y="82"/>
                  </a:lnTo>
                  <a:lnTo>
                    <a:pt x="48" y="85"/>
                  </a:lnTo>
                  <a:lnTo>
                    <a:pt x="52" y="87"/>
                  </a:lnTo>
                  <a:lnTo>
                    <a:pt x="54" y="93"/>
                  </a:lnTo>
                  <a:lnTo>
                    <a:pt x="57" y="95"/>
                  </a:lnTo>
                  <a:lnTo>
                    <a:pt x="61" y="95"/>
                  </a:lnTo>
                  <a:lnTo>
                    <a:pt x="67" y="95"/>
                  </a:lnTo>
                  <a:lnTo>
                    <a:pt x="70" y="93"/>
                  </a:lnTo>
                  <a:lnTo>
                    <a:pt x="74" y="89"/>
                  </a:lnTo>
                  <a:lnTo>
                    <a:pt x="76" y="82"/>
                  </a:lnTo>
                  <a:lnTo>
                    <a:pt x="78" y="73"/>
                  </a:lnTo>
                  <a:lnTo>
                    <a:pt x="78" y="65"/>
                  </a:lnTo>
                  <a:lnTo>
                    <a:pt x="78" y="56"/>
                  </a:lnTo>
                  <a:lnTo>
                    <a:pt x="80" y="48"/>
                  </a:lnTo>
                  <a:lnTo>
                    <a:pt x="81" y="43"/>
                  </a:lnTo>
                  <a:lnTo>
                    <a:pt x="87" y="37"/>
                  </a:lnTo>
                  <a:lnTo>
                    <a:pt x="104" y="48"/>
                  </a:lnTo>
                  <a:lnTo>
                    <a:pt x="116" y="58"/>
                  </a:lnTo>
                  <a:lnTo>
                    <a:pt x="126" y="48"/>
                  </a:lnTo>
                  <a:lnTo>
                    <a:pt x="137" y="41"/>
                  </a:lnTo>
                  <a:lnTo>
                    <a:pt x="128" y="36"/>
                  </a:lnTo>
                  <a:lnTo>
                    <a:pt x="118" y="32"/>
                  </a:lnTo>
                  <a:lnTo>
                    <a:pt x="111" y="15"/>
                  </a:lnTo>
                  <a:lnTo>
                    <a:pt x="104" y="0"/>
                  </a:lnTo>
                  <a:lnTo>
                    <a:pt x="96" y="10"/>
                  </a:lnTo>
                  <a:lnTo>
                    <a:pt x="91" y="19"/>
                  </a:lnTo>
                  <a:lnTo>
                    <a:pt x="78" y="24"/>
                  </a:lnTo>
                  <a:lnTo>
                    <a:pt x="65" y="28"/>
                  </a:lnTo>
                  <a:lnTo>
                    <a:pt x="52" y="21"/>
                  </a:lnTo>
                  <a:lnTo>
                    <a:pt x="39" y="17"/>
                  </a:lnTo>
                  <a:lnTo>
                    <a:pt x="31" y="21"/>
                  </a:lnTo>
                  <a:lnTo>
                    <a:pt x="24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46" name="Freeform 43"/>
            <p:cNvSpPr>
              <a:spLocks/>
            </p:cNvSpPr>
            <p:nvPr/>
          </p:nvSpPr>
          <p:spPr bwMode="auto">
            <a:xfrm>
              <a:off x="1282481" y="5028065"/>
              <a:ext cx="250300" cy="233363"/>
            </a:xfrm>
            <a:custGeom>
              <a:avLst/>
              <a:gdLst>
                <a:gd name="T0" fmla="*/ 4399 w 144"/>
                <a:gd name="T1" fmla="*/ 120650 h 124"/>
                <a:gd name="T2" fmla="*/ 16129 w 144"/>
                <a:gd name="T3" fmla="*/ 168275 h 124"/>
                <a:gd name="T4" fmla="*/ 32257 w 144"/>
                <a:gd name="T5" fmla="*/ 185738 h 124"/>
                <a:gd name="T6" fmla="*/ 51318 w 144"/>
                <a:gd name="T7" fmla="*/ 193675 h 124"/>
                <a:gd name="T8" fmla="*/ 64514 w 144"/>
                <a:gd name="T9" fmla="*/ 192088 h 124"/>
                <a:gd name="T10" fmla="*/ 80643 w 144"/>
                <a:gd name="T11" fmla="*/ 182563 h 124"/>
                <a:gd name="T12" fmla="*/ 102636 w 144"/>
                <a:gd name="T13" fmla="*/ 188913 h 124"/>
                <a:gd name="T14" fmla="*/ 121697 w 144"/>
                <a:gd name="T15" fmla="*/ 193675 h 124"/>
                <a:gd name="T16" fmla="*/ 129028 w 144"/>
                <a:gd name="T17" fmla="*/ 185738 h 124"/>
                <a:gd name="T18" fmla="*/ 134893 w 144"/>
                <a:gd name="T19" fmla="*/ 165100 h 124"/>
                <a:gd name="T20" fmla="*/ 151022 w 144"/>
                <a:gd name="T21" fmla="*/ 138113 h 124"/>
                <a:gd name="T22" fmla="*/ 175947 w 144"/>
                <a:gd name="T23" fmla="*/ 134938 h 124"/>
                <a:gd name="T24" fmla="*/ 195008 w 144"/>
                <a:gd name="T25" fmla="*/ 127000 h 124"/>
                <a:gd name="T26" fmla="*/ 208205 w 144"/>
                <a:gd name="T27" fmla="*/ 114300 h 124"/>
                <a:gd name="T28" fmla="*/ 211137 w 144"/>
                <a:gd name="T29" fmla="*/ 103188 h 124"/>
                <a:gd name="T30" fmla="*/ 202340 w 144"/>
                <a:gd name="T31" fmla="*/ 88900 h 124"/>
                <a:gd name="T32" fmla="*/ 178880 w 144"/>
                <a:gd name="T33" fmla="*/ 95250 h 124"/>
                <a:gd name="T34" fmla="*/ 164218 w 144"/>
                <a:gd name="T35" fmla="*/ 79375 h 124"/>
                <a:gd name="T36" fmla="*/ 164218 w 144"/>
                <a:gd name="T37" fmla="*/ 74613 h 124"/>
                <a:gd name="T38" fmla="*/ 173015 w 144"/>
                <a:gd name="T39" fmla="*/ 57150 h 124"/>
                <a:gd name="T40" fmla="*/ 148089 w 144"/>
                <a:gd name="T41" fmla="*/ 33338 h 124"/>
                <a:gd name="T42" fmla="*/ 140758 w 144"/>
                <a:gd name="T43" fmla="*/ 33338 h 124"/>
                <a:gd name="T44" fmla="*/ 129028 w 144"/>
                <a:gd name="T45" fmla="*/ 17463 h 124"/>
                <a:gd name="T46" fmla="*/ 121697 w 144"/>
                <a:gd name="T47" fmla="*/ 6350 h 124"/>
                <a:gd name="T48" fmla="*/ 105569 w 144"/>
                <a:gd name="T49" fmla="*/ 17463 h 124"/>
                <a:gd name="T50" fmla="*/ 73311 w 144"/>
                <a:gd name="T51" fmla="*/ 17463 h 124"/>
                <a:gd name="T52" fmla="*/ 39588 w 144"/>
                <a:gd name="T53" fmla="*/ 9525 h 124"/>
                <a:gd name="T54" fmla="*/ 35189 w 144"/>
                <a:gd name="T55" fmla="*/ 30163 h 124"/>
                <a:gd name="T56" fmla="*/ 35189 w 144"/>
                <a:gd name="T57" fmla="*/ 57150 h 124"/>
                <a:gd name="T58" fmla="*/ 29325 w 144"/>
                <a:gd name="T59" fmla="*/ 82550 h 124"/>
                <a:gd name="T60" fmla="*/ 19061 w 144"/>
                <a:gd name="T61" fmla="*/ 92075 h 124"/>
                <a:gd name="T62" fmla="*/ 4399 w 144"/>
                <a:gd name="T63" fmla="*/ 92075 h 12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4"/>
                <a:gd name="T97" fmla="*/ 0 h 124"/>
                <a:gd name="T98" fmla="*/ 144 w 144"/>
                <a:gd name="T99" fmla="*/ 124 h 12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4" h="124">
                  <a:moveTo>
                    <a:pt x="0" y="56"/>
                  </a:moveTo>
                  <a:lnTo>
                    <a:pt x="3" y="76"/>
                  </a:lnTo>
                  <a:lnTo>
                    <a:pt x="5" y="100"/>
                  </a:lnTo>
                  <a:lnTo>
                    <a:pt x="11" y="106"/>
                  </a:lnTo>
                  <a:lnTo>
                    <a:pt x="14" y="111"/>
                  </a:lnTo>
                  <a:lnTo>
                    <a:pt x="22" y="117"/>
                  </a:lnTo>
                  <a:lnTo>
                    <a:pt x="31" y="121"/>
                  </a:lnTo>
                  <a:lnTo>
                    <a:pt x="35" y="122"/>
                  </a:lnTo>
                  <a:lnTo>
                    <a:pt x="40" y="122"/>
                  </a:lnTo>
                  <a:lnTo>
                    <a:pt x="44" y="121"/>
                  </a:lnTo>
                  <a:lnTo>
                    <a:pt x="48" y="119"/>
                  </a:lnTo>
                  <a:lnTo>
                    <a:pt x="55" y="115"/>
                  </a:lnTo>
                  <a:lnTo>
                    <a:pt x="62" y="111"/>
                  </a:lnTo>
                  <a:lnTo>
                    <a:pt x="70" y="119"/>
                  </a:lnTo>
                  <a:lnTo>
                    <a:pt x="79" y="124"/>
                  </a:lnTo>
                  <a:lnTo>
                    <a:pt x="83" y="122"/>
                  </a:lnTo>
                  <a:lnTo>
                    <a:pt x="85" y="121"/>
                  </a:lnTo>
                  <a:lnTo>
                    <a:pt x="88" y="117"/>
                  </a:lnTo>
                  <a:lnTo>
                    <a:pt x="88" y="113"/>
                  </a:lnTo>
                  <a:lnTo>
                    <a:pt x="92" y="104"/>
                  </a:lnTo>
                  <a:lnTo>
                    <a:pt x="96" y="95"/>
                  </a:lnTo>
                  <a:lnTo>
                    <a:pt x="103" y="87"/>
                  </a:lnTo>
                  <a:lnTo>
                    <a:pt x="112" y="87"/>
                  </a:lnTo>
                  <a:lnTo>
                    <a:pt x="120" y="85"/>
                  </a:lnTo>
                  <a:lnTo>
                    <a:pt x="127" y="82"/>
                  </a:lnTo>
                  <a:lnTo>
                    <a:pt x="133" y="80"/>
                  </a:lnTo>
                  <a:lnTo>
                    <a:pt x="138" y="76"/>
                  </a:lnTo>
                  <a:lnTo>
                    <a:pt x="142" y="72"/>
                  </a:lnTo>
                  <a:lnTo>
                    <a:pt x="144" y="69"/>
                  </a:lnTo>
                  <a:lnTo>
                    <a:pt x="144" y="65"/>
                  </a:lnTo>
                  <a:lnTo>
                    <a:pt x="142" y="60"/>
                  </a:lnTo>
                  <a:lnTo>
                    <a:pt x="138" y="56"/>
                  </a:lnTo>
                  <a:lnTo>
                    <a:pt x="131" y="56"/>
                  </a:lnTo>
                  <a:lnTo>
                    <a:pt x="122" y="60"/>
                  </a:lnTo>
                  <a:lnTo>
                    <a:pt x="114" y="54"/>
                  </a:lnTo>
                  <a:lnTo>
                    <a:pt x="112" y="50"/>
                  </a:lnTo>
                  <a:lnTo>
                    <a:pt x="110" y="48"/>
                  </a:lnTo>
                  <a:lnTo>
                    <a:pt x="112" y="47"/>
                  </a:lnTo>
                  <a:lnTo>
                    <a:pt x="116" y="43"/>
                  </a:lnTo>
                  <a:lnTo>
                    <a:pt x="118" y="36"/>
                  </a:lnTo>
                  <a:lnTo>
                    <a:pt x="110" y="30"/>
                  </a:lnTo>
                  <a:lnTo>
                    <a:pt x="101" y="21"/>
                  </a:lnTo>
                  <a:lnTo>
                    <a:pt x="96" y="21"/>
                  </a:lnTo>
                  <a:lnTo>
                    <a:pt x="90" y="19"/>
                  </a:lnTo>
                  <a:lnTo>
                    <a:pt x="88" y="11"/>
                  </a:lnTo>
                  <a:lnTo>
                    <a:pt x="83" y="4"/>
                  </a:lnTo>
                  <a:lnTo>
                    <a:pt x="72" y="11"/>
                  </a:lnTo>
                  <a:lnTo>
                    <a:pt x="62" y="21"/>
                  </a:lnTo>
                  <a:lnTo>
                    <a:pt x="50" y="11"/>
                  </a:lnTo>
                  <a:lnTo>
                    <a:pt x="33" y="0"/>
                  </a:lnTo>
                  <a:lnTo>
                    <a:pt x="27" y="6"/>
                  </a:lnTo>
                  <a:lnTo>
                    <a:pt x="26" y="11"/>
                  </a:lnTo>
                  <a:lnTo>
                    <a:pt x="24" y="19"/>
                  </a:lnTo>
                  <a:lnTo>
                    <a:pt x="24" y="28"/>
                  </a:lnTo>
                  <a:lnTo>
                    <a:pt x="24" y="36"/>
                  </a:lnTo>
                  <a:lnTo>
                    <a:pt x="22" y="45"/>
                  </a:lnTo>
                  <a:lnTo>
                    <a:pt x="20" y="52"/>
                  </a:lnTo>
                  <a:lnTo>
                    <a:pt x="16" y="56"/>
                  </a:lnTo>
                  <a:lnTo>
                    <a:pt x="13" y="58"/>
                  </a:lnTo>
                  <a:lnTo>
                    <a:pt x="7" y="58"/>
                  </a:lnTo>
                  <a:lnTo>
                    <a:pt x="3" y="58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47" name="Freeform 44"/>
            <p:cNvSpPr>
              <a:spLocks/>
            </p:cNvSpPr>
            <p:nvPr/>
          </p:nvSpPr>
          <p:spPr bwMode="auto">
            <a:xfrm>
              <a:off x="1741677" y="4538758"/>
              <a:ext cx="299231" cy="577761"/>
            </a:xfrm>
            <a:custGeom>
              <a:avLst/>
              <a:gdLst>
                <a:gd name="T0" fmla="*/ 205452 w 172"/>
                <a:gd name="T1" fmla="*/ 446088 h 307"/>
                <a:gd name="T2" fmla="*/ 183439 w 172"/>
                <a:gd name="T3" fmla="*/ 407988 h 307"/>
                <a:gd name="T4" fmla="*/ 186374 w 172"/>
                <a:gd name="T5" fmla="*/ 384175 h 307"/>
                <a:gd name="T6" fmla="*/ 198114 w 172"/>
                <a:gd name="T7" fmla="*/ 381000 h 307"/>
                <a:gd name="T8" fmla="*/ 217192 w 172"/>
                <a:gd name="T9" fmla="*/ 395288 h 307"/>
                <a:gd name="T10" fmla="*/ 230399 w 172"/>
                <a:gd name="T11" fmla="*/ 373063 h 307"/>
                <a:gd name="T12" fmla="*/ 240672 w 172"/>
                <a:gd name="T13" fmla="*/ 307975 h 307"/>
                <a:gd name="T14" fmla="*/ 249477 w 172"/>
                <a:gd name="T15" fmla="*/ 266700 h 307"/>
                <a:gd name="T16" fmla="*/ 233334 w 172"/>
                <a:gd name="T17" fmla="*/ 242888 h 307"/>
                <a:gd name="T18" fmla="*/ 198114 w 172"/>
                <a:gd name="T19" fmla="*/ 214313 h 307"/>
                <a:gd name="T20" fmla="*/ 208387 w 172"/>
                <a:gd name="T21" fmla="*/ 184150 h 307"/>
                <a:gd name="T22" fmla="*/ 224529 w 172"/>
                <a:gd name="T23" fmla="*/ 160338 h 307"/>
                <a:gd name="T24" fmla="*/ 218659 w 172"/>
                <a:gd name="T25" fmla="*/ 142875 h 307"/>
                <a:gd name="T26" fmla="*/ 211322 w 172"/>
                <a:gd name="T27" fmla="*/ 125413 h 307"/>
                <a:gd name="T28" fmla="*/ 208387 w 172"/>
                <a:gd name="T29" fmla="*/ 107950 h 307"/>
                <a:gd name="T30" fmla="*/ 218659 w 172"/>
                <a:gd name="T31" fmla="*/ 93663 h 307"/>
                <a:gd name="T32" fmla="*/ 236269 w 172"/>
                <a:gd name="T33" fmla="*/ 76200 h 307"/>
                <a:gd name="T34" fmla="*/ 230399 w 172"/>
                <a:gd name="T35" fmla="*/ 55563 h 307"/>
                <a:gd name="T36" fmla="*/ 221594 w 172"/>
                <a:gd name="T37" fmla="*/ 38100 h 307"/>
                <a:gd name="T38" fmla="*/ 211322 w 172"/>
                <a:gd name="T39" fmla="*/ 34925 h 307"/>
                <a:gd name="T40" fmla="*/ 189309 w 172"/>
                <a:gd name="T41" fmla="*/ 23813 h 307"/>
                <a:gd name="T42" fmla="*/ 167296 w 172"/>
                <a:gd name="T43" fmla="*/ 14288 h 307"/>
                <a:gd name="T44" fmla="*/ 157024 w 172"/>
                <a:gd name="T45" fmla="*/ 11113 h 307"/>
                <a:gd name="T46" fmla="*/ 146751 w 172"/>
                <a:gd name="T47" fmla="*/ 3175 h 307"/>
                <a:gd name="T48" fmla="*/ 129141 w 172"/>
                <a:gd name="T49" fmla="*/ 0 h 307"/>
                <a:gd name="T50" fmla="*/ 118868 w 172"/>
                <a:gd name="T51" fmla="*/ 6350 h 307"/>
                <a:gd name="T52" fmla="*/ 118868 w 172"/>
                <a:gd name="T53" fmla="*/ 23813 h 307"/>
                <a:gd name="T54" fmla="*/ 118868 w 172"/>
                <a:gd name="T55" fmla="*/ 49213 h 307"/>
                <a:gd name="T56" fmla="*/ 124738 w 172"/>
                <a:gd name="T57" fmla="*/ 66675 h 307"/>
                <a:gd name="T58" fmla="*/ 135011 w 172"/>
                <a:gd name="T59" fmla="*/ 73025 h 307"/>
                <a:gd name="T60" fmla="*/ 118868 w 172"/>
                <a:gd name="T61" fmla="*/ 100013 h 307"/>
                <a:gd name="T62" fmla="*/ 102726 w 172"/>
                <a:gd name="T63" fmla="*/ 160338 h 307"/>
                <a:gd name="T64" fmla="*/ 105661 w 172"/>
                <a:gd name="T65" fmla="*/ 225425 h 307"/>
                <a:gd name="T66" fmla="*/ 108596 w 172"/>
                <a:gd name="T67" fmla="*/ 277813 h 307"/>
                <a:gd name="T68" fmla="*/ 102726 w 172"/>
                <a:gd name="T69" fmla="*/ 301625 h 307"/>
                <a:gd name="T70" fmla="*/ 83648 w 172"/>
                <a:gd name="T71" fmla="*/ 307975 h 307"/>
                <a:gd name="T72" fmla="*/ 51363 w 172"/>
                <a:gd name="T73" fmla="*/ 298450 h 307"/>
                <a:gd name="T74" fmla="*/ 35220 w 172"/>
                <a:gd name="T75" fmla="*/ 284163 h 307"/>
                <a:gd name="T76" fmla="*/ 29350 w 172"/>
                <a:gd name="T77" fmla="*/ 295275 h 307"/>
                <a:gd name="T78" fmla="*/ 32285 w 172"/>
                <a:gd name="T79" fmla="*/ 322263 h 307"/>
                <a:gd name="T80" fmla="*/ 35220 w 172"/>
                <a:gd name="T81" fmla="*/ 339725 h 307"/>
                <a:gd name="T82" fmla="*/ 23480 w 172"/>
                <a:gd name="T83" fmla="*/ 357188 h 307"/>
                <a:gd name="T84" fmla="*/ 0 w 172"/>
                <a:gd name="T85" fmla="*/ 374650 h 307"/>
                <a:gd name="T86" fmla="*/ 5870 w 172"/>
                <a:gd name="T87" fmla="*/ 387350 h 307"/>
                <a:gd name="T88" fmla="*/ 22013 w 172"/>
                <a:gd name="T89" fmla="*/ 398463 h 307"/>
                <a:gd name="T90" fmla="*/ 32285 w 172"/>
                <a:gd name="T91" fmla="*/ 428625 h 307"/>
                <a:gd name="T92" fmla="*/ 48428 w 172"/>
                <a:gd name="T93" fmla="*/ 450850 h 307"/>
                <a:gd name="T94" fmla="*/ 77778 w 172"/>
                <a:gd name="T95" fmla="*/ 457200 h 307"/>
                <a:gd name="T96" fmla="*/ 127674 w 172"/>
                <a:gd name="T97" fmla="*/ 474663 h 307"/>
                <a:gd name="T98" fmla="*/ 154089 w 172"/>
                <a:gd name="T99" fmla="*/ 487363 h 307"/>
                <a:gd name="T100" fmla="*/ 189309 w 172"/>
                <a:gd name="T101" fmla="*/ 484188 h 307"/>
                <a:gd name="T102" fmla="*/ 211322 w 172"/>
                <a:gd name="T103" fmla="*/ 481013 h 307"/>
                <a:gd name="T104" fmla="*/ 221594 w 172"/>
                <a:gd name="T105" fmla="*/ 471488 h 30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72"/>
                <a:gd name="T160" fmla="*/ 0 h 307"/>
                <a:gd name="T161" fmla="*/ 172 w 172"/>
                <a:gd name="T162" fmla="*/ 307 h 30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72" h="307">
                  <a:moveTo>
                    <a:pt x="153" y="294"/>
                  </a:moveTo>
                  <a:lnTo>
                    <a:pt x="140" y="281"/>
                  </a:lnTo>
                  <a:lnTo>
                    <a:pt x="131" y="268"/>
                  </a:lnTo>
                  <a:lnTo>
                    <a:pt x="125" y="257"/>
                  </a:lnTo>
                  <a:lnTo>
                    <a:pt x="124" y="247"/>
                  </a:lnTo>
                  <a:lnTo>
                    <a:pt x="127" y="242"/>
                  </a:lnTo>
                  <a:lnTo>
                    <a:pt x="129" y="240"/>
                  </a:lnTo>
                  <a:lnTo>
                    <a:pt x="135" y="240"/>
                  </a:lnTo>
                  <a:lnTo>
                    <a:pt x="140" y="242"/>
                  </a:lnTo>
                  <a:lnTo>
                    <a:pt x="148" y="249"/>
                  </a:lnTo>
                  <a:lnTo>
                    <a:pt x="153" y="253"/>
                  </a:lnTo>
                  <a:lnTo>
                    <a:pt x="157" y="235"/>
                  </a:lnTo>
                  <a:lnTo>
                    <a:pt x="159" y="214"/>
                  </a:lnTo>
                  <a:lnTo>
                    <a:pt x="164" y="194"/>
                  </a:lnTo>
                  <a:lnTo>
                    <a:pt x="172" y="175"/>
                  </a:lnTo>
                  <a:lnTo>
                    <a:pt x="170" y="168"/>
                  </a:lnTo>
                  <a:lnTo>
                    <a:pt x="166" y="161"/>
                  </a:lnTo>
                  <a:lnTo>
                    <a:pt x="159" y="153"/>
                  </a:lnTo>
                  <a:lnTo>
                    <a:pt x="149" y="146"/>
                  </a:lnTo>
                  <a:lnTo>
                    <a:pt x="135" y="135"/>
                  </a:lnTo>
                  <a:lnTo>
                    <a:pt x="129" y="127"/>
                  </a:lnTo>
                  <a:lnTo>
                    <a:pt x="142" y="116"/>
                  </a:lnTo>
                  <a:lnTo>
                    <a:pt x="153" y="107"/>
                  </a:lnTo>
                  <a:lnTo>
                    <a:pt x="153" y="101"/>
                  </a:lnTo>
                  <a:lnTo>
                    <a:pt x="153" y="96"/>
                  </a:lnTo>
                  <a:lnTo>
                    <a:pt x="149" y="90"/>
                  </a:lnTo>
                  <a:lnTo>
                    <a:pt x="146" y="85"/>
                  </a:lnTo>
                  <a:lnTo>
                    <a:pt x="144" y="79"/>
                  </a:lnTo>
                  <a:lnTo>
                    <a:pt x="142" y="74"/>
                  </a:lnTo>
                  <a:lnTo>
                    <a:pt x="142" y="68"/>
                  </a:lnTo>
                  <a:lnTo>
                    <a:pt x="144" y="63"/>
                  </a:lnTo>
                  <a:lnTo>
                    <a:pt x="149" y="59"/>
                  </a:lnTo>
                  <a:lnTo>
                    <a:pt x="161" y="57"/>
                  </a:lnTo>
                  <a:lnTo>
                    <a:pt x="161" y="48"/>
                  </a:lnTo>
                  <a:lnTo>
                    <a:pt x="159" y="41"/>
                  </a:lnTo>
                  <a:lnTo>
                    <a:pt x="157" y="35"/>
                  </a:lnTo>
                  <a:lnTo>
                    <a:pt x="155" y="28"/>
                  </a:lnTo>
                  <a:lnTo>
                    <a:pt x="151" y="24"/>
                  </a:lnTo>
                  <a:lnTo>
                    <a:pt x="148" y="24"/>
                  </a:lnTo>
                  <a:lnTo>
                    <a:pt x="144" y="22"/>
                  </a:lnTo>
                  <a:lnTo>
                    <a:pt x="138" y="22"/>
                  </a:lnTo>
                  <a:lnTo>
                    <a:pt x="129" y="15"/>
                  </a:lnTo>
                  <a:lnTo>
                    <a:pt x="120" y="7"/>
                  </a:lnTo>
                  <a:lnTo>
                    <a:pt x="114" y="9"/>
                  </a:lnTo>
                  <a:lnTo>
                    <a:pt x="109" y="9"/>
                  </a:lnTo>
                  <a:lnTo>
                    <a:pt x="107" y="7"/>
                  </a:lnTo>
                  <a:lnTo>
                    <a:pt x="103" y="5"/>
                  </a:lnTo>
                  <a:lnTo>
                    <a:pt x="100" y="2"/>
                  </a:lnTo>
                  <a:lnTo>
                    <a:pt x="96" y="0"/>
                  </a:lnTo>
                  <a:lnTo>
                    <a:pt x="88" y="0"/>
                  </a:lnTo>
                  <a:lnTo>
                    <a:pt x="85" y="2"/>
                  </a:lnTo>
                  <a:lnTo>
                    <a:pt x="81" y="4"/>
                  </a:lnTo>
                  <a:lnTo>
                    <a:pt x="77" y="7"/>
                  </a:lnTo>
                  <a:lnTo>
                    <a:pt x="81" y="15"/>
                  </a:lnTo>
                  <a:lnTo>
                    <a:pt x="81" y="24"/>
                  </a:lnTo>
                  <a:lnTo>
                    <a:pt x="81" y="31"/>
                  </a:lnTo>
                  <a:lnTo>
                    <a:pt x="81" y="42"/>
                  </a:lnTo>
                  <a:lnTo>
                    <a:pt x="85" y="42"/>
                  </a:lnTo>
                  <a:lnTo>
                    <a:pt x="88" y="44"/>
                  </a:lnTo>
                  <a:lnTo>
                    <a:pt x="92" y="46"/>
                  </a:lnTo>
                  <a:lnTo>
                    <a:pt x="92" y="52"/>
                  </a:lnTo>
                  <a:lnTo>
                    <a:pt x="81" y="63"/>
                  </a:lnTo>
                  <a:lnTo>
                    <a:pt x="70" y="81"/>
                  </a:lnTo>
                  <a:lnTo>
                    <a:pt x="70" y="101"/>
                  </a:lnTo>
                  <a:lnTo>
                    <a:pt x="74" y="124"/>
                  </a:lnTo>
                  <a:lnTo>
                    <a:pt x="72" y="142"/>
                  </a:lnTo>
                  <a:lnTo>
                    <a:pt x="74" y="164"/>
                  </a:lnTo>
                  <a:lnTo>
                    <a:pt x="74" y="175"/>
                  </a:lnTo>
                  <a:lnTo>
                    <a:pt x="72" y="183"/>
                  </a:lnTo>
                  <a:lnTo>
                    <a:pt x="70" y="190"/>
                  </a:lnTo>
                  <a:lnTo>
                    <a:pt x="68" y="194"/>
                  </a:lnTo>
                  <a:lnTo>
                    <a:pt x="57" y="194"/>
                  </a:lnTo>
                  <a:lnTo>
                    <a:pt x="42" y="194"/>
                  </a:lnTo>
                  <a:lnTo>
                    <a:pt x="35" y="188"/>
                  </a:lnTo>
                  <a:lnTo>
                    <a:pt x="29" y="183"/>
                  </a:lnTo>
                  <a:lnTo>
                    <a:pt x="24" y="179"/>
                  </a:lnTo>
                  <a:lnTo>
                    <a:pt x="16" y="177"/>
                  </a:lnTo>
                  <a:lnTo>
                    <a:pt x="20" y="186"/>
                  </a:lnTo>
                  <a:lnTo>
                    <a:pt x="24" y="199"/>
                  </a:lnTo>
                  <a:lnTo>
                    <a:pt x="22" y="203"/>
                  </a:lnTo>
                  <a:lnTo>
                    <a:pt x="18" y="209"/>
                  </a:lnTo>
                  <a:lnTo>
                    <a:pt x="24" y="214"/>
                  </a:lnTo>
                  <a:lnTo>
                    <a:pt x="29" y="218"/>
                  </a:lnTo>
                  <a:lnTo>
                    <a:pt x="16" y="225"/>
                  </a:lnTo>
                  <a:lnTo>
                    <a:pt x="2" y="233"/>
                  </a:lnTo>
                  <a:lnTo>
                    <a:pt x="0" y="236"/>
                  </a:lnTo>
                  <a:lnTo>
                    <a:pt x="2" y="240"/>
                  </a:lnTo>
                  <a:lnTo>
                    <a:pt x="4" y="244"/>
                  </a:lnTo>
                  <a:lnTo>
                    <a:pt x="7" y="246"/>
                  </a:lnTo>
                  <a:lnTo>
                    <a:pt x="15" y="251"/>
                  </a:lnTo>
                  <a:lnTo>
                    <a:pt x="20" y="257"/>
                  </a:lnTo>
                  <a:lnTo>
                    <a:pt x="22" y="270"/>
                  </a:lnTo>
                  <a:lnTo>
                    <a:pt x="26" y="281"/>
                  </a:lnTo>
                  <a:lnTo>
                    <a:pt x="33" y="284"/>
                  </a:lnTo>
                  <a:lnTo>
                    <a:pt x="42" y="288"/>
                  </a:lnTo>
                  <a:lnTo>
                    <a:pt x="53" y="288"/>
                  </a:lnTo>
                  <a:lnTo>
                    <a:pt x="64" y="286"/>
                  </a:lnTo>
                  <a:lnTo>
                    <a:pt x="87" y="299"/>
                  </a:lnTo>
                  <a:lnTo>
                    <a:pt x="98" y="307"/>
                  </a:lnTo>
                  <a:lnTo>
                    <a:pt x="105" y="307"/>
                  </a:lnTo>
                  <a:lnTo>
                    <a:pt x="116" y="303"/>
                  </a:lnTo>
                  <a:lnTo>
                    <a:pt x="129" y="305"/>
                  </a:lnTo>
                  <a:lnTo>
                    <a:pt x="138" y="305"/>
                  </a:lnTo>
                  <a:lnTo>
                    <a:pt x="144" y="303"/>
                  </a:lnTo>
                  <a:lnTo>
                    <a:pt x="148" y="301"/>
                  </a:lnTo>
                  <a:lnTo>
                    <a:pt x="151" y="297"/>
                  </a:lnTo>
                  <a:lnTo>
                    <a:pt x="153" y="294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48" name="Freeform 45"/>
            <p:cNvSpPr>
              <a:spLocks/>
            </p:cNvSpPr>
            <p:nvPr/>
          </p:nvSpPr>
          <p:spPr bwMode="auto">
            <a:xfrm>
              <a:off x="1158271" y="4843634"/>
              <a:ext cx="210779" cy="167495"/>
            </a:xfrm>
            <a:custGeom>
              <a:avLst/>
              <a:gdLst>
                <a:gd name="T0" fmla="*/ 0 w 122"/>
                <a:gd name="T1" fmla="*/ 36513 h 89"/>
                <a:gd name="T2" fmla="*/ 1457 w 122"/>
                <a:gd name="T3" fmla="*/ 38100 h 89"/>
                <a:gd name="T4" fmla="*/ 4372 w 122"/>
                <a:gd name="T5" fmla="*/ 38100 h 89"/>
                <a:gd name="T6" fmla="*/ 16031 w 122"/>
                <a:gd name="T7" fmla="*/ 65088 h 89"/>
                <a:gd name="T8" fmla="*/ 20403 w 122"/>
                <a:gd name="T9" fmla="*/ 88900 h 89"/>
                <a:gd name="T10" fmla="*/ 26233 w 122"/>
                <a:gd name="T11" fmla="*/ 112713 h 89"/>
                <a:gd name="T12" fmla="*/ 26233 w 122"/>
                <a:gd name="T13" fmla="*/ 134938 h 89"/>
                <a:gd name="T14" fmla="*/ 26233 w 122"/>
                <a:gd name="T15" fmla="*/ 133350 h 89"/>
                <a:gd name="T16" fmla="*/ 26233 w 122"/>
                <a:gd name="T17" fmla="*/ 133350 h 89"/>
                <a:gd name="T18" fmla="*/ 36434 w 122"/>
                <a:gd name="T19" fmla="*/ 134938 h 89"/>
                <a:gd name="T20" fmla="*/ 45179 w 122"/>
                <a:gd name="T21" fmla="*/ 138113 h 89"/>
                <a:gd name="T22" fmla="*/ 53923 w 122"/>
                <a:gd name="T23" fmla="*/ 138113 h 89"/>
                <a:gd name="T24" fmla="*/ 61210 w 122"/>
                <a:gd name="T25" fmla="*/ 134938 h 89"/>
                <a:gd name="T26" fmla="*/ 71411 w 122"/>
                <a:gd name="T27" fmla="*/ 130175 h 89"/>
                <a:gd name="T28" fmla="*/ 83070 w 122"/>
                <a:gd name="T29" fmla="*/ 123825 h 89"/>
                <a:gd name="T30" fmla="*/ 102016 w 122"/>
                <a:gd name="T31" fmla="*/ 130175 h 89"/>
                <a:gd name="T32" fmla="*/ 120962 w 122"/>
                <a:gd name="T33" fmla="*/ 141288 h 89"/>
                <a:gd name="T34" fmla="*/ 139908 w 122"/>
                <a:gd name="T35" fmla="*/ 134938 h 89"/>
                <a:gd name="T36" fmla="*/ 158854 w 122"/>
                <a:gd name="T37" fmla="*/ 127000 h 89"/>
                <a:gd name="T38" fmla="*/ 163226 w 122"/>
                <a:gd name="T39" fmla="*/ 123825 h 89"/>
                <a:gd name="T40" fmla="*/ 166141 w 122"/>
                <a:gd name="T41" fmla="*/ 112713 h 89"/>
                <a:gd name="T42" fmla="*/ 171970 w 122"/>
                <a:gd name="T43" fmla="*/ 103188 h 89"/>
                <a:gd name="T44" fmla="*/ 177800 w 122"/>
                <a:gd name="T45" fmla="*/ 96838 h 89"/>
                <a:gd name="T46" fmla="*/ 174885 w 122"/>
                <a:gd name="T47" fmla="*/ 88900 h 89"/>
                <a:gd name="T48" fmla="*/ 166141 w 122"/>
                <a:gd name="T49" fmla="*/ 82550 h 89"/>
                <a:gd name="T50" fmla="*/ 155939 w 122"/>
                <a:gd name="T51" fmla="*/ 79375 h 89"/>
                <a:gd name="T52" fmla="*/ 142823 w 122"/>
                <a:gd name="T53" fmla="*/ 79375 h 89"/>
                <a:gd name="T54" fmla="*/ 134079 w 122"/>
                <a:gd name="T55" fmla="*/ 77788 h 89"/>
                <a:gd name="T56" fmla="*/ 128249 w 122"/>
                <a:gd name="T57" fmla="*/ 74613 h 89"/>
                <a:gd name="T58" fmla="*/ 120962 w 122"/>
                <a:gd name="T59" fmla="*/ 71438 h 89"/>
                <a:gd name="T60" fmla="*/ 112218 w 122"/>
                <a:gd name="T61" fmla="*/ 61913 h 89"/>
                <a:gd name="T62" fmla="*/ 104931 w 122"/>
                <a:gd name="T63" fmla="*/ 33338 h 89"/>
                <a:gd name="T64" fmla="*/ 102016 w 122"/>
                <a:gd name="T65" fmla="*/ 3175 h 89"/>
                <a:gd name="T66" fmla="*/ 80156 w 122"/>
                <a:gd name="T67" fmla="*/ 0 h 89"/>
                <a:gd name="T68" fmla="*/ 58295 w 122"/>
                <a:gd name="T69" fmla="*/ 0 h 89"/>
                <a:gd name="T70" fmla="*/ 39349 w 122"/>
                <a:gd name="T71" fmla="*/ 3175 h 89"/>
                <a:gd name="T72" fmla="*/ 23318 w 122"/>
                <a:gd name="T73" fmla="*/ 12700 h 89"/>
                <a:gd name="T74" fmla="*/ 10202 w 122"/>
                <a:gd name="T75" fmla="*/ 23813 h 89"/>
                <a:gd name="T76" fmla="*/ 0 w 122"/>
                <a:gd name="T77" fmla="*/ 36513 h 8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2"/>
                <a:gd name="T118" fmla="*/ 0 h 89"/>
                <a:gd name="T119" fmla="*/ 122 w 122"/>
                <a:gd name="T120" fmla="*/ 89 h 8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2" h="89">
                  <a:moveTo>
                    <a:pt x="0" y="23"/>
                  </a:moveTo>
                  <a:lnTo>
                    <a:pt x="1" y="24"/>
                  </a:lnTo>
                  <a:lnTo>
                    <a:pt x="3" y="24"/>
                  </a:lnTo>
                  <a:lnTo>
                    <a:pt x="11" y="41"/>
                  </a:lnTo>
                  <a:lnTo>
                    <a:pt x="14" y="56"/>
                  </a:lnTo>
                  <a:lnTo>
                    <a:pt x="18" y="71"/>
                  </a:lnTo>
                  <a:lnTo>
                    <a:pt x="18" y="85"/>
                  </a:lnTo>
                  <a:lnTo>
                    <a:pt x="18" y="84"/>
                  </a:lnTo>
                  <a:lnTo>
                    <a:pt x="25" y="85"/>
                  </a:lnTo>
                  <a:lnTo>
                    <a:pt x="31" y="87"/>
                  </a:lnTo>
                  <a:lnTo>
                    <a:pt x="37" y="87"/>
                  </a:lnTo>
                  <a:lnTo>
                    <a:pt x="42" y="85"/>
                  </a:lnTo>
                  <a:lnTo>
                    <a:pt x="49" y="82"/>
                  </a:lnTo>
                  <a:lnTo>
                    <a:pt x="57" y="78"/>
                  </a:lnTo>
                  <a:lnTo>
                    <a:pt x="70" y="82"/>
                  </a:lnTo>
                  <a:lnTo>
                    <a:pt x="83" y="89"/>
                  </a:lnTo>
                  <a:lnTo>
                    <a:pt x="96" y="85"/>
                  </a:lnTo>
                  <a:lnTo>
                    <a:pt x="109" y="80"/>
                  </a:lnTo>
                  <a:lnTo>
                    <a:pt x="112" y="78"/>
                  </a:lnTo>
                  <a:lnTo>
                    <a:pt x="114" y="71"/>
                  </a:lnTo>
                  <a:lnTo>
                    <a:pt x="118" y="65"/>
                  </a:lnTo>
                  <a:lnTo>
                    <a:pt x="122" y="61"/>
                  </a:lnTo>
                  <a:lnTo>
                    <a:pt x="120" y="56"/>
                  </a:lnTo>
                  <a:lnTo>
                    <a:pt x="114" y="52"/>
                  </a:lnTo>
                  <a:lnTo>
                    <a:pt x="107" y="50"/>
                  </a:lnTo>
                  <a:lnTo>
                    <a:pt x="98" y="50"/>
                  </a:lnTo>
                  <a:lnTo>
                    <a:pt x="92" y="49"/>
                  </a:lnTo>
                  <a:lnTo>
                    <a:pt x="88" y="47"/>
                  </a:lnTo>
                  <a:lnTo>
                    <a:pt x="83" y="45"/>
                  </a:lnTo>
                  <a:lnTo>
                    <a:pt x="77" y="39"/>
                  </a:lnTo>
                  <a:lnTo>
                    <a:pt x="72" y="21"/>
                  </a:lnTo>
                  <a:lnTo>
                    <a:pt x="70" y="2"/>
                  </a:lnTo>
                  <a:lnTo>
                    <a:pt x="55" y="0"/>
                  </a:lnTo>
                  <a:lnTo>
                    <a:pt x="40" y="0"/>
                  </a:lnTo>
                  <a:lnTo>
                    <a:pt x="27" y="2"/>
                  </a:lnTo>
                  <a:lnTo>
                    <a:pt x="16" y="8"/>
                  </a:lnTo>
                  <a:lnTo>
                    <a:pt x="7" y="1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49" name="Freeform 46"/>
            <p:cNvSpPr>
              <a:spLocks/>
            </p:cNvSpPr>
            <p:nvPr/>
          </p:nvSpPr>
          <p:spPr bwMode="auto">
            <a:xfrm>
              <a:off x="1071702" y="4642266"/>
              <a:ext cx="212661" cy="244654"/>
            </a:xfrm>
            <a:custGeom>
              <a:avLst/>
              <a:gdLst>
                <a:gd name="T0" fmla="*/ 0 w 123"/>
                <a:gd name="T1" fmla="*/ 55562 h 130"/>
                <a:gd name="T2" fmla="*/ 10209 w 123"/>
                <a:gd name="T3" fmla="*/ 85725 h 130"/>
                <a:gd name="T4" fmla="*/ 16043 w 123"/>
                <a:gd name="T5" fmla="*/ 109537 h 130"/>
                <a:gd name="T6" fmla="*/ 23335 w 123"/>
                <a:gd name="T7" fmla="*/ 131762 h 130"/>
                <a:gd name="T8" fmla="*/ 29169 w 123"/>
                <a:gd name="T9" fmla="*/ 150812 h 130"/>
                <a:gd name="T10" fmla="*/ 51045 w 123"/>
                <a:gd name="T11" fmla="*/ 176212 h 130"/>
                <a:gd name="T12" fmla="*/ 72922 w 123"/>
                <a:gd name="T13" fmla="*/ 206375 h 130"/>
                <a:gd name="T14" fmla="*/ 83131 w 123"/>
                <a:gd name="T15" fmla="*/ 193675 h 130"/>
                <a:gd name="T16" fmla="*/ 96256 w 123"/>
                <a:gd name="T17" fmla="*/ 182562 h 130"/>
                <a:gd name="T18" fmla="*/ 112299 w 123"/>
                <a:gd name="T19" fmla="*/ 173037 h 130"/>
                <a:gd name="T20" fmla="*/ 131259 w 123"/>
                <a:gd name="T21" fmla="*/ 169862 h 130"/>
                <a:gd name="T22" fmla="*/ 140009 w 123"/>
                <a:gd name="T23" fmla="*/ 169862 h 130"/>
                <a:gd name="T24" fmla="*/ 150218 w 123"/>
                <a:gd name="T25" fmla="*/ 169862 h 130"/>
                <a:gd name="T26" fmla="*/ 150218 w 123"/>
                <a:gd name="T27" fmla="*/ 150812 h 130"/>
                <a:gd name="T28" fmla="*/ 153135 w 123"/>
                <a:gd name="T29" fmla="*/ 134937 h 130"/>
                <a:gd name="T30" fmla="*/ 156052 w 123"/>
                <a:gd name="T31" fmla="*/ 130175 h 130"/>
                <a:gd name="T32" fmla="*/ 161886 w 123"/>
                <a:gd name="T33" fmla="*/ 123825 h 130"/>
                <a:gd name="T34" fmla="*/ 169178 w 123"/>
                <a:gd name="T35" fmla="*/ 120650 h 130"/>
                <a:gd name="T36" fmla="*/ 179387 w 123"/>
                <a:gd name="T37" fmla="*/ 114300 h 130"/>
                <a:gd name="T38" fmla="*/ 158969 w 123"/>
                <a:gd name="T39" fmla="*/ 79375 h 130"/>
                <a:gd name="T40" fmla="*/ 134176 w 123"/>
                <a:gd name="T41" fmla="*/ 34925 h 130"/>
                <a:gd name="T42" fmla="*/ 126884 w 123"/>
                <a:gd name="T43" fmla="*/ 44450 h 130"/>
                <a:gd name="T44" fmla="*/ 118133 w 123"/>
                <a:gd name="T45" fmla="*/ 55562 h 130"/>
                <a:gd name="T46" fmla="*/ 107924 w 123"/>
                <a:gd name="T47" fmla="*/ 61912 h 130"/>
                <a:gd name="T48" fmla="*/ 93340 w 123"/>
                <a:gd name="T49" fmla="*/ 68262 h 130"/>
                <a:gd name="T50" fmla="*/ 86047 w 123"/>
                <a:gd name="T51" fmla="*/ 61912 h 130"/>
                <a:gd name="T52" fmla="*/ 80214 w 123"/>
                <a:gd name="T53" fmla="*/ 55562 h 130"/>
                <a:gd name="T54" fmla="*/ 80214 w 123"/>
                <a:gd name="T55" fmla="*/ 47625 h 130"/>
                <a:gd name="T56" fmla="*/ 80214 w 123"/>
                <a:gd name="T57" fmla="*/ 34925 h 130"/>
                <a:gd name="T58" fmla="*/ 80214 w 123"/>
                <a:gd name="T59" fmla="*/ 26987 h 130"/>
                <a:gd name="T60" fmla="*/ 80214 w 123"/>
                <a:gd name="T61" fmla="*/ 17462 h 130"/>
                <a:gd name="T62" fmla="*/ 77297 w 123"/>
                <a:gd name="T63" fmla="*/ 9525 h 130"/>
                <a:gd name="T64" fmla="*/ 72922 w 123"/>
                <a:gd name="T65" fmla="*/ 0 h 130"/>
                <a:gd name="T66" fmla="*/ 64171 w 123"/>
                <a:gd name="T67" fmla="*/ 0 h 130"/>
                <a:gd name="T68" fmla="*/ 58337 w 123"/>
                <a:gd name="T69" fmla="*/ 0 h 130"/>
                <a:gd name="T70" fmla="*/ 56879 w 123"/>
                <a:gd name="T71" fmla="*/ 6350 h 130"/>
                <a:gd name="T72" fmla="*/ 51045 w 123"/>
                <a:gd name="T73" fmla="*/ 9525 h 130"/>
                <a:gd name="T74" fmla="*/ 35002 w 123"/>
                <a:gd name="T75" fmla="*/ 15875 h 130"/>
                <a:gd name="T76" fmla="*/ 21876 w 123"/>
                <a:gd name="T77" fmla="*/ 20637 h 130"/>
                <a:gd name="T78" fmla="*/ 16043 w 123"/>
                <a:gd name="T79" fmla="*/ 23812 h 130"/>
                <a:gd name="T80" fmla="*/ 10209 w 123"/>
                <a:gd name="T81" fmla="*/ 33337 h 130"/>
                <a:gd name="T82" fmla="*/ 4375 w 123"/>
                <a:gd name="T83" fmla="*/ 44450 h 130"/>
                <a:gd name="T84" fmla="*/ 0 w 123"/>
                <a:gd name="T85" fmla="*/ 55562 h 13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3"/>
                <a:gd name="T130" fmla="*/ 0 h 130"/>
                <a:gd name="T131" fmla="*/ 123 w 123"/>
                <a:gd name="T132" fmla="*/ 130 h 13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3" h="130">
                  <a:moveTo>
                    <a:pt x="0" y="35"/>
                  </a:moveTo>
                  <a:lnTo>
                    <a:pt x="7" y="54"/>
                  </a:lnTo>
                  <a:lnTo>
                    <a:pt x="11" y="69"/>
                  </a:lnTo>
                  <a:lnTo>
                    <a:pt x="16" y="83"/>
                  </a:lnTo>
                  <a:lnTo>
                    <a:pt x="20" y="95"/>
                  </a:lnTo>
                  <a:lnTo>
                    <a:pt x="35" y="111"/>
                  </a:lnTo>
                  <a:lnTo>
                    <a:pt x="50" y="130"/>
                  </a:lnTo>
                  <a:lnTo>
                    <a:pt x="57" y="122"/>
                  </a:lnTo>
                  <a:lnTo>
                    <a:pt x="66" y="115"/>
                  </a:lnTo>
                  <a:lnTo>
                    <a:pt x="77" y="109"/>
                  </a:lnTo>
                  <a:lnTo>
                    <a:pt x="90" y="107"/>
                  </a:lnTo>
                  <a:lnTo>
                    <a:pt x="96" y="107"/>
                  </a:lnTo>
                  <a:lnTo>
                    <a:pt x="103" y="107"/>
                  </a:lnTo>
                  <a:lnTo>
                    <a:pt x="103" y="95"/>
                  </a:lnTo>
                  <a:lnTo>
                    <a:pt x="105" y="85"/>
                  </a:lnTo>
                  <a:lnTo>
                    <a:pt x="107" y="82"/>
                  </a:lnTo>
                  <a:lnTo>
                    <a:pt x="111" y="78"/>
                  </a:lnTo>
                  <a:lnTo>
                    <a:pt x="116" y="76"/>
                  </a:lnTo>
                  <a:lnTo>
                    <a:pt x="123" y="72"/>
                  </a:lnTo>
                  <a:lnTo>
                    <a:pt x="109" y="50"/>
                  </a:lnTo>
                  <a:lnTo>
                    <a:pt x="92" y="22"/>
                  </a:lnTo>
                  <a:lnTo>
                    <a:pt x="87" y="28"/>
                  </a:lnTo>
                  <a:lnTo>
                    <a:pt x="81" y="35"/>
                  </a:lnTo>
                  <a:lnTo>
                    <a:pt x="74" y="39"/>
                  </a:lnTo>
                  <a:lnTo>
                    <a:pt x="64" y="43"/>
                  </a:lnTo>
                  <a:lnTo>
                    <a:pt x="59" y="39"/>
                  </a:lnTo>
                  <a:lnTo>
                    <a:pt x="55" y="35"/>
                  </a:lnTo>
                  <a:lnTo>
                    <a:pt x="55" y="30"/>
                  </a:lnTo>
                  <a:lnTo>
                    <a:pt x="55" y="22"/>
                  </a:lnTo>
                  <a:lnTo>
                    <a:pt x="55" y="17"/>
                  </a:lnTo>
                  <a:lnTo>
                    <a:pt x="55" y="11"/>
                  </a:lnTo>
                  <a:lnTo>
                    <a:pt x="53" y="6"/>
                  </a:lnTo>
                  <a:lnTo>
                    <a:pt x="50" y="0"/>
                  </a:lnTo>
                  <a:lnTo>
                    <a:pt x="44" y="0"/>
                  </a:lnTo>
                  <a:lnTo>
                    <a:pt x="40" y="0"/>
                  </a:lnTo>
                  <a:lnTo>
                    <a:pt x="39" y="4"/>
                  </a:lnTo>
                  <a:lnTo>
                    <a:pt x="35" y="6"/>
                  </a:lnTo>
                  <a:lnTo>
                    <a:pt x="24" y="10"/>
                  </a:lnTo>
                  <a:lnTo>
                    <a:pt x="15" y="13"/>
                  </a:lnTo>
                  <a:lnTo>
                    <a:pt x="11" y="15"/>
                  </a:lnTo>
                  <a:lnTo>
                    <a:pt x="7" y="21"/>
                  </a:lnTo>
                  <a:lnTo>
                    <a:pt x="3" y="28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50" name="Freeform 47"/>
            <p:cNvSpPr>
              <a:spLocks/>
            </p:cNvSpPr>
            <p:nvPr/>
          </p:nvSpPr>
          <p:spPr bwMode="auto">
            <a:xfrm>
              <a:off x="996422" y="4132255"/>
              <a:ext cx="397092" cy="590934"/>
            </a:xfrm>
            <a:custGeom>
              <a:avLst/>
              <a:gdLst>
                <a:gd name="T0" fmla="*/ 267677 w 229"/>
                <a:gd name="T1" fmla="*/ 46037 h 314"/>
                <a:gd name="T2" fmla="*/ 254513 w 229"/>
                <a:gd name="T3" fmla="*/ 42862 h 314"/>
                <a:gd name="T4" fmla="*/ 226721 w 229"/>
                <a:gd name="T5" fmla="*/ 22225 h 314"/>
                <a:gd name="T6" fmla="*/ 203318 w 229"/>
                <a:gd name="T7" fmla="*/ 7937 h 314"/>
                <a:gd name="T8" fmla="*/ 190153 w 229"/>
                <a:gd name="T9" fmla="*/ 34925 h 314"/>
                <a:gd name="T10" fmla="*/ 191616 w 229"/>
                <a:gd name="T11" fmla="*/ 46037 h 314"/>
                <a:gd name="T12" fmla="*/ 191616 w 229"/>
                <a:gd name="T13" fmla="*/ 76200 h 314"/>
                <a:gd name="T14" fmla="*/ 181377 w 229"/>
                <a:gd name="T15" fmla="*/ 90487 h 314"/>
                <a:gd name="T16" fmla="*/ 162361 w 229"/>
                <a:gd name="T17" fmla="*/ 79375 h 314"/>
                <a:gd name="T18" fmla="*/ 155048 w 229"/>
                <a:gd name="T19" fmla="*/ 73025 h 314"/>
                <a:gd name="T20" fmla="*/ 137495 w 229"/>
                <a:gd name="T21" fmla="*/ 69850 h 314"/>
                <a:gd name="T22" fmla="*/ 117017 w 229"/>
                <a:gd name="T23" fmla="*/ 76200 h 314"/>
                <a:gd name="T24" fmla="*/ 98002 w 229"/>
                <a:gd name="T25" fmla="*/ 90487 h 314"/>
                <a:gd name="T26" fmla="*/ 70210 w 229"/>
                <a:gd name="T27" fmla="*/ 90487 h 314"/>
                <a:gd name="T28" fmla="*/ 51195 w 229"/>
                <a:gd name="T29" fmla="*/ 76200 h 314"/>
                <a:gd name="T30" fmla="*/ 32180 w 229"/>
                <a:gd name="T31" fmla="*/ 66675 h 314"/>
                <a:gd name="T32" fmla="*/ 35105 w 229"/>
                <a:gd name="T33" fmla="*/ 46037 h 314"/>
                <a:gd name="T34" fmla="*/ 35105 w 229"/>
                <a:gd name="T35" fmla="*/ 28575 h 314"/>
                <a:gd name="T36" fmla="*/ 21941 w 229"/>
                <a:gd name="T37" fmla="*/ 22225 h 314"/>
                <a:gd name="T38" fmla="*/ 5851 w 229"/>
                <a:gd name="T39" fmla="*/ 28575 h 314"/>
                <a:gd name="T40" fmla="*/ 0 w 229"/>
                <a:gd name="T41" fmla="*/ 52388 h 314"/>
                <a:gd name="T42" fmla="*/ 0 w 229"/>
                <a:gd name="T43" fmla="*/ 117475 h 314"/>
                <a:gd name="T44" fmla="*/ 2925 w 229"/>
                <a:gd name="T45" fmla="*/ 201612 h 314"/>
                <a:gd name="T46" fmla="*/ 11702 w 229"/>
                <a:gd name="T47" fmla="*/ 295275 h 314"/>
                <a:gd name="T48" fmla="*/ 11702 w 229"/>
                <a:gd name="T49" fmla="*/ 363537 h 314"/>
                <a:gd name="T50" fmla="*/ 5851 w 229"/>
                <a:gd name="T51" fmla="*/ 404812 h 314"/>
                <a:gd name="T52" fmla="*/ 16090 w 229"/>
                <a:gd name="T53" fmla="*/ 425450 h 314"/>
                <a:gd name="T54" fmla="*/ 32180 w 229"/>
                <a:gd name="T55" fmla="*/ 430213 h 314"/>
                <a:gd name="T56" fmla="*/ 51195 w 229"/>
                <a:gd name="T57" fmla="*/ 460375 h 314"/>
                <a:gd name="T58" fmla="*/ 67285 w 229"/>
                <a:gd name="T59" fmla="*/ 474663 h 314"/>
                <a:gd name="T60" fmla="*/ 78987 w 229"/>
                <a:gd name="T61" fmla="*/ 454025 h 314"/>
                <a:gd name="T62" fmla="*/ 98002 w 229"/>
                <a:gd name="T63" fmla="*/ 446088 h 314"/>
                <a:gd name="T64" fmla="*/ 119943 w 229"/>
                <a:gd name="T65" fmla="*/ 436563 h 314"/>
                <a:gd name="T66" fmla="*/ 127256 w 229"/>
                <a:gd name="T67" fmla="*/ 430213 h 314"/>
                <a:gd name="T68" fmla="*/ 140421 w 229"/>
                <a:gd name="T69" fmla="*/ 439738 h 314"/>
                <a:gd name="T70" fmla="*/ 143346 w 229"/>
                <a:gd name="T71" fmla="*/ 457200 h 314"/>
                <a:gd name="T72" fmla="*/ 143346 w 229"/>
                <a:gd name="T73" fmla="*/ 477838 h 314"/>
                <a:gd name="T74" fmla="*/ 149197 w 229"/>
                <a:gd name="T75" fmla="*/ 492125 h 314"/>
                <a:gd name="T76" fmla="*/ 171138 w 229"/>
                <a:gd name="T77" fmla="*/ 492125 h 314"/>
                <a:gd name="T78" fmla="*/ 190153 w 229"/>
                <a:gd name="T79" fmla="*/ 474663 h 314"/>
                <a:gd name="T80" fmla="*/ 206243 w 229"/>
                <a:gd name="T81" fmla="*/ 446088 h 314"/>
                <a:gd name="T82" fmla="*/ 225258 w 229"/>
                <a:gd name="T83" fmla="*/ 427038 h 314"/>
                <a:gd name="T84" fmla="*/ 241348 w 229"/>
                <a:gd name="T85" fmla="*/ 415925 h 314"/>
                <a:gd name="T86" fmla="*/ 254513 w 229"/>
                <a:gd name="T87" fmla="*/ 384175 h 314"/>
                <a:gd name="T88" fmla="*/ 261826 w 229"/>
                <a:gd name="T89" fmla="*/ 346075 h 314"/>
                <a:gd name="T90" fmla="*/ 260363 w 229"/>
                <a:gd name="T91" fmla="*/ 319087 h 314"/>
                <a:gd name="T92" fmla="*/ 264752 w 229"/>
                <a:gd name="T93" fmla="*/ 304800 h 314"/>
                <a:gd name="T94" fmla="*/ 289618 w 229"/>
                <a:gd name="T95" fmla="*/ 311150 h 314"/>
                <a:gd name="T96" fmla="*/ 308633 w 229"/>
                <a:gd name="T97" fmla="*/ 319087 h 314"/>
                <a:gd name="T98" fmla="*/ 308633 w 229"/>
                <a:gd name="T99" fmla="*/ 311150 h 314"/>
                <a:gd name="T100" fmla="*/ 314484 w 229"/>
                <a:gd name="T101" fmla="*/ 304800 h 314"/>
                <a:gd name="T102" fmla="*/ 324723 w 229"/>
                <a:gd name="T103" fmla="*/ 295275 h 314"/>
                <a:gd name="T104" fmla="*/ 334962 w 229"/>
                <a:gd name="T105" fmla="*/ 273050 h 314"/>
                <a:gd name="T106" fmla="*/ 318872 w 229"/>
                <a:gd name="T107" fmla="*/ 249238 h 314"/>
                <a:gd name="T108" fmla="*/ 305708 w 229"/>
                <a:gd name="T109" fmla="*/ 207963 h 314"/>
                <a:gd name="T110" fmla="*/ 327648 w 229"/>
                <a:gd name="T111" fmla="*/ 177800 h 314"/>
                <a:gd name="T112" fmla="*/ 332037 w 229"/>
                <a:gd name="T113" fmla="*/ 155575 h 314"/>
                <a:gd name="T114" fmla="*/ 324723 w 229"/>
                <a:gd name="T115" fmla="*/ 138112 h 314"/>
                <a:gd name="T116" fmla="*/ 292543 w 229"/>
                <a:gd name="T117" fmla="*/ 117475 h 314"/>
                <a:gd name="T118" fmla="*/ 276453 w 229"/>
                <a:gd name="T119" fmla="*/ 96837 h 314"/>
                <a:gd name="T120" fmla="*/ 280842 w 229"/>
                <a:gd name="T121" fmla="*/ 73025 h 3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29"/>
                <a:gd name="T184" fmla="*/ 0 h 314"/>
                <a:gd name="T185" fmla="*/ 229 w 229"/>
                <a:gd name="T186" fmla="*/ 314 h 3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29" h="314">
                  <a:moveTo>
                    <a:pt x="187" y="33"/>
                  </a:moveTo>
                  <a:lnTo>
                    <a:pt x="183" y="29"/>
                  </a:lnTo>
                  <a:lnTo>
                    <a:pt x="178" y="24"/>
                  </a:lnTo>
                  <a:lnTo>
                    <a:pt x="174" y="27"/>
                  </a:lnTo>
                  <a:lnTo>
                    <a:pt x="166" y="29"/>
                  </a:lnTo>
                  <a:lnTo>
                    <a:pt x="155" y="14"/>
                  </a:lnTo>
                  <a:lnTo>
                    <a:pt x="142" y="0"/>
                  </a:lnTo>
                  <a:lnTo>
                    <a:pt x="139" y="5"/>
                  </a:lnTo>
                  <a:lnTo>
                    <a:pt x="133" y="16"/>
                  </a:lnTo>
                  <a:lnTo>
                    <a:pt x="130" y="22"/>
                  </a:lnTo>
                  <a:lnTo>
                    <a:pt x="130" y="26"/>
                  </a:lnTo>
                  <a:lnTo>
                    <a:pt x="131" y="29"/>
                  </a:lnTo>
                  <a:lnTo>
                    <a:pt x="135" y="31"/>
                  </a:lnTo>
                  <a:lnTo>
                    <a:pt x="131" y="48"/>
                  </a:lnTo>
                  <a:lnTo>
                    <a:pt x="130" y="66"/>
                  </a:lnTo>
                  <a:lnTo>
                    <a:pt x="124" y="57"/>
                  </a:lnTo>
                  <a:lnTo>
                    <a:pt x="118" y="48"/>
                  </a:lnTo>
                  <a:lnTo>
                    <a:pt x="111" y="50"/>
                  </a:lnTo>
                  <a:lnTo>
                    <a:pt x="109" y="53"/>
                  </a:lnTo>
                  <a:lnTo>
                    <a:pt x="106" y="46"/>
                  </a:lnTo>
                  <a:lnTo>
                    <a:pt x="102" y="40"/>
                  </a:lnTo>
                  <a:lnTo>
                    <a:pt x="94" y="44"/>
                  </a:lnTo>
                  <a:lnTo>
                    <a:pt x="87" y="50"/>
                  </a:lnTo>
                  <a:lnTo>
                    <a:pt x="80" y="48"/>
                  </a:lnTo>
                  <a:lnTo>
                    <a:pt x="74" y="48"/>
                  </a:lnTo>
                  <a:lnTo>
                    <a:pt x="67" y="57"/>
                  </a:lnTo>
                  <a:lnTo>
                    <a:pt x="54" y="66"/>
                  </a:lnTo>
                  <a:lnTo>
                    <a:pt x="48" y="57"/>
                  </a:lnTo>
                  <a:lnTo>
                    <a:pt x="43" y="51"/>
                  </a:lnTo>
                  <a:lnTo>
                    <a:pt x="35" y="48"/>
                  </a:lnTo>
                  <a:lnTo>
                    <a:pt x="28" y="46"/>
                  </a:lnTo>
                  <a:lnTo>
                    <a:pt x="22" y="42"/>
                  </a:lnTo>
                  <a:lnTo>
                    <a:pt x="21" y="38"/>
                  </a:lnTo>
                  <a:lnTo>
                    <a:pt x="24" y="29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22" y="16"/>
                  </a:lnTo>
                  <a:lnTo>
                    <a:pt x="15" y="14"/>
                  </a:lnTo>
                  <a:lnTo>
                    <a:pt x="8" y="14"/>
                  </a:lnTo>
                  <a:lnTo>
                    <a:pt x="4" y="18"/>
                  </a:lnTo>
                  <a:lnTo>
                    <a:pt x="2" y="22"/>
                  </a:lnTo>
                  <a:lnTo>
                    <a:pt x="0" y="33"/>
                  </a:lnTo>
                  <a:lnTo>
                    <a:pt x="2" y="48"/>
                  </a:lnTo>
                  <a:lnTo>
                    <a:pt x="0" y="74"/>
                  </a:lnTo>
                  <a:lnTo>
                    <a:pt x="0" y="98"/>
                  </a:lnTo>
                  <a:lnTo>
                    <a:pt x="2" y="127"/>
                  </a:lnTo>
                  <a:lnTo>
                    <a:pt x="4" y="157"/>
                  </a:lnTo>
                  <a:lnTo>
                    <a:pt x="8" y="186"/>
                  </a:lnTo>
                  <a:lnTo>
                    <a:pt x="11" y="216"/>
                  </a:lnTo>
                  <a:lnTo>
                    <a:pt x="8" y="229"/>
                  </a:lnTo>
                  <a:lnTo>
                    <a:pt x="6" y="244"/>
                  </a:lnTo>
                  <a:lnTo>
                    <a:pt x="4" y="255"/>
                  </a:lnTo>
                  <a:lnTo>
                    <a:pt x="4" y="268"/>
                  </a:lnTo>
                  <a:lnTo>
                    <a:pt x="11" y="268"/>
                  </a:lnTo>
                  <a:lnTo>
                    <a:pt x="17" y="268"/>
                  </a:lnTo>
                  <a:lnTo>
                    <a:pt x="22" y="271"/>
                  </a:lnTo>
                  <a:lnTo>
                    <a:pt x="28" y="277"/>
                  </a:lnTo>
                  <a:lnTo>
                    <a:pt x="35" y="290"/>
                  </a:lnTo>
                  <a:lnTo>
                    <a:pt x="43" y="306"/>
                  </a:lnTo>
                  <a:lnTo>
                    <a:pt x="46" y="299"/>
                  </a:lnTo>
                  <a:lnTo>
                    <a:pt x="50" y="292"/>
                  </a:lnTo>
                  <a:lnTo>
                    <a:pt x="54" y="286"/>
                  </a:lnTo>
                  <a:lnTo>
                    <a:pt x="58" y="284"/>
                  </a:lnTo>
                  <a:lnTo>
                    <a:pt x="67" y="281"/>
                  </a:lnTo>
                  <a:lnTo>
                    <a:pt x="78" y="277"/>
                  </a:lnTo>
                  <a:lnTo>
                    <a:pt x="82" y="275"/>
                  </a:lnTo>
                  <a:lnTo>
                    <a:pt x="83" y="271"/>
                  </a:lnTo>
                  <a:lnTo>
                    <a:pt x="87" y="271"/>
                  </a:lnTo>
                  <a:lnTo>
                    <a:pt x="93" y="271"/>
                  </a:lnTo>
                  <a:lnTo>
                    <a:pt x="96" y="277"/>
                  </a:lnTo>
                  <a:lnTo>
                    <a:pt x="98" y="282"/>
                  </a:lnTo>
                  <a:lnTo>
                    <a:pt x="98" y="288"/>
                  </a:lnTo>
                  <a:lnTo>
                    <a:pt x="98" y="293"/>
                  </a:lnTo>
                  <a:lnTo>
                    <a:pt x="98" y="301"/>
                  </a:lnTo>
                  <a:lnTo>
                    <a:pt x="98" y="306"/>
                  </a:lnTo>
                  <a:lnTo>
                    <a:pt x="102" y="310"/>
                  </a:lnTo>
                  <a:lnTo>
                    <a:pt x="107" y="314"/>
                  </a:lnTo>
                  <a:lnTo>
                    <a:pt x="117" y="310"/>
                  </a:lnTo>
                  <a:lnTo>
                    <a:pt x="124" y="306"/>
                  </a:lnTo>
                  <a:lnTo>
                    <a:pt x="130" y="299"/>
                  </a:lnTo>
                  <a:lnTo>
                    <a:pt x="135" y="293"/>
                  </a:lnTo>
                  <a:lnTo>
                    <a:pt x="141" y="281"/>
                  </a:lnTo>
                  <a:lnTo>
                    <a:pt x="148" y="269"/>
                  </a:lnTo>
                  <a:lnTo>
                    <a:pt x="154" y="269"/>
                  </a:lnTo>
                  <a:lnTo>
                    <a:pt x="161" y="269"/>
                  </a:lnTo>
                  <a:lnTo>
                    <a:pt x="165" y="262"/>
                  </a:lnTo>
                  <a:lnTo>
                    <a:pt x="166" y="253"/>
                  </a:lnTo>
                  <a:lnTo>
                    <a:pt x="174" y="242"/>
                  </a:lnTo>
                  <a:lnTo>
                    <a:pt x="181" y="231"/>
                  </a:lnTo>
                  <a:lnTo>
                    <a:pt x="179" y="218"/>
                  </a:lnTo>
                  <a:lnTo>
                    <a:pt x="178" y="207"/>
                  </a:lnTo>
                  <a:lnTo>
                    <a:pt x="178" y="201"/>
                  </a:lnTo>
                  <a:lnTo>
                    <a:pt x="179" y="197"/>
                  </a:lnTo>
                  <a:lnTo>
                    <a:pt x="181" y="192"/>
                  </a:lnTo>
                  <a:lnTo>
                    <a:pt x="187" y="188"/>
                  </a:lnTo>
                  <a:lnTo>
                    <a:pt x="198" y="196"/>
                  </a:lnTo>
                  <a:lnTo>
                    <a:pt x="209" y="203"/>
                  </a:lnTo>
                  <a:lnTo>
                    <a:pt x="211" y="201"/>
                  </a:lnTo>
                  <a:lnTo>
                    <a:pt x="211" y="197"/>
                  </a:lnTo>
                  <a:lnTo>
                    <a:pt x="211" y="196"/>
                  </a:lnTo>
                  <a:lnTo>
                    <a:pt x="213" y="194"/>
                  </a:lnTo>
                  <a:lnTo>
                    <a:pt x="215" y="192"/>
                  </a:lnTo>
                  <a:lnTo>
                    <a:pt x="218" y="192"/>
                  </a:lnTo>
                  <a:lnTo>
                    <a:pt x="222" y="186"/>
                  </a:lnTo>
                  <a:lnTo>
                    <a:pt x="226" y="179"/>
                  </a:lnTo>
                  <a:lnTo>
                    <a:pt x="229" y="172"/>
                  </a:lnTo>
                  <a:lnTo>
                    <a:pt x="229" y="166"/>
                  </a:lnTo>
                  <a:lnTo>
                    <a:pt x="218" y="157"/>
                  </a:lnTo>
                  <a:lnTo>
                    <a:pt x="207" y="144"/>
                  </a:lnTo>
                  <a:lnTo>
                    <a:pt x="209" y="131"/>
                  </a:lnTo>
                  <a:lnTo>
                    <a:pt x="215" y="120"/>
                  </a:lnTo>
                  <a:lnTo>
                    <a:pt x="224" y="112"/>
                  </a:lnTo>
                  <a:lnTo>
                    <a:pt x="227" y="103"/>
                  </a:lnTo>
                  <a:lnTo>
                    <a:pt x="227" y="98"/>
                  </a:lnTo>
                  <a:lnTo>
                    <a:pt x="226" y="92"/>
                  </a:lnTo>
                  <a:lnTo>
                    <a:pt x="222" y="87"/>
                  </a:lnTo>
                  <a:lnTo>
                    <a:pt x="218" y="83"/>
                  </a:lnTo>
                  <a:lnTo>
                    <a:pt x="200" y="74"/>
                  </a:lnTo>
                  <a:lnTo>
                    <a:pt x="181" y="68"/>
                  </a:lnTo>
                  <a:lnTo>
                    <a:pt x="189" y="61"/>
                  </a:lnTo>
                  <a:lnTo>
                    <a:pt x="194" y="55"/>
                  </a:lnTo>
                  <a:lnTo>
                    <a:pt x="192" y="46"/>
                  </a:lnTo>
                  <a:lnTo>
                    <a:pt x="187" y="33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51" name="Freeform 48"/>
            <p:cNvSpPr>
              <a:spLocks/>
            </p:cNvSpPr>
            <p:nvPr/>
          </p:nvSpPr>
          <p:spPr bwMode="auto">
            <a:xfrm>
              <a:off x="1655107" y="4002401"/>
              <a:ext cx="609754" cy="643629"/>
            </a:xfrm>
            <a:custGeom>
              <a:avLst/>
              <a:gdLst>
                <a:gd name="T0" fmla="*/ 383931 w 351"/>
                <a:gd name="T1" fmla="*/ 504825 h 342"/>
                <a:gd name="T2" fmla="*/ 386862 w 351"/>
                <a:gd name="T3" fmla="*/ 460375 h 342"/>
                <a:gd name="T4" fmla="*/ 414704 w 351"/>
                <a:gd name="T5" fmla="*/ 449263 h 342"/>
                <a:gd name="T6" fmla="*/ 476250 w 351"/>
                <a:gd name="T7" fmla="*/ 442913 h 342"/>
                <a:gd name="T8" fmla="*/ 514350 w 351"/>
                <a:gd name="T9" fmla="*/ 434975 h 342"/>
                <a:gd name="T10" fmla="*/ 486508 w 351"/>
                <a:gd name="T11" fmla="*/ 358775 h 342"/>
                <a:gd name="T12" fmla="*/ 457200 w 351"/>
                <a:gd name="T13" fmla="*/ 349250 h 342"/>
                <a:gd name="T14" fmla="*/ 446942 w 351"/>
                <a:gd name="T15" fmla="*/ 325437 h 342"/>
                <a:gd name="T16" fmla="*/ 430823 w 351"/>
                <a:gd name="T17" fmla="*/ 311150 h 342"/>
                <a:gd name="T18" fmla="*/ 414704 w 351"/>
                <a:gd name="T19" fmla="*/ 290512 h 342"/>
                <a:gd name="T20" fmla="*/ 416169 w 351"/>
                <a:gd name="T21" fmla="*/ 269875 h 342"/>
                <a:gd name="T22" fmla="*/ 457200 w 351"/>
                <a:gd name="T23" fmla="*/ 206375 h 342"/>
                <a:gd name="T24" fmla="*/ 441081 w 351"/>
                <a:gd name="T25" fmla="*/ 169862 h 342"/>
                <a:gd name="T26" fmla="*/ 422031 w 351"/>
                <a:gd name="T27" fmla="*/ 150812 h 342"/>
                <a:gd name="T28" fmla="*/ 400050 w 351"/>
                <a:gd name="T29" fmla="*/ 150812 h 342"/>
                <a:gd name="T30" fmla="*/ 376604 w 351"/>
                <a:gd name="T31" fmla="*/ 127000 h 342"/>
                <a:gd name="T32" fmla="*/ 361950 w 351"/>
                <a:gd name="T33" fmla="*/ 103188 h 342"/>
                <a:gd name="T34" fmla="*/ 351692 w 351"/>
                <a:gd name="T35" fmla="*/ 76200 h 342"/>
                <a:gd name="T36" fmla="*/ 310662 w 351"/>
                <a:gd name="T37" fmla="*/ 55563 h 342"/>
                <a:gd name="T38" fmla="*/ 274027 w 351"/>
                <a:gd name="T39" fmla="*/ 20637 h 342"/>
                <a:gd name="T40" fmla="*/ 249115 w 351"/>
                <a:gd name="T41" fmla="*/ 3175 h 342"/>
                <a:gd name="T42" fmla="*/ 221273 w 351"/>
                <a:gd name="T43" fmla="*/ 20637 h 342"/>
                <a:gd name="T44" fmla="*/ 167054 w 351"/>
                <a:gd name="T45" fmla="*/ 55563 h 342"/>
                <a:gd name="T46" fmla="*/ 178777 w 351"/>
                <a:gd name="T47" fmla="*/ 96837 h 342"/>
                <a:gd name="T48" fmla="*/ 172915 w 351"/>
                <a:gd name="T49" fmla="*/ 134938 h 342"/>
                <a:gd name="T50" fmla="*/ 150935 w 351"/>
                <a:gd name="T51" fmla="*/ 168275 h 342"/>
                <a:gd name="T52" fmla="*/ 115765 w 351"/>
                <a:gd name="T53" fmla="*/ 241300 h 342"/>
                <a:gd name="T54" fmla="*/ 95250 w 351"/>
                <a:gd name="T55" fmla="*/ 273050 h 342"/>
                <a:gd name="T56" fmla="*/ 61546 w 351"/>
                <a:gd name="T57" fmla="*/ 269875 h 342"/>
                <a:gd name="T58" fmla="*/ 29308 w 351"/>
                <a:gd name="T59" fmla="*/ 273050 h 342"/>
                <a:gd name="T60" fmla="*/ 24912 w 351"/>
                <a:gd name="T61" fmla="*/ 293687 h 342"/>
                <a:gd name="T62" fmla="*/ 13188 w 351"/>
                <a:gd name="T63" fmla="*/ 323850 h 342"/>
                <a:gd name="T64" fmla="*/ 0 w 351"/>
                <a:gd name="T65" fmla="*/ 396875 h 342"/>
                <a:gd name="T66" fmla="*/ 26377 w 351"/>
                <a:gd name="T67" fmla="*/ 438150 h 342"/>
                <a:gd name="T68" fmla="*/ 38100 w 351"/>
                <a:gd name="T69" fmla="*/ 463550 h 342"/>
                <a:gd name="T70" fmla="*/ 60081 w 351"/>
                <a:gd name="T71" fmla="*/ 439738 h 342"/>
                <a:gd name="T72" fmla="*/ 115765 w 351"/>
                <a:gd name="T73" fmla="*/ 460375 h 342"/>
                <a:gd name="T74" fmla="*/ 127488 w 351"/>
                <a:gd name="T75" fmla="*/ 458788 h 342"/>
                <a:gd name="T76" fmla="*/ 134815 w 351"/>
                <a:gd name="T77" fmla="*/ 439738 h 342"/>
                <a:gd name="T78" fmla="*/ 167054 w 351"/>
                <a:gd name="T79" fmla="*/ 476250 h 342"/>
                <a:gd name="T80" fmla="*/ 186104 w 351"/>
                <a:gd name="T81" fmla="*/ 463550 h 342"/>
                <a:gd name="T82" fmla="*/ 186104 w 351"/>
                <a:gd name="T83" fmla="*/ 463550 h 342"/>
                <a:gd name="T84" fmla="*/ 202223 w 351"/>
                <a:gd name="T85" fmla="*/ 452438 h 342"/>
                <a:gd name="T86" fmla="*/ 224204 w 351"/>
                <a:gd name="T87" fmla="*/ 460375 h 342"/>
                <a:gd name="T88" fmla="*/ 240323 w 351"/>
                <a:gd name="T89" fmla="*/ 466725 h 342"/>
                <a:gd name="T90" fmla="*/ 275492 w 351"/>
                <a:gd name="T91" fmla="*/ 487363 h 342"/>
                <a:gd name="T92" fmla="*/ 294542 w 351"/>
                <a:gd name="T93" fmla="*/ 490538 h 342"/>
                <a:gd name="T94" fmla="*/ 306265 w 351"/>
                <a:gd name="T95" fmla="*/ 517525 h 342"/>
                <a:gd name="T96" fmla="*/ 329712 w 351"/>
                <a:gd name="T97" fmla="*/ 539750 h 34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51"/>
                <a:gd name="T148" fmla="*/ 0 h 342"/>
                <a:gd name="T149" fmla="*/ 351 w 351"/>
                <a:gd name="T150" fmla="*/ 342 h 34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51" h="342">
                  <a:moveTo>
                    <a:pt x="249" y="333"/>
                  </a:moveTo>
                  <a:lnTo>
                    <a:pt x="257" y="326"/>
                  </a:lnTo>
                  <a:lnTo>
                    <a:pt x="262" y="318"/>
                  </a:lnTo>
                  <a:lnTo>
                    <a:pt x="264" y="309"/>
                  </a:lnTo>
                  <a:lnTo>
                    <a:pt x="264" y="298"/>
                  </a:lnTo>
                  <a:lnTo>
                    <a:pt x="264" y="290"/>
                  </a:lnTo>
                  <a:lnTo>
                    <a:pt x="268" y="287"/>
                  </a:lnTo>
                  <a:lnTo>
                    <a:pt x="273" y="285"/>
                  </a:lnTo>
                  <a:lnTo>
                    <a:pt x="283" y="283"/>
                  </a:lnTo>
                  <a:lnTo>
                    <a:pt x="301" y="283"/>
                  </a:lnTo>
                  <a:lnTo>
                    <a:pt x="320" y="285"/>
                  </a:lnTo>
                  <a:lnTo>
                    <a:pt x="325" y="279"/>
                  </a:lnTo>
                  <a:lnTo>
                    <a:pt x="332" y="276"/>
                  </a:lnTo>
                  <a:lnTo>
                    <a:pt x="340" y="274"/>
                  </a:lnTo>
                  <a:lnTo>
                    <a:pt x="351" y="274"/>
                  </a:lnTo>
                  <a:lnTo>
                    <a:pt x="342" y="257"/>
                  </a:lnTo>
                  <a:lnTo>
                    <a:pt x="334" y="241"/>
                  </a:lnTo>
                  <a:lnTo>
                    <a:pt x="332" y="226"/>
                  </a:lnTo>
                  <a:lnTo>
                    <a:pt x="332" y="218"/>
                  </a:lnTo>
                  <a:lnTo>
                    <a:pt x="321" y="218"/>
                  </a:lnTo>
                  <a:lnTo>
                    <a:pt x="312" y="220"/>
                  </a:lnTo>
                  <a:lnTo>
                    <a:pt x="308" y="215"/>
                  </a:lnTo>
                  <a:lnTo>
                    <a:pt x="307" y="209"/>
                  </a:lnTo>
                  <a:lnTo>
                    <a:pt x="305" y="205"/>
                  </a:lnTo>
                  <a:lnTo>
                    <a:pt x="303" y="202"/>
                  </a:lnTo>
                  <a:lnTo>
                    <a:pt x="299" y="200"/>
                  </a:lnTo>
                  <a:lnTo>
                    <a:pt x="294" y="196"/>
                  </a:lnTo>
                  <a:lnTo>
                    <a:pt x="290" y="192"/>
                  </a:lnTo>
                  <a:lnTo>
                    <a:pt x="284" y="187"/>
                  </a:lnTo>
                  <a:lnTo>
                    <a:pt x="283" y="183"/>
                  </a:lnTo>
                  <a:lnTo>
                    <a:pt x="283" y="180"/>
                  </a:lnTo>
                  <a:lnTo>
                    <a:pt x="283" y="176"/>
                  </a:lnTo>
                  <a:lnTo>
                    <a:pt x="284" y="170"/>
                  </a:lnTo>
                  <a:lnTo>
                    <a:pt x="297" y="154"/>
                  </a:lnTo>
                  <a:lnTo>
                    <a:pt x="312" y="137"/>
                  </a:lnTo>
                  <a:lnTo>
                    <a:pt x="312" y="130"/>
                  </a:lnTo>
                  <a:lnTo>
                    <a:pt x="310" y="122"/>
                  </a:lnTo>
                  <a:lnTo>
                    <a:pt x="307" y="115"/>
                  </a:lnTo>
                  <a:lnTo>
                    <a:pt x="301" y="107"/>
                  </a:lnTo>
                  <a:lnTo>
                    <a:pt x="295" y="100"/>
                  </a:lnTo>
                  <a:lnTo>
                    <a:pt x="292" y="96"/>
                  </a:lnTo>
                  <a:lnTo>
                    <a:pt x="288" y="95"/>
                  </a:lnTo>
                  <a:lnTo>
                    <a:pt x="284" y="95"/>
                  </a:lnTo>
                  <a:lnTo>
                    <a:pt x="279" y="95"/>
                  </a:lnTo>
                  <a:lnTo>
                    <a:pt x="273" y="95"/>
                  </a:lnTo>
                  <a:lnTo>
                    <a:pt x="270" y="85"/>
                  </a:lnTo>
                  <a:lnTo>
                    <a:pt x="266" y="78"/>
                  </a:lnTo>
                  <a:lnTo>
                    <a:pt x="257" y="80"/>
                  </a:lnTo>
                  <a:lnTo>
                    <a:pt x="249" y="80"/>
                  </a:lnTo>
                  <a:lnTo>
                    <a:pt x="247" y="74"/>
                  </a:lnTo>
                  <a:lnTo>
                    <a:pt x="247" y="65"/>
                  </a:lnTo>
                  <a:lnTo>
                    <a:pt x="247" y="61"/>
                  </a:lnTo>
                  <a:lnTo>
                    <a:pt x="246" y="56"/>
                  </a:lnTo>
                  <a:lnTo>
                    <a:pt x="240" y="48"/>
                  </a:lnTo>
                  <a:lnTo>
                    <a:pt x="233" y="43"/>
                  </a:lnTo>
                  <a:lnTo>
                    <a:pt x="223" y="39"/>
                  </a:lnTo>
                  <a:lnTo>
                    <a:pt x="212" y="35"/>
                  </a:lnTo>
                  <a:lnTo>
                    <a:pt x="201" y="30"/>
                  </a:lnTo>
                  <a:lnTo>
                    <a:pt x="194" y="22"/>
                  </a:lnTo>
                  <a:lnTo>
                    <a:pt x="187" y="13"/>
                  </a:lnTo>
                  <a:lnTo>
                    <a:pt x="179" y="6"/>
                  </a:lnTo>
                  <a:lnTo>
                    <a:pt x="174" y="4"/>
                  </a:lnTo>
                  <a:lnTo>
                    <a:pt x="170" y="2"/>
                  </a:lnTo>
                  <a:lnTo>
                    <a:pt x="166" y="0"/>
                  </a:lnTo>
                  <a:lnTo>
                    <a:pt x="161" y="0"/>
                  </a:lnTo>
                  <a:lnTo>
                    <a:pt x="151" y="13"/>
                  </a:lnTo>
                  <a:lnTo>
                    <a:pt x="144" y="28"/>
                  </a:lnTo>
                  <a:lnTo>
                    <a:pt x="131" y="34"/>
                  </a:lnTo>
                  <a:lnTo>
                    <a:pt x="114" y="35"/>
                  </a:lnTo>
                  <a:lnTo>
                    <a:pt x="118" y="45"/>
                  </a:lnTo>
                  <a:lnTo>
                    <a:pt x="120" y="52"/>
                  </a:lnTo>
                  <a:lnTo>
                    <a:pt x="122" y="61"/>
                  </a:lnTo>
                  <a:lnTo>
                    <a:pt x="122" y="69"/>
                  </a:lnTo>
                  <a:lnTo>
                    <a:pt x="120" y="76"/>
                  </a:lnTo>
                  <a:lnTo>
                    <a:pt x="118" y="85"/>
                  </a:lnTo>
                  <a:lnTo>
                    <a:pt x="116" y="91"/>
                  </a:lnTo>
                  <a:lnTo>
                    <a:pt x="113" y="98"/>
                  </a:lnTo>
                  <a:lnTo>
                    <a:pt x="103" y="106"/>
                  </a:lnTo>
                  <a:lnTo>
                    <a:pt x="92" y="111"/>
                  </a:lnTo>
                  <a:lnTo>
                    <a:pt x="87" y="130"/>
                  </a:lnTo>
                  <a:lnTo>
                    <a:pt x="79" y="152"/>
                  </a:lnTo>
                  <a:lnTo>
                    <a:pt x="76" y="161"/>
                  </a:lnTo>
                  <a:lnTo>
                    <a:pt x="70" y="168"/>
                  </a:lnTo>
                  <a:lnTo>
                    <a:pt x="65" y="172"/>
                  </a:lnTo>
                  <a:lnTo>
                    <a:pt x="59" y="174"/>
                  </a:lnTo>
                  <a:lnTo>
                    <a:pt x="50" y="172"/>
                  </a:lnTo>
                  <a:lnTo>
                    <a:pt x="42" y="170"/>
                  </a:lnTo>
                  <a:lnTo>
                    <a:pt x="33" y="168"/>
                  </a:lnTo>
                  <a:lnTo>
                    <a:pt x="26" y="170"/>
                  </a:lnTo>
                  <a:lnTo>
                    <a:pt x="20" y="172"/>
                  </a:lnTo>
                  <a:lnTo>
                    <a:pt x="18" y="176"/>
                  </a:lnTo>
                  <a:lnTo>
                    <a:pt x="18" y="180"/>
                  </a:lnTo>
                  <a:lnTo>
                    <a:pt x="17" y="185"/>
                  </a:lnTo>
                  <a:lnTo>
                    <a:pt x="7" y="191"/>
                  </a:lnTo>
                  <a:lnTo>
                    <a:pt x="2" y="194"/>
                  </a:lnTo>
                  <a:lnTo>
                    <a:pt x="9" y="204"/>
                  </a:lnTo>
                  <a:lnTo>
                    <a:pt x="17" y="220"/>
                  </a:lnTo>
                  <a:lnTo>
                    <a:pt x="9" y="233"/>
                  </a:lnTo>
                  <a:lnTo>
                    <a:pt x="0" y="250"/>
                  </a:lnTo>
                  <a:lnTo>
                    <a:pt x="5" y="257"/>
                  </a:lnTo>
                  <a:lnTo>
                    <a:pt x="15" y="268"/>
                  </a:lnTo>
                  <a:lnTo>
                    <a:pt x="18" y="276"/>
                  </a:lnTo>
                  <a:lnTo>
                    <a:pt x="22" y="281"/>
                  </a:lnTo>
                  <a:lnTo>
                    <a:pt x="26" y="287"/>
                  </a:lnTo>
                  <a:lnTo>
                    <a:pt x="26" y="292"/>
                  </a:lnTo>
                  <a:lnTo>
                    <a:pt x="28" y="290"/>
                  </a:lnTo>
                  <a:lnTo>
                    <a:pt x="33" y="283"/>
                  </a:lnTo>
                  <a:lnTo>
                    <a:pt x="41" y="277"/>
                  </a:lnTo>
                  <a:lnTo>
                    <a:pt x="50" y="276"/>
                  </a:lnTo>
                  <a:lnTo>
                    <a:pt x="66" y="283"/>
                  </a:lnTo>
                  <a:lnTo>
                    <a:pt x="79" y="290"/>
                  </a:lnTo>
                  <a:lnTo>
                    <a:pt x="83" y="290"/>
                  </a:lnTo>
                  <a:lnTo>
                    <a:pt x="85" y="290"/>
                  </a:lnTo>
                  <a:lnTo>
                    <a:pt x="87" y="289"/>
                  </a:lnTo>
                  <a:lnTo>
                    <a:pt x="89" y="285"/>
                  </a:lnTo>
                  <a:lnTo>
                    <a:pt x="90" y="279"/>
                  </a:lnTo>
                  <a:lnTo>
                    <a:pt x="92" y="277"/>
                  </a:lnTo>
                  <a:lnTo>
                    <a:pt x="100" y="287"/>
                  </a:lnTo>
                  <a:lnTo>
                    <a:pt x="107" y="298"/>
                  </a:lnTo>
                  <a:lnTo>
                    <a:pt x="114" y="300"/>
                  </a:lnTo>
                  <a:lnTo>
                    <a:pt x="118" y="298"/>
                  </a:lnTo>
                  <a:lnTo>
                    <a:pt x="124" y="296"/>
                  </a:lnTo>
                  <a:lnTo>
                    <a:pt x="127" y="292"/>
                  </a:lnTo>
                  <a:lnTo>
                    <a:pt x="131" y="289"/>
                  </a:lnTo>
                  <a:lnTo>
                    <a:pt x="135" y="287"/>
                  </a:lnTo>
                  <a:lnTo>
                    <a:pt x="138" y="285"/>
                  </a:lnTo>
                  <a:lnTo>
                    <a:pt x="146" y="285"/>
                  </a:lnTo>
                  <a:lnTo>
                    <a:pt x="150" y="287"/>
                  </a:lnTo>
                  <a:lnTo>
                    <a:pt x="153" y="290"/>
                  </a:lnTo>
                  <a:lnTo>
                    <a:pt x="157" y="292"/>
                  </a:lnTo>
                  <a:lnTo>
                    <a:pt x="159" y="294"/>
                  </a:lnTo>
                  <a:lnTo>
                    <a:pt x="164" y="294"/>
                  </a:lnTo>
                  <a:lnTo>
                    <a:pt x="170" y="292"/>
                  </a:lnTo>
                  <a:lnTo>
                    <a:pt x="179" y="300"/>
                  </a:lnTo>
                  <a:lnTo>
                    <a:pt x="188" y="307"/>
                  </a:lnTo>
                  <a:lnTo>
                    <a:pt x="194" y="307"/>
                  </a:lnTo>
                  <a:lnTo>
                    <a:pt x="198" y="309"/>
                  </a:lnTo>
                  <a:lnTo>
                    <a:pt x="201" y="309"/>
                  </a:lnTo>
                  <a:lnTo>
                    <a:pt x="205" y="313"/>
                  </a:lnTo>
                  <a:lnTo>
                    <a:pt x="207" y="320"/>
                  </a:lnTo>
                  <a:lnTo>
                    <a:pt x="209" y="326"/>
                  </a:lnTo>
                  <a:lnTo>
                    <a:pt x="211" y="333"/>
                  </a:lnTo>
                  <a:lnTo>
                    <a:pt x="211" y="342"/>
                  </a:lnTo>
                  <a:lnTo>
                    <a:pt x="225" y="340"/>
                  </a:lnTo>
                  <a:lnTo>
                    <a:pt x="249" y="333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52" name="Freeform 49"/>
            <p:cNvSpPr>
              <a:spLocks/>
            </p:cNvSpPr>
            <p:nvPr/>
          </p:nvSpPr>
          <p:spPr bwMode="auto">
            <a:xfrm>
              <a:off x="1310710" y="4041920"/>
              <a:ext cx="555178" cy="641748"/>
            </a:xfrm>
            <a:custGeom>
              <a:avLst/>
              <a:gdLst>
                <a:gd name="T0" fmla="*/ 292696 w 320"/>
                <a:gd name="T1" fmla="*/ 20638 h 341"/>
                <a:gd name="T2" fmla="*/ 260499 w 320"/>
                <a:gd name="T3" fmla="*/ 38100 h 341"/>
                <a:gd name="T4" fmla="*/ 251718 w 320"/>
                <a:gd name="T5" fmla="*/ 60325 h 341"/>
                <a:gd name="T6" fmla="*/ 213668 w 320"/>
                <a:gd name="T7" fmla="*/ 55563 h 341"/>
                <a:gd name="T8" fmla="*/ 194643 w 320"/>
                <a:gd name="T9" fmla="*/ 107950 h 341"/>
                <a:gd name="T10" fmla="*/ 159519 w 320"/>
                <a:gd name="T11" fmla="*/ 111125 h 341"/>
                <a:gd name="T12" fmla="*/ 143421 w 320"/>
                <a:gd name="T13" fmla="*/ 114300 h 341"/>
                <a:gd name="T14" fmla="*/ 121469 w 320"/>
                <a:gd name="T15" fmla="*/ 73025 h 341"/>
                <a:gd name="T16" fmla="*/ 79028 w 320"/>
                <a:gd name="T17" fmla="*/ 73025 h 341"/>
                <a:gd name="T18" fmla="*/ 54149 w 320"/>
                <a:gd name="T19" fmla="*/ 52388 h 341"/>
                <a:gd name="T20" fmla="*/ 24879 w 320"/>
                <a:gd name="T21" fmla="*/ 63500 h 341"/>
                <a:gd name="T22" fmla="*/ 19025 w 320"/>
                <a:gd name="T23" fmla="*/ 93663 h 341"/>
                <a:gd name="T24" fmla="*/ 38050 w 320"/>
                <a:gd name="T25" fmla="*/ 111125 h 341"/>
                <a:gd name="T26" fmla="*/ 57076 w 320"/>
                <a:gd name="T27" fmla="*/ 136525 h 341"/>
                <a:gd name="T28" fmla="*/ 46831 w 320"/>
                <a:gd name="T29" fmla="*/ 157163 h 341"/>
                <a:gd name="T30" fmla="*/ 38050 w 320"/>
                <a:gd name="T31" fmla="*/ 149225 h 341"/>
                <a:gd name="T32" fmla="*/ 8781 w 320"/>
                <a:gd name="T33" fmla="*/ 128588 h 341"/>
                <a:gd name="T34" fmla="*/ 11708 w 320"/>
                <a:gd name="T35" fmla="*/ 173038 h 341"/>
                <a:gd name="T36" fmla="*/ 54149 w 320"/>
                <a:gd name="T37" fmla="*/ 207963 h 341"/>
                <a:gd name="T38" fmla="*/ 67320 w 320"/>
                <a:gd name="T39" fmla="*/ 231775 h 341"/>
                <a:gd name="T40" fmla="*/ 49758 w 320"/>
                <a:gd name="T41" fmla="*/ 266700 h 341"/>
                <a:gd name="T42" fmla="*/ 54149 w 320"/>
                <a:gd name="T43" fmla="*/ 325438 h 341"/>
                <a:gd name="T44" fmla="*/ 65857 w 320"/>
                <a:gd name="T45" fmla="*/ 360363 h 341"/>
                <a:gd name="T46" fmla="*/ 54149 w 320"/>
                <a:gd name="T47" fmla="*/ 381000 h 341"/>
                <a:gd name="T48" fmla="*/ 76101 w 320"/>
                <a:gd name="T49" fmla="*/ 406400 h 341"/>
                <a:gd name="T50" fmla="*/ 111224 w 320"/>
                <a:gd name="T51" fmla="*/ 419100 h 341"/>
                <a:gd name="T52" fmla="*/ 140494 w 320"/>
                <a:gd name="T53" fmla="*/ 422275 h 341"/>
                <a:gd name="T54" fmla="*/ 156592 w 320"/>
                <a:gd name="T55" fmla="*/ 409575 h 341"/>
                <a:gd name="T56" fmla="*/ 172690 w 320"/>
                <a:gd name="T57" fmla="*/ 430213 h 341"/>
                <a:gd name="T58" fmla="*/ 194643 w 320"/>
                <a:gd name="T59" fmla="*/ 460375 h 341"/>
                <a:gd name="T60" fmla="*/ 206350 w 320"/>
                <a:gd name="T61" fmla="*/ 519113 h 341"/>
                <a:gd name="T62" fmla="*/ 232693 w 320"/>
                <a:gd name="T63" fmla="*/ 519113 h 341"/>
                <a:gd name="T64" fmla="*/ 235620 w 320"/>
                <a:gd name="T65" fmla="*/ 541338 h 341"/>
                <a:gd name="T66" fmla="*/ 251718 w 320"/>
                <a:gd name="T67" fmla="*/ 533400 h 341"/>
                <a:gd name="T68" fmla="*/ 283915 w 320"/>
                <a:gd name="T69" fmla="*/ 512763 h 341"/>
                <a:gd name="T70" fmla="*/ 314648 w 320"/>
                <a:gd name="T71" fmla="*/ 506413 h 341"/>
                <a:gd name="T72" fmla="*/ 343917 w 320"/>
                <a:gd name="T73" fmla="*/ 484188 h 341"/>
                <a:gd name="T74" fmla="*/ 360016 w 320"/>
                <a:gd name="T75" fmla="*/ 460375 h 341"/>
                <a:gd name="T76" fmla="*/ 349771 w 320"/>
                <a:gd name="T77" fmla="*/ 447675 h 341"/>
                <a:gd name="T78" fmla="*/ 332209 w 320"/>
                <a:gd name="T79" fmla="*/ 450850 h 341"/>
                <a:gd name="T80" fmla="*/ 321965 w 320"/>
                <a:gd name="T81" fmla="*/ 439738 h 341"/>
                <a:gd name="T82" fmla="*/ 321965 w 320"/>
                <a:gd name="T83" fmla="*/ 412750 h 341"/>
                <a:gd name="T84" fmla="*/ 295623 w 320"/>
                <a:gd name="T85" fmla="*/ 374650 h 341"/>
                <a:gd name="T86" fmla="*/ 314648 w 320"/>
                <a:gd name="T87" fmla="*/ 315913 h 341"/>
                <a:gd name="T88" fmla="*/ 300013 w 320"/>
                <a:gd name="T89" fmla="*/ 269875 h 341"/>
                <a:gd name="T90" fmla="*/ 316111 w 320"/>
                <a:gd name="T91" fmla="*/ 246063 h 341"/>
                <a:gd name="T92" fmla="*/ 338063 w 320"/>
                <a:gd name="T93" fmla="*/ 233363 h 341"/>
                <a:gd name="T94" fmla="*/ 376114 w 320"/>
                <a:gd name="T95" fmla="*/ 242888 h 341"/>
                <a:gd name="T96" fmla="*/ 400993 w 320"/>
                <a:gd name="T97" fmla="*/ 222250 h 341"/>
                <a:gd name="T98" fmla="*/ 424409 w 320"/>
                <a:gd name="T99" fmla="*/ 142875 h 341"/>
                <a:gd name="T100" fmla="*/ 459532 w 320"/>
                <a:gd name="T101" fmla="*/ 111125 h 341"/>
                <a:gd name="T102" fmla="*/ 468313 w 320"/>
                <a:gd name="T103" fmla="*/ 76200 h 341"/>
                <a:gd name="T104" fmla="*/ 462459 w 320"/>
                <a:gd name="T105" fmla="*/ 38100 h 341"/>
                <a:gd name="T106" fmla="*/ 456605 w 320"/>
                <a:gd name="T107" fmla="*/ 22225 h 341"/>
                <a:gd name="T108" fmla="*/ 408310 w 320"/>
                <a:gd name="T109" fmla="*/ 39688 h 341"/>
                <a:gd name="T110" fmla="*/ 354162 w 320"/>
                <a:gd name="T111" fmla="*/ 22225 h 341"/>
                <a:gd name="T112" fmla="*/ 319038 w 320"/>
                <a:gd name="T113" fmla="*/ 0 h 34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0"/>
                <a:gd name="T172" fmla="*/ 0 h 341"/>
                <a:gd name="T173" fmla="*/ 320 w 320"/>
                <a:gd name="T174" fmla="*/ 341 h 34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0" h="341">
                  <a:moveTo>
                    <a:pt x="218" y="0"/>
                  </a:moveTo>
                  <a:lnTo>
                    <a:pt x="209" y="7"/>
                  </a:lnTo>
                  <a:lnTo>
                    <a:pt x="200" y="13"/>
                  </a:lnTo>
                  <a:lnTo>
                    <a:pt x="189" y="16"/>
                  </a:lnTo>
                  <a:lnTo>
                    <a:pt x="178" y="16"/>
                  </a:lnTo>
                  <a:lnTo>
                    <a:pt x="178" y="24"/>
                  </a:lnTo>
                  <a:lnTo>
                    <a:pt x="178" y="29"/>
                  </a:lnTo>
                  <a:lnTo>
                    <a:pt x="176" y="35"/>
                  </a:lnTo>
                  <a:lnTo>
                    <a:pt x="172" y="38"/>
                  </a:lnTo>
                  <a:lnTo>
                    <a:pt x="165" y="33"/>
                  </a:lnTo>
                  <a:lnTo>
                    <a:pt x="155" y="27"/>
                  </a:lnTo>
                  <a:lnTo>
                    <a:pt x="146" y="35"/>
                  </a:lnTo>
                  <a:lnTo>
                    <a:pt x="143" y="38"/>
                  </a:lnTo>
                  <a:lnTo>
                    <a:pt x="139" y="48"/>
                  </a:lnTo>
                  <a:lnTo>
                    <a:pt x="133" y="68"/>
                  </a:lnTo>
                  <a:lnTo>
                    <a:pt x="124" y="64"/>
                  </a:lnTo>
                  <a:lnTo>
                    <a:pt x="117" y="64"/>
                  </a:lnTo>
                  <a:lnTo>
                    <a:pt x="109" y="70"/>
                  </a:lnTo>
                  <a:lnTo>
                    <a:pt x="106" y="74"/>
                  </a:lnTo>
                  <a:lnTo>
                    <a:pt x="100" y="74"/>
                  </a:lnTo>
                  <a:lnTo>
                    <a:pt x="98" y="72"/>
                  </a:lnTo>
                  <a:lnTo>
                    <a:pt x="94" y="61"/>
                  </a:lnTo>
                  <a:lnTo>
                    <a:pt x="89" y="51"/>
                  </a:lnTo>
                  <a:lnTo>
                    <a:pt x="83" y="46"/>
                  </a:lnTo>
                  <a:lnTo>
                    <a:pt x="78" y="42"/>
                  </a:lnTo>
                  <a:lnTo>
                    <a:pt x="69" y="44"/>
                  </a:lnTo>
                  <a:lnTo>
                    <a:pt x="54" y="46"/>
                  </a:lnTo>
                  <a:lnTo>
                    <a:pt x="48" y="38"/>
                  </a:lnTo>
                  <a:lnTo>
                    <a:pt x="43" y="35"/>
                  </a:lnTo>
                  <a:lnTo>
                    <a:pt x="37" y="33"/>
                  </a:lnTo>
                  <a:lnTo>
                    <a:pt x="30" y="33"/>
                  </a:lnTo>
                  <a:lnTo>
                    <a:pt x="24" y="37"/>
                  </a:lnTo>
                  <a:lnTo>
                    <a:pt x="17" y="40"/>
                  </a:lnTo>
                  <a:lnTo>
                    <a:pt x="13" y="46"/>
                  </a:lnTo>
                  <a:lnTo>
                    <a:pt x="8" y="51"/>
                  </a:lnTo>
                  <a:lnTo>
                    <a:pt x="13" y="59"/>
                  </a:lnTo>
                  <a:lnTo>
                    <a:pt x="17" y="64"/>
                  </a:lnTo>
                  <a:lnTo>
                    <a:pt x="22" y="68"/>
                  </a:lnTo>
                  <a:lnTo>
                    <a:pt x="26" y="70"/>
                  </a:lnTo>
                  <a:lnTo>
                    <a:pt x="35" y="74"/>
                  </a:lnTo>
                  <a:lnTo>
                    <a:pt x="39" y="79"/>
                  </a:lnTo>
                  <a:lnTo>
                    <a:pt x="39" y="86"/>
                  </a:lnTo>
                  <a:lnTo>
                    <a:pt x="37" y="96"/>
                  </a:lnTo>
                  <a:lnTo>
                    <a:pt x="35" y="98"/>
                  </a:lnTo>
                  <a:lnTo>
                    <a:pt x="32" y="99"/>
                  </a:lnTo>
                  <a:lnTo>
                    <a:pt x="30" y="98"/>
                  </a:lnTo>
                  <a:lnTo>
                    <a:pt x="26" y="94"/>
                  </a:lnTo>
                  <a:lnTo>
                    <a:pt x="21" y="90"/>
                  </a:lnTo>
                  <a:lnTo>
                    <a:pt x="13" y="85"/>
                  </a:lnTo>
                  <a:lnTo>
                    <a:pt x="6" y="81"/>
                  </a:lnTo>
                  <a:lnTo>
                    <a:pt x="11" y="94"/>
                  </a:lnTo>
                  <a:lnTo>
                    <a:pt x="13" y="103"/>
                  </a:lnTo>
                  <a:lnTo>
                    <a:pt x="8" y="109"/>
                  </a:lnTo>
                  <a:lnTo>
                    <a:pt x="0" y="116"/>
                  </a:lnTo>
                  <a:lnTo>
                    <a:pt x="19" y="122"/>
                  </a:lnTo>
                  <a:lnTo>
                    <a:pt x="37" y="131"/>
                  </a:lnTo>
                  <a:lnTo>
                    <a:pt x="41" y="135"/>
                  </a:lnTo>
                  <a:lnTo>
                    <a:pt x="45" y="140"/>
                  </a:lnTo>
                  <a:lnTo>
                    <a:pt x="46" y="146"/>
                  </a:lnTo>
                  <a:lnTo>
                    <a:pt x="46" y="151"/>
                  </a:lnTo>
                  <a:lnTo>
                    <a:pt x="43" y="160"/>
                  </a:lnTo>
                  <a:lnTo>
                    <a:pt x="34" y="168"/>
                  </a:lnTo>
                  <a:lnTo>
                    <a:pt x="28" y="179"/>
                  </a:lnTo>
                  <a:lnTo>
                    <a:pt x="26" y="192"/>
                  </a:lnTo>
                  <a:lnTo>
                    <a:pt x="37" y="205"/>
                  </a:lnTo>
                  <a:lnTo>
                    <a:pt x="48" y="214"/>
                  </a:lnTo>
                  <a:lnTo>
                    <a:pt x="48" y="220"/>
                  </a:lnTo>
                  <a:lnTo>
                    <a:pt x="45" y="227"/>
                  </a:lnTo>
                  <a:lnTo>
                    <a:pt x="41" y="234"/>
                  </a:lnTo>
                  <a:lnTo>
                    <a:pt x="37" y="240"/>
                  </a:lnTo>
                  <a:lnTo>
                    <a:pt x="41" y="245"/>
                  </a:lnTo>
                  <a:lnTo>
                    <a:pt x="46" y="251"/>
                  </a:lnTo>
                  <a:lnTo>
                    <a:pt x="52" y="256"/>
                  </a:lnTo>
                  <a:lnTo>
                    <a:pt x="59" y="260"/>
                  </a:lnTo>
                  <a:lnTo>
                    <a:pt x="67" y="262"/>
                  </a:lnTo>
                  <a:lnTo>
                    <a:pt x="76" y="264"/>
                  </a:lnTo>
                  <a:lnTo>
                    <a:pt x="83" y="264"/>
                  </a:lnTo>
                  <a:lnTo>
                    <a:pt x="91" y="264"/>
                  </a:lnTo>
                  <a:lnTo>
                    <a:pt x="96" y="266"/>
                  </a:lnTo>
                  <a:lnTo>
                    <a:pt x="100" y="264"/>
                  </a:lnTo>
                  <a:lnTo>
                    <a:pt x="106" y="262"/>
                  </a:lnTo>
                  <a:lnTo>
                    <a:pt x="107" y="258"/>
                  </a:lnTo>
                  <a:lnTo>
                    <a:pt x="113" y="260"/>
                  </a:lnTo>
                  <a:lnTo>
                    <a:pt x="118" y="264"/>
                  </a:lnTo>
                  <a:lnTo>
                    <a:pt x="118" y="271"/>
                  </a:lnTo>
                  <a:lnTo>
                    <a:pt x="120" y="280"/>
                  </a:lnTo>
                  <a:lnTo>
                    <a:pt x="126" y="286"/>
                  </a:lnTo>
                  <a:lnTo>
                    <a:pt x="133" y="290"/>
                  </a:lnTo>
                  <a:lnTo>
                    <a:pt x="135" y="306"/>
                  </a:lnTo>
                  <a:lnTo>
                    <a:pt x="137" y="323"/>
                  </a:lnTo>
                  <a:lnTo>
                    <a:pt x="141" y="327"/>
                  </a:lnTo>
                  <a:lnTo>
                    <a:pt x="146" y="329"/>
                  </a:lnTo>
                  <a:lnTo>
                    <a:pt x="154" y="329"/>
                  </a:lnTo>
                  <a:lnTo>
                    <a:pt x="159" y="327"/>
                  </a:lnTo>
                  <a:lnTo>
                    <a:pt x="159" y="334"/>
                  </a:lnTo>
                  <a:lnTo>
                    <a:pt x="157" y="340"/>
                  </a:lnTo>
                  <a:lnTo>
                    <a:pt x="161" y="341"/>
                  </a:lnTo>
                  <a:lnTo>
                    <a:pt x="163" y="341"/>
                  </a:lnTo>
                  <a:lnTo>
                    <a:pt x="167" y="340"/>
                  </a:lnTo>
                  <a:lnTo>
                    <a:pt x="172" y="336"/>
                  </a:lnTo>
                  <a:lnTo>
                    <a:pt x="179" y="330"/>
                  </a:lnTo>
                  <a:lnTo>
                    <a:pt x="185" y="325"/>
                  </a:lnTo>
                  <a:lnTo>
                    <a:pt x="194" y="323"/>
                  </a:lnTo>
                  <a:lnTo>
                    <a:pt x="203" y="321"/>
                  </a:lnTo>
                  <a:lnTo>
                    <a:pt x="209" y="321"/>
                  </a:lnTo>
                  <a:lnTo>
                    <a:pt x="215" y="319"/>
                  </a:lnTo>
                  <a:lnTo>
                    <a:pt x="220" y="317"/>
                  </a:lnTo>
                  <a:lnTo>
                    <a:pt x="226" y="312"/>
                  </a:lnTo>
                  <a:lnTo>
                    <a:pt x="235" y="305"/>
                  </a:lnTo>
                  <a:lnTo>
                    <a:pt x="242" y="297"/>
                  </a:lnTo>
                  <a:lnTo>
                    <a:pt x="246" y="293"/>
                  </a:lnTo>
                  <a:lnTo>
                    <a:pt x="246" y="290"/>
                  </a:lnTo>
                  <a:lnTo>
                    <a:pt x="246" y="286"/>
                  </a:lnTo>
                  <a:lnTo>
                    <a:pt x="244" y="282"/>
                  </a:lnTo>
                  <a:lnTo>
                    <a:pt x="239" y="282"/>
                  </a:lnTo>
                  <a:lnTo>
                    <a:pt x="233" y="284"/>
                  </a:lnTo>
                  <a:lnTo>
                    <a:pt x="229" y="284"/>
                  </a:lnTo>
                  <a:lnTo>
                    <a:pt x="227" y="284"/>
                  </a:lnTo>
                  <a:lnTo>
                    <a:pt x="224" y="284"/>
                  </a:lnTo>
                  <a:lnTo>
                    <a:pt x="220" y="282"/>
                  </a:lnTo>
                  <a:lnTo>
                    <a:pt x="220" y="277"/>
                  </a:lnTo>
                  <a:lnTo>
                    <a:pt x="224" y="271"/>
                  </a:lnTo>
                  <a:lnTo>
                    <a:pt x="224" y="266"/>
                  </a:lnTo>
                  <a:lnTo>
                    <a:pt x="220" y="260"/>
                  </a:lnTo>
                  <a:lnTo>
                    <a:pt x="216" y="253"/>
                  </a:lnTo>
                  <a:lnTo>
                    <a:pt x="213" y="247"/>
                  </a:lnTo>
                  <a:lnTo>
                    <a:pt x="202" y="236"/>
                  </a:lnTo>
                  <a:lnTo>
                    <a:pt x="198" y="229"/>
                  </a:lnTo>
                  <a:lnTo>
                    <a:pt x="207" y="212"/>
                  </a:lnTo>
                  <a:lnTo>
                    <a:pt x="215" y="199"/>
                  </a:lnTo>
                  <a:lnTo>
                    <a:pt x="207" y="183"/>
                  </a:lnTo>
                  <a:lnTo>
                    <a:pt x="200" y="173"/>
                  </a:lnTo>
                  <a:lnTo>
                    <a:pt x="205" y="170"/>
                  </a:lnTo>
                  <a:lnTo>
                    <a:pt x="215" y="164"/>
                  </a:lnTo>
                  <a:lnTo>
                    <a:pt x="216" y="159"/>
                  </a:lnTo>
                  <a:lnTo>
                    <a:pt x="216" y="155"/>
                  </a:lnTo>
                  <a:lnTo>
                    <a:pt x="218" y="151"/>
                  </a:lnTo>
                  <a:lnTo>
                    <a:pt x="224" y="149"/>
                  </a:lnTo>
                  <a:lnTo>
                    <a:pt x="231" y="147"/>
                  </a:lnTo>
                  <a:lnTo>
                    <a:pt x="240" y="149"/>
                  </a:lnTo>
                  <a:lnTo>
                    <a:pt x="248" y="151"/>
                  </a:lnTo>
                  <a:lnTo>
                    <a:pt x="257" y="153"/>
                  </a:lnTo>
                  <a:lnTo>
                    <a:pt x="263" y="151"/>
                  </a:lnTo>
                  <a:lnTo>
                    <a:pt x="268" y="147"/>
                  </a:lnTo>
                  <a:lnTo>
                    <a:pt x="274" y="140"/>
                  </a:lnTo>
                  <a:lnTo>
                    <a:pt x="277" y="131"/>
                  </a:lnTo>
                  <a:lnTo>
                    <a:pt x="285" y="109"/>
                  </a:lnTo>
                  <a:lnTo>
                    <a:pt x="290" y="90"/>
                  </a:lnTo>
                  <a:lnTo>
                    <a:pt x="301" y="85"/>
                  </a:lnTo>
                  <a:lnTo>
                    <a:pt x="311" y="77"/>
                  </a:lnTo>
                  <a:lnTo>
                    <a:pt x="314" y="70"/>
                  </a:lnTo>
                  <a:lnTo>
                    <a:pt x="316" y="64"/>
                  </a:lnTo>
                  <a:lnTo>
                    <a:pt x="318" y="55"/>
                  </a:lnTo>
                  <a:lnTo>
                    <a:pt x="320" y="48"/>
                  </a:lnTo>
                  <a:lnTo>
                    <a:pt x="320" y="40"/>
                  </a:lnTo>
                  <a:lnTo>
                    <a:pt x="318" y="31"/>
                  </a:lnTo>
                  <a:lnTo>
                    <a:pt x="316" y="24"/>
                  </a:lnTo>
                  <a:lnTo>
                    <a:pt x="312" y="14"/>
                  </a:lnTo>
                  <a:lnTo>
                    <a:pt x="301" y="18"/>
                  </a:lnTo>
                  <a:lnTo>
                    <a:pt x="290" y="22"/>
                  </a:lnTo>
                  <a:lnTo>
                    <a:pt x="279" y="25"/>
                  </a:lnTo>
                  <a:lnTo>
                    <a:pt x="266" y="25"/>
                  </a:lnTo>
                  <a:lnTo>
                    <a:pt x="253" y="20"/>
                  </a:lnTo>
                  <a:lnTo>
                    <a:pt x="242" y="14"/>
                  </a:lnTo>
                  <a:lnTo>
                    <a:pt x="229" y="7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53" name="Freeform 50"/>
            <p:cNvSpPr>
              <a:spLocks/>
            </p:cNvSpPr>
            <p:nvPr/>
          </p:nvSpPr>
          <p:spPr bwMode="auto">
            <a:xfrm>
              <a:off x="1412334" y="4521820"/>
              <a:ext cx="489309" cy="579643"/>
            </a:xfrm>
            <a:custGeom>
              <a:avLst/>
              <a:gdLst>
                <a:gd name="T0" fmla="*/ 255582 w 281"/>
                <a:gd name="T1" fmla="*/ 471488 h 308"/>
                <a:gd name="T2" fmla="*/ 306992 w 281"/>
                <a:gd name="T3" fmla="*/ 457200 h 308"/>
                <a:gd name="T4" fmla="*/ 306992 w 281"/>
                <a:gd name="T5" fmla="*/ 422275 h 308"/>
                <a:gd name="T6" fmla="*/ 283490 w 281"/>
                <a:gd name="T7" fmla="*/ 401637 h 308"/>
                <a:gd name="T8" fmla="*/ 280552 w 281"/>
                <a:gd name="T9" fmla="*/ 384175 h 308"/>
                <a:gd name="T10" fmla="*/ 312867 w 281"/>
                <a:gd name="T11" fmla="*/ 354012 h 308"/>
                <a:gd name="T12" fmla="*/ 312867 w 281"/>
                <a:gd name="T13" fmla="*/ 330200 h 308"/>
                <a:gd name="T14" fmla="*/ 312867 w 281"/>
                <a:gd name="T15" fmla="*/ 298450 h 308"/>
                <a:gd name="T16" fmla="*/ 339307 w 281"/>
                <a:gd name="T17" fmla="*/ 322262 h 308"/>
                <a:gd name="T18" fmla="*/ 380435 w 281"/>
                <a:gd name="T19" fmla="*/ 315912 h 308"/>
                <a:gd name="T20" fmla="*/ 386311 w 281"/>
                <a:gd name="T21" fmla="*/ 274637 h 308"/>
                <a:gd name="T22" fmla="*/ 380435 w 281"/>
                <a:gd name="T23" fmla="*/ 174625 h 308"/>
                <a:gd name="T24" fmla="*/ 412750 w 281"/>
                <a:gd name="T25" fmla="*/ 96837 h 308"/>
                <a:gd name="T26" fmla="*/ 402468 w 281"/>
                <a:gd name="T27" fmla="*/ 80962 h 308"/>
                <a:gd name="T28" fmla="*/ 396593 w 281"/>
                <a:gd name="T29" fmla="*/ 52388 h 308"/>
                <a:gd name="T30" fmla="*/ 390717 w 281"/>
                <a:gd name="T31" fmla="*/ 25400 h 308"/>
                <a:gd name="T32" fmla="*/ 377497 w 281"/>
                <a:gd name="T33" fmla="*/ 34925 h 308"/>
                <a:gd name="T34" fmla="*/ 351058 w 281"/>
                <a:gd name="T35" fmla="*/ 17462 h 308"/>
                <a:gd name="T36" fmla="*/ 334900 w 281"/>
                <a:gd name="T37" fmla="*/ 14288 h 308"/>
                <a:gd name="T38" fmla="*/ 326087 w 281"/>
                <a:gd name="T39" fmla="*/ 22225 h 308"/>
                <a:gd name="T40" fmla="*/ 277615 w 281"/>
                <a:gd name="T41" fmla="*/ 0 h 308"/>
                <a:gd name="T42" fmla="*/ 245300 w 281"/>
                <a:gd name="T43" fmla="*/ 22225 h 308"/>
                <a:gd name="T44" fmla="*/ 236487 w 281"/>
                <a:gd name="T45" fmla="*/ 42862 h 308"/>
                <a:gd name="T46" fmla="*/ 249706 w 281"/>
                <a:gd name="T47" fmla="*/ 46037 h 308"/>
                <a:gd name="T48" fmla="*/ 271739 w 281"/>
                <a:gd name="T49" fmla="*/ 42862 h 308"/>
                <a:gd name="T50" fmla="*/ 274677 w 281"/>
                <a:gd name="T51" fmla="*/ 60325 h 308"/>
                <a:gd name="T52" fmla="*/ 245300 w 281"/>
                <a:gd name="T53" fmla="*/ 90487 h 308"/>
                <a:gd name="T54" fmla="*/ 220329 w 281"/>
                <a:gd name="T55" fmla="*/ 104775 h 308"/>
                <a:gd name="T56" fmla="*/ 185076 w 281"/>
                <a:gd name="T57" fmla="*/ 111125 h 308"/>
                <a:gd name="T58" fmla="*/ 158637 w 281"/>
                <a:gd name="T59" fmla="*/ 134937 h 308"/>
                <a:gd name="T60" fmla="*/ 143948 w 281"/>
                <a:gd name="T61" fmla="*/ 134937 h 308"/>
                <a:gd name="T62" fmla="*/ 139542 w 281"/>
                <a:gd name="T63" fmla="*/ 117475 h 308"/>
                <a:gd name="T64" fmla="*/ 114571 w 281"/>
                <a:gd name="T65" fmla="*/ 107950 h 308"/>
                <a:gd name="T66" fmla="*/ 98414 w 281"/>
                <a:gd name="T67" fmla="*/ 49212 h 308"/>
                <a:gd name="T68" fmla="*/ 86663 w 281"/>
                <a:gd name="T69" fmla="*/ 14288 h 308"/>
                <a:gd name="T70" fmla="*/ 69036 w 281"/>
                <a:gd name="T71" fmla="*/ 11112 h 308"/>
                <a:gd name="T72" fmla="*/ 47004 w 281"/>
                <a:gd name="T73" fmla="*/ 14288 h 308"/>
                <a:gd name="T74" fmla="*/ 11751 w 281"/>
                <a:gd name="T75" fmla="*/ 11112 h 308"/>
                <a:gd name="T76" fmla="*/ 2938 w 281"/>
                <a:gd name="T77" fmla="*/ 28575 h 308"/>
                <a:gd name="T78" fmla="*/ 30846 w 281"/>
                <a:gd name="T79" fmla="*/ 63500 h 308"/>
                <a:gd name="T80" fmla="*/ 82256 w 281"/>
                <a:gd name="T81" fmla="*/ 87312 h 308"/>
                <a:gd name="T82" fmla="*/ 108696 w 281"/>
                <a:gd name="T83" fmla="*/ 160337 h 308"/>
                <a:gd name="T84" fmla="*/ 114571 w 281"/>
                <a:gd name="T85" fmla="*/ 228600 h 308"/>
                <a:gd name="T86" fmla="*/ 141011 w 281"/>
                <a:gd name="T87" fmla="*/ 298450 h 308"/>
                <a:gd name="T88" fmla="*/ 160106 w 281"/>
                <a:gd name="T89" fmla="*/ 354012 h 308"/>
                <a:gd name="T90" fmla="*/ 152762 w 281"/>
                <a:gd name="T91" fmla="*/ 384175 h 308"/>
                <a:gd name="T92" fmla="*/ 165981 w 281"/>
                <a:gd name="T93" fmla="*/ 404812 h 308"/>
                <a:gd name="T94" fmla="*/ 198296 w 281"/>
                <a:gd name="T95" fmla="*/ 460375 h 30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81"/>
                <a:gd name="T145" fmla="*/ 0 h 308"/>
                <a:gd name="T146" fmla="*/ 281 w 281"/>
                <a:gd name="T147" fmla="*/ 308 h 30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81" h="308">
                  <a:moveTo>
                    <a:pt x="137" y="308"/>
                  </a:moveTo>
                  <a:lnTo>
                    <a:pt x="156" y="303"/>
                  </a:lnTo>
                  <a:lnTo>
                    <a:pt x="174" y="297"/>
                  </a:lnTo>
                  <a:lnTo>
                    <a:pt x="193" y="290"/>
                  </a:lnTo>
                  <a:lnTo>
                    <a:pt x="205" y="286"/>
                  </a:lnTo>
                  <a:lnTo>
                    <a:pt x="209" y="288"/>
                  </a:lnTo>
                  <a:lnTo>
                    <a:pt x="215" y="290"/>
                  </a:lnTo>
                  <a:lnTo>
                    <a:pt x="211" y="279"/>
                  </a:lnTo>
                  <a:lnTo>
                    <a:pt x="209" y="266"/>
                  </a:lnTo>
                  <a:lnTo>
                    <a:pt x="204" y="260"/>
                  </a:lnTo>
                  <a:lnTo>
                    <a:pt x="196" y="255"/>
                  </a:lnTo>
                  <a:lnTo>
                    <a:pt x="193" y="253"/>
                  </a:lnTo>
                  <a:lnTo>
                    <a:pt x="191" y="249"/>
                  </a:lnTo>
                  <a:lnTo>
                    <a:pt x="189" y="245"/>
                  </a:lnTo>
                  <a:lnTo>
                    <a:pt x="191" y="242"/>
                  </a:lnTo>
                  <a:lnTo>
                    <a:pt x="205" y="234"/>
                  </a:lnTo>
                  <a:lnTo>
                    <a:pt x="218" y="227"/>
                  </a:lnTo>
                  <a:lnTo>
                    <a:pt x="213" y="223"/>
                  </a:lnTo>
                  <a:lnTo>
                    <a:pt x="207" y="218"/>
                  </a:lnTo>
                  <a:lnTo>
                    <a:pt x="211" y="212"/>
                  </a:lnTo>
                  <a:lnTo>
                    <a:pt x="213" y="208"/>
                  </a:lnTo>
                  <a:lnTo>
                    <a:pt x="209" y="195"/>
                  </a:lnTo>
                  <a:lnTo>
                    <a:pt x="205" y="186"/>
                  </a:lnTo>
                  <a:lnTo>
                    <a:pt x="213" y="188"/>
                  </a:lnTo>
                  <a:lnTo>
                    <a:pt x="218" y="192"/>
                  </a:lnTo>
                  <a:lnTo>
                    <a:pt x="224" y="197"/>
                  </a:lnTo>
                  <a:lnTo>
                    <a:pt x="231" y="203"/>
                  </a:lnTo>
                  <a:lnTo>
                    <a:pt x="246" y="203"/>
                  </a:lnTo>
                  <a:lnTo>
                    <a:pt x="257" y="203"/>
                  </a:lnTo>
                  <a:lnTo>
                    <a:pt x="259" y="199"/>
                  </a:lnTo>
                  <a:lnTo>
                    <a:pt x="261" y="192"/>
                  </a:lnTo>
                  <a:lnTo>
                    <a:pt x="263" y="184"/>
                  </a:lnTo>
                  <a:lnTo>
                    <a:pt x="263" y="173"/>
                  </a:lnTo>
                  <a:lnTo>
                    <a:pt x="261" y="151"/>
                  </a:lnTo>
                  <a:lnTo>
                    <a:pt x="263" y="133"/>
                  </a:lnTo>
                  <a:lnTo>
                    <a:pt x="259" y="110"/>
                  </a:lnTo>
                  <a:lnTo>
                    <a:pt x="259" y="90"/>
                  </a:lnTo>
                  <a:lnTo>
                    <a:pt x="270" y="72"/>
                  </a:lnTo>
                  <a:lnTo>
                    <a:pt x="281" y="61"/>
                  </a:lnTo>
                  <a:lnTo>
                    <a:pt x="281" y="55"/>
                  </a:lnTo>
                  <a:lnTo>
                    <a:pt x="277" y="53"/>
                  </a:lnTo>
                  <a:lnTo>
                    <a:pt x="274" y="51"/>
                  </a:lnTo>
                  <a:lnTo>
                    <a:pt x="270" y="51"/>
                  </a:lnTo>
                  <a:lnTo>
                    <a:pt x="270" y="40"/>
                  </a:lnTo>
                  <a:lnTo>
                    <a:pt x="270" y="33"/>
                  </a:lnTo>
                  <a:lnTo>
                    <a:pt x="270" y="24"/>
                  </a:lnTo>
                  <a:lnTo>
                    <a:pt x="266" y="16"/>
                  </a:lnTo>
                  <a:lnTo>
                    <a:pt x="263" y="20"/>
                  </a:lnTo>
                  <a:lnTo>
                    <a:pt x="257" y="22"/>
                  </a:lnTo>
                  <a:lnTo>
                    <a:pt x="253" y="24"/>
                  </a:lnTo>
                  <a:lnTo>
                    <a:pt x="246" y="22"/>
                  </a:lnTo>
                  <a:lnTo>
                    <a:pt x="239" y="11"/>
                  </a:lnTo>
                  <a:lnTo>
                    <a:pt x="231" y="1"/>
                  </a:lnTo>
                  <a:lnTo>
                    <a:pt x="229" y="3"/>
                  </a:lnTo>
                  <a:lnTo>
                    <a:pt x="228" y="9"/>
                  </a:lnTo>
                  <a:lnTo>
                    <a:pt x="226" y="13"/>
                  </a:lnTo>
                  <a:lnTo>
                    <a:pt x="224" y="14"/>
                  </a:lnTo>
                  <a:lnTo>
                    <a:pt x="222" y="14"/>
                  </a:lnTo>
                  <a:lnTo>
                    <a:pt x="218" y="14"/>
                  </a:lnTo>
                  <a:lnTo>
                    <a:pt x="205" y="7"/>
                  </a:lnTo>
                  <a:lnTo>
                    <a:pt x="189" y="0"/>
                  </a:lnTo>
                  <a:lnTo>
                    <a:pt x="180" y="1"/>
                  </a:lnTo>
                  <a:lnTo>
                    <a:pt x="172" y="7"/>
                  </a:lnTo>
                  <a:lnTo>
                    <a:pt x="167" y="14"/>
                  </a:lnTo>
                  <a:lnTo>
                    <a:pt x="165" y="16"/>
                  </a:lnTo>
                  <a:lnTo>
                    <a:pt x="163" y="20"/>
                  </a:lnTo>
                  <a:lnTo>
                    <a:pt x="161" y="27"/>
                  </a:lnTo>
                  <a:lnTo>
                    <a:pt x="165" y="29"/>
                  </a:lnTo>
                  <a:lnTo>
                    <a:pt x="168" y="29"/>
                  </a:lnTo>
                  <a:lnTo>
                    <a:pt x="170" y="29"/>
                  </a:lnTo>
                  <a:lnTo>
                    <a:pt x="174" y="29"/>
                  </a:lnTo>
                  <a:lnTo>
                    <a:pt x="180" y="27"/>
                  </a:lnTo>
                  <a:lnTo>
                    <a:pt x="185" y="27"/>
                  </a:lnTo>
                  <a:lnTo>
                    <a:pt x="187" y="31"/>
                  </a:lnTo>
                  <a:lnTo>
                    <a:pt x="187" y="35"/>
                  </a:lnTo>
                  <a:lnTo>
                    <a:pt x="187" y="38"/>
                  </a:lnTo>
                  <a:lnTo>
                    <a:pt x="183" y="42"/>
                  </a:lnTo>
                  <a:lnTo>
                    <a:pt x="176" y="50"/>
                  </a:lnTo>
                  <a:lnTo>
                    <a:pt x="167" y="57"/>
                  </a:lnTo>
                  <a:lnTo>
                    <a:pt x="161" y="62"/>
                  </a:lnTo>
                  <a:lnTo>
                    <a:pt x="156" y="64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35" y="68"/>
                  </a:lnTo>
                  <a:lnTo>
                    <a:pt x="126" y="70"/>
                  </a:lnTo>
                  <a:lnTo>
                    <a:pt x="120" y="75"/>
                  </a:lnTo>
                  <a:lnTo>
                    <a:pt x="113" y="81"/>
                  </a:lnTo>
                  <a:lnTo>
                    <a:pt x="108" y="85"/>
                  </a:lnTo>
                  <a:lnTo>
                    <a:pt x="104" y="86"/>
                  </a:lnTo>
                  <a:lnTo>
                    <a:pt x="102" y="86"/>
                  </a:lnTo>
                  <a:lnTo>
                    <a:pt x="98" y="85"/>
                  </a:lnTo>
                  <a:lnTo>
                    <a:pt x="100" y="79"/>
                  </a:lnTo>
                  <a:lnTo>
                    <a:pt x="100" y="72"/>
                  </a:lnTo>
                  <a:lnTo>
                    <a:pt x="95" y="74"/>
                  </a:lnTo>
                  <a:lnTo>
                    <a:pt x="87" y="74"/>
                  </a:lnTo>
                  <a:lnTo>
                    <a:pt x="82" y="72"/>
                  </a:lnTo>
                  <a:lnTo>
                    <a:pt x="78" y="68"/>
                  </a:lnTo>
                  <a:lnTo>
                    <a:pt x="76" y="51"/>
                  </a:lnTo>
                  <a:lnTo>
                    <a:pt x="74" y="35"/>
                  </a:lnTo>
                  <a:lnTo>
                    <a:pt x="67" y="31"/>
                  </a:lnTo>
                  <a:lnTo>
                    <a:pt x="61" y="25"/>
                  </a:lnTo>
                  <a:lnTo>
                    <a:pt x="59" y="16"/>
                  </a:lnTo>
                  <a:lnTo>
                    <a:pt x="59" y="9"/>
                  </a:lnTo>
                  <a:lnTo>
                    <a:pt x="54" y="5"/>
                  </a:lnTo>
                  <a:lnTo>
                    <a:pt x="48" y="3"/>
                  </a:lnTo>
                  <a:lnTo>
                    <a:pt x="47" y="7"/>
                  </a:lnTo>
                  <a:lnTo>
                    <a:pt x="41" y="9"/>
                  </a:lnTo>
                  <a:lnTo>
                    <a:pt x="37" y="11"/>
                  </a:lnTo>
                  <a:lnTo>
                    <a:pt x="32" y="9"/>
                  </a:lnTo>
                  <a:lnTo>
                    <a:pt x="24" y="9"/>
                  </a:lnTo>
                  <a:lnTo>
                    <a:pt x="17" y="9"/>
                  </a:lnTo>
                  <a:lnTo>
                    <a:pt x="8" y="7"/>
                  </a:lnTo>
                  <a:lnTo>
                    <a:pt x="0" y="5"/>
                  </a:lnTo>
                  <a:lnTo>
                    <a:pt x="0" y="11"/>
                  </a:lnTo>
                  <a:lnTo>
                    <a:pt x="2" y="18"/>
                  </a:lnTo>
                  <a:lnTo>
                    <a:pt x="10" y="25"/>
                  </a:lnTo>
                  <a:lnTo>
                    <a:pt x="19" y="33"/>
                  </a:lnTo>
                  <a:lnTo>
                    <a:pt x="21" y="40"/>
                  </a:lnTo>
                  <a:lnTo>
                    <a:pt x="23" y="46"/>
                  </a:lnTo>
                  <a:lnTo>
                    <a:pt x="39" y="51"/>
                  </a:lnTo>
                  <a:lnTo>
                    <a:pt x="56" y="55"/>
                  </a:lnTo>
                  <a:lnTo>
                    <a:pt x="63" y="70"/>
                  </a:lnTo>
                  <a:lnTo>
                    <a:pt x="71" y="85"/>
                  </a:lnTo>
                  <a:lnTo>
                    <a:pt x="74" y="101"/>
                  </a:lnTo>
                  <a:lnTo>
                    <a:pt x="78" y="116"/>
                  </a:lnTo>
                  <a:lnTo>
                    <a:pt x="78" y="131"/>
                  </a:lnTo>
                  <a:lnTo>
                    <a:pt x="78" y="144"/>
                  </a:lnTo>
                  <a:lnTo>
                    <a:pt x="80" y="159"/>
                  </a:lnTo>
                  <a:lnTo>
                    <a:pt x="84" y="171"/>
                  </a:lnTo>
                  <a:lnTo>
                    <a:pt x="96" y="188"/>
                  </a:lnTo>
                  <a:lnTo>
                    <a:pt x="106" y="207"/>
                  </a:lnTo>
                  <a:lnTo>
                    <a:pt x="109" y="214"/>
                  </a:lnTo>
                  <a:lnTo>
                    <a:pt x="109" y="223"/>
                  </a:lnTo>
                  <a:lnTo>
                    <a:pt x="109" y="231"/>
                  </a:lnTo>
                  <a:lnTo>
                    <a:pt x="106" y="238"/>
                  </a:lnTo>
                  <a:lnTo>
                    <a:pt x="104" y="242"/>
                  </a:lnTo>
                  <a:lnTo>
                    <a:pt x="100" y="244"/>
                  </a:lnTo>
                  <a:lnTo>
                    <a:pt x="113" y="255"/>
                  </a:lnTo>
                  <a:lnTo>
                    <a:pt x="124" y="271"/>
                  </a:lnTo>
                  <a:lnTo>
                    <a:pt x="130" y="280"/>
                  </a:lnTo>
                  <a:lnTo>
                    <a:pt x="135" y="290"/>
                  </a:lnTo>
                  <a:lnTo>
                    <a:pt x="137" y="299"/>
                  </a:lnTo>
                  <a:lnTo>
                    <a:pt x="137" y="308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54" name="Freeform 51"/>
            <p:cNvSpPr>
              <a:spLocks/>
            </p:cNvSpPr>
            <p:nvPr/>
          </p:nvSpPr>
          <p:spPr bwMode="auto">
            <a:xfrm>
              <a:off x="1231666" y="4486062"/>
              <a:ext cx="370746" cy="581525"/>
            </a:xfrm>
            <a:custGeom>
              <a:avLst/>
              <a:gdLst>
                <a:gd name="T0" fmla="*/ 299585 w 214"/>
                <a:gd name="T1" fmla="*/ 417513 h 309"/>
                <a:gd name="T2" fmla="*/ 308354 w 214"/>
                <a:gd name="T3" fmla="*/ 407988 h 309"/>
                <a:gd name="T4" fmla="*/ 312738 w 214"/>
                <a:gd name="T5" fmla="*/ 384175 h 309"/>
                <a:gd name="T6" fmla="*/ 308354 w 214"/>
                <a:gd name="T7" fmla="*/ 358775 h 309"/>
                <a:gd name="T8" fmla="*/ 276203 w 214"/>
                <a:gd name="T9" fmla="*/ 301625 h 309"/>
                <a:gd name="T10" fmla="*/ 267435 w 214"/>
                <a:gd name="T11" fmla="*/ 258763 h 309"/>
                <a:gd name="T12" fmla="*/ 267435 w 214"/>
                <a:gd name="T13" fmla="*/ 214313 h 309"/>
                <a:gd name="T14" fmla="*/ 257205 w 214"/>
                <a:gd name="T15" fmla="*/ 165100 h 309"/>
                <a:gd name="T16" fmla="*/ 235284 w 214"/>
                <a:gd name="T17" fmla="*/ 117475 h 309"/>
                <a:gd name="T18" fmla="*/ 187058 w 214"/>
                <a:gd name="T19" fmla="*/ 103188 h 309"/>
                <a:gd name="T20" fmla="*/ 181213 w 214"/>
                <a:gd name="T21" fmla="*/ 82550 h 309"/>
                <a:gd name="T22" fmla="*/ 156369 w 214"/>
                <a:gd name="T23" fmla="*/ 58738 h 309"/>
                <a:gd name="T24" fmla="*/ 153446 w 214"/>
                <a:gd name="T25" fmla="*/ 38100 h 309"/>
                <a:gd name="T26" fmla="*/ 132987 w 214"/>
                <a:gd name="T27" fmla="*/ 23813 h 309"/>
                <a:gd name="T28" fmla="*/ 121296 w 214"/>
                <a:gd name="T29" fmla="*/ 6350 h 309"/>
                <a:gd name="T30" fmla="*/ 113989 w 214"/>
                <a:gd name="T31" fmla="*/ 9525 h 309"/>
                <a:gd name="T32" fmla="*/ 111066 w 214"/>
                <a:gd name="T33" fmla="*/ 14288 h 309"/>
                <a:gd name="T34" fmla="*/ 108143 w 214"/>
                <a:gd name="T35" fmla="*/ 23813 h 309"/>
                <a:gd name="T36" fmla="*/ 75992 w 214"/>
                <a:gd name="T37" fmla="*/ 0 h 309"/>
                <a:gd name="T38" fmla="*/ 64301 w 214"/>
                <a:gd name="T39" fmla="*/ 14288 h 309"/>
                <a:gd name="T40" fmla="*/ 62840 w 214"/>
                <a:gd name="T41" fmla="*/ 30163 h 309"/>
                <a:gd name="T42" fmla="*/ 67224 w 214"/>
                <a:gd name="T43" fmla="*/ 68263 h 309"/>
                <a:gd name="T44" fmla="*/ 45303 w 214"/>
                <a:gd name="T45" fmla="*/ 103188 h 309"/>
                <a:gd name="T46" fmla="*/ 37996 w 214"/>
                <a:gd name="T47" fmla="*/ 128588 h 309"/>
                <a:gd name="T48" fmla="*/ 18998 w 214"/>
                <a:gd name="T49" fmla="*/ 128588 h 309"/>
                <a:gd name="T50" fmla="*/ 0 w 214"/>
                <a:gd name="T51" fmla="*/ 166688 h 309"/>
                <a:gd name="T52" fmla="*/ 24844 w 214"/>
                <a:gd name="T53" fmla="*/ 211138 h 309"/>
                <a:gd name="T54" fmla="*/ 35073 w 214"/>
                <a:gd name="T55" fmla="*/ 252413 h 309"/>
                <a:gd name="T56" fmla="*/ 21921 w 214"/>
                <a:gd name="T57" fmla="*/ 261938 h 309"/>
                <a:gd name="T58" fmla="*/ 16075 w 214"/>
                <a:gd name="T59" fmla="*/ 282575 h 309"/>
                <a:gd name="T60" fmla="*/ 16075 w 214"/>
                <a:gd name="T61" fmla="*/ 301625 h 309"/>
                <a:gd name="T62" fmla="*/ 40919 w 214"/>
                <a:gd name="T63" fmla="*/ 304800 h 309"/>
                <a:gd name="T64" fmla="*/ 51149 w 214"/>
                <a:gd name="T65" fmla="*/ 363538 h 309"/>
                <a:gd name="T66" fmla="*/ 67224 w 214"/>
                <a:gd name="T67" fmla="*/ 376238 h 309"/>
                <a:gd name="T68" fmla="*/ 81838 w 214"/>
                <a:gd name="T69" fmla="*/ 381000 h 309"/>
                <a:gd name="T70" fmla="*/ 105220 w 214"/>
                <a:gd name="T71" fmla="*/ 384175 h 309"/>
                <a:gd name="T72" fmla="*/ 116911 w 214"/>
                <a:gd name="T73" fmla="*/ 398463 h 309"/>
                <a:gd name="T74" fmla="*/ 137371 w 214"/>
                <a:gd name="T75" fmla="*/ 449263 h 309"/>
                <a:gd name="T76" fmla="*/ 165137 w 214"/>
                <a:gd name="T77" fmla="*/ 463550 h 309"/>
                <a:gd name="T78" fmla="*/ 175367 w 214"/>
                <a:gd name="T79" fmla="*/ 487363 h 309"/>
                <a:gd name="T80" fmla="*/ 191442 w 214"/>
                <a:gd name="T81" fmla="*/ 490538 h 309"/>
                <a:gd name="T82" fmla="*/ 191442 w 214"/>
                <a:gd name="T83" fmla="*/ 490538 h 309"/>
                <a:gd name="T84" fmla="*/ 191442 w 214"/>
                <a:gd name="T85" fmla="*/ 490538 h 309"/>
                <a:gd name="T86" fmla="*/ 213363 w 214"/>
                <a:gd name="T87" fmla="*/ 481013 h 309"/>
                <a:gd name="T88" fmla="*/ 207518 w 214"/>
                <a:gd name="T89" fmla="*/ 463550 h 309"/>
                <a:gd name="T90" fmla="*/ 194365 w 214"/>
                <a:gd name="T91" fmla="*/ 455613 h 309"/>
                <a:gd name="T92" fmla="*/ 181213 w 214"/>
                <a:gd name="T93" fmla="*/ 449263 h 309"/>
                <a:gd name="T94" fmla="*/ 178290 w 214"/>
                <a:gd name="T95" fmla="*/ 439738 h 309"/>
                <a:gd name="T96" fmla="*/ 232361 w 214"/>
                <a:gd name="T97" fmla="*/ 449263 h 309"/>
                <a:gd name="T98" fmla="*/ 226516 w 214"/>
                <a:gd name="T99" fmla="*/ 434975 h 309"/>
                <a:gd name="T100" fmla="*/ 223593 w 214"/>
                <a:gd name="T101" fmla="*/ 422275 h 309"/>
                <a:gd name="T102" fmla="*/ 229439 w 214"/>
                <a:gd name="T103" fmla="*/ 411163 h 309"/>
                <a:gd name="T104" fmla="*/ 299585 w 214"/>
                <a:gd name="T105" fmla="*/ 417513 h 30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14"/>
                <a:gd name="T160" fmla="*/ 0 h 309"/>
                <a:gd name="T161" fmla="*/ 214 w 214"/>
                <a:gd name="T162" fmla="*/ 309 h 30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14" h="309">
                  <a:moveTo>
                    <a:pt x="205" y="263"/>
                  </a:moveTo>
                  <a:lnTo>
                    <a:pt x="205" y="263"/>
                  </a:lnTo>
                  <a:lnTo>
                    <a:pt x="209" y="261"/>
                  </a:lnTo>
                  <a:lnTo>
                    <a:pt x="211" y="257"/>
                  </a:lnTo>
                  <a:lnTo>
                    <a:pt x="214" y="250"/>
                  </a:lnTo>
                  <a:lnTo>
                    <a:pt x="214" y="242"/>
                  </a:lnTo>
                  <a:lnTo>
                    <a:pt x="214" y="233"/>
                  </a:lnTo>
                  <a:lnTo>
                    <a:pt x="211" y="226"/>
                  </a:lnTo>
                  <a:lnTo>
                    <a:pt x="201" y="207"/>
                  </a:lnTo>
                  <a:lnTo>
                    <a:pt x="189" y="190"/>
                  </a:lnTo>
                  <a:lnTo>
                    <a:pt x="185" y="178"/>
                  </a:lnTo>
                  <a:lnTo>
                    <a:pt x="183" y="163"/>
                  </a:lnTo>
                  <a:lnTo>
                    <a:pt x="183" y="150"/>
                  </a:lnTo>
                  <a:lnTo>
                    <a:pt x="183" y="135"/>
                  </a:lnTo>
                  <a:lnTo>
                    <a:pt x="179" y="120"/>
                  </a:lnTo>
                  <a:lnTo>
                    <a:pt x="176" y="104"/>
                  </a:lnTo>
                  <a:lnTo>
                    <a:pt x="168" y="89"/>
                  </a:lnTo>
                  <a:lnTo>
                    <a:pt x="161" y="74"/>
                  </a:lnTo>
                  <a:lnTo>
                    <a:pt x="144" y="70"/>
                  </a:lnTo>
                  <a:lnTo>
                    <a:pt x="128" y="65"/>
                  </a:lnTo>
                  <a:lnTo>
                    <a:pt x="126" y="59"/>
                  </a:lnTo>
                  <a:lnTo>
                    <a:pt x="124" y="52"/>
                  </a:lnTo>
                  <a:lnTo>
                    <a:pt x="115" y="44"/>
                  </a:lnTo>
                  <a:lnTo>
                    <a:pt x="107" y="37"/>
                  </a:lnTo>
                  <a:lnTo>
                    <a:pt x="105" y="30"/>
                  </a:lnTo>
                  <a:lnTo>
                    <a:pt x="105" y="24"/>
                  </a:lnTo>
                  <a:lnTo>
                    <a:pt x="98" y="20"/>
                  </a:lnTo>
                  <a:lnTo>
                    <a:pt x="91" y="15"/>
                  </a:lnTo>
                  <a:lnTo>
                    <a:pt x="87" y="9"/>
                  </a:lnTo>
                  <a:lnTo>
                    <a:pt x="83" y="4"/>
                  </a:lnTo>
                  <a:lnTo>
                    <a:pt x="80" y="4"/>
                  </a:lnTo>
                  <a:lnTo>
                    <a:pt x="78" y="6"/>
                  </a:lnTo>
                  <a:lnTo>
                    <a:pt x="76" y="8"/>
                  </a:lnTo>
                  <a:lnTo>
                    <a:pt x="76" y="9"/>
                  </a:lnTo>
                  <a:lnTo>
                    <a:pt x="76" y="13"/>
                  </a:lnTo>
                  <a:lnTo>
                    <a:pt x="74" y="15"/>
                  </a:lnTo>
                  <a:lnTo>
                    <a:pt x="63" y="8"/>
                  </a:lnTo>
                  <a:lnTo>
                    <a:pt x="52" y="0"/>
                  </a:lnTo>
                  <a:lnTo>
                    <a:pt x="46" y="4"/>
                  </a:lnTo>
                  <a:lnTo>
                    <a:pt x="44" y="9"/>
                  </a:lnTo>
                  <a:lnTo>
                    <a:pt x="43" y="13"/>
                  </a:lnTo>
                  <a:lnTo>
                    <a:pt x="43" y="19"/>
                  </a:lnTo>
                  <a:lnTo>
                    <a:pt x="44" y="30"/>
                  </a:lnTo>
                  <a:lnTo>
                    <a:pt x="46" y="43"/>
                  </a:lnTo>
                  <a:lnTo>
                    <a:pt x="39" y="54"/>
                  </a:lnTo>
                  <a:lnTo>
                    <a:pt x="31" y="65"/>
                  </a:lnTo>
                  <a:lnTo>
                    <a:pt x="30" y="74"/>
                  </a:lnTo>
                  <a:lnTo>
                    <a:pt x="26" y="81"/>
                  </a:lnTo>
                  <a:lnTo>
                    <a:pt x="19" y="81"/>
                  </a:lnTo>
                  <a:lnTo>
                    <a:pt x="13" y="81"/>
                  </a:lnTo>
                  <a:lnTo>
                    <a:pt x="6" y="93"/>
                  </a:lnTo>
                  <a:lnTo>
                    <a:pt x="0" y="105"/>
                  </a:lnTo>
                  <a:lnTo>
                    <a:pt x="17" y="133"/>
                  </a:lnTo>
                  <a:lnTo>
                    <a:pt x="31" y="155"/>
                  </a:lnTo>
                  <a:lnTo>
                    <a:pt x="24" y="159"/>
                  </a:lnTo>
                  <a:lnTo>
                    <a:pt x="19" y="161"/>
                  </a:lnTo>
                  <a:lnTo>
                    <a:pt x="15" y="165"/>
                  </a:lnTo>
                  <a:lnTo>
                    <a:pt x="13" y="168"/>
                  </a:lnTo>
                  <a:lnTo>
                    <a:pt x="11" y="178"/>
                  </a:lnTo>
                  <a:lnTo>
                    <a:pt x="11" y="190"/>
                  </a:lnTo>
                  <a:lnTo>
                    <a:pt x="19" y="190"/>
                  </a:lnTo>
                  <a:lnTo>
                    <a:pt x="28" y="192"/>
                  </a:lnTo>
                  <a:lnTo>
                    <a:pt x="30" y="211"/>
                  </a:lnTo>
                  <a:lnTo>
                    <a:pt x="35" y="229"/>
                  </a:lnTo>
                  <a:lnTo>
                    <a:pt x="41" y="235"/>
                  </a:lnTo>
                  <a:lnTo>
                    <a:pt x="46" y="237"/>
                  </a:lnTo>
                  <a:lnTo>
                    <a:pt x="50" y="239"/>
                  </a:lnTo>
                  <a:lnTo>
                    <a:pt x="56" y="240"/>
                  </a:lnTo>
                  <a:lnTo>
                    <a:pt x="65" y="240"/>
                  </a:lnTo>
                  <a:lnTo>
                    <a:pt x="72" y="242"/>
                  </a:lnTo>
                  <a:lnTo>
                    <a:pt x="78" y="246"/>
                  </a:lnTo>
                  <a:lnTo>
                    <a:pt x="80" y="251"/>
                  </a:lnTo>
                  <a:lnTo>
                    <a:pt x="87" y="266"/>
                  </a:lnTo>
                  <a:lnTo>
                    <a:pt x="94" y="283"/>
                  </a:lnTo>
                  <a:lnTo>
                    <a:pt x="104" y="287"/>
                  </a:lnTo>
                  <a:lnTo>
                    <a:pt x="113" y="292"/>
                  </a:lnTo>
                  <a:lnTo>
                    <a:pt x="118" y="299"/>
                  </a:lnTo>
                  <a:lnTo>
                    <a:pt x="120" y="307"/>
                  </a:lnTo>
                  <a:lnTo>
                    <a:pt x="126" y="309"/>
                  </a:lnTo>
                  <a:lnTo>
                    <a:pt x="131" y="309"/>
                  </a:lnTo>
                  <a:lnTo>
                    <a:pt x="139" y="307"/>
                  </a:lnTo>
                  <a:lnTo>
                    <a:pt x="146" y="303"/>
                  </a:lnTo>
                  <a:lnTo>
                    <a:pt x="144" y="298"/>
                  </a:lnTo>
                  <a:lnTo>
                    <a:pt x="142" y="292"/>
                  </a:lnTo>
                  <a:lnTo>
                    <a:pt x="137" y="288"/>
                  </a:lnTo>
                  <a:lnTo>
                    <a:pt x="133" y="287"/>
                  </a:lnTo>
                  <a:lnTo>
                    <a:pt x="128" y="285"/>
                  </a:lnTo>
                  <a:lnTo>
                    <a:pt x="124" y="283"/>
                  </a:lnTo>
                  <a:lnTo>
                    <a:pt x="122" y="281"/>
                  </a:lnTo>
                  <a:lnTo>
                    <a:pt x="122" y="277"/>
                  </a:lnTo>
                  <a:lnTo>
                    <a:pt x="140" y="279"/>
                  </a:lnTo>
                  <a:lnTo>
                    <a:pt x="159" y="283"/>
                  </a:lnTo>
                  <a:lnTo>
                    <a:pt x="161" y="279"/>
                  </a:lnTo>
                  <a:lnTo>
                    <a:pt x="155" y="274"/>
                  </a:lnTo>
                  <a:lnTo>
                    <a:pt x="153" y="270"/>
                  </a:lnTo>
                  <a:lnTo>
                    <a:pt x="153" y="266"/>
                  </a:lnTo>
                  <a:lnTo>
                    <a:pt x="153" y="263"/>
                  </a:lnTo>
                  <a:lnTo>
                    <a:pt x="157" y="259"/>
                  </a:lnTo>
                  <a:lnTo>
                    <a:pt x="177" y="263"/>
                  </a:lnTo>
                  <a:lnTo>
                    <a:pt x="205" y="263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55" name="Freeform 53"/>
            <p:cNvSpPr>
              <a:spLocks/>
            </p:cNvSpPr>
            <p:nvPr/>
          </p:nvSpPr>
          <p:spPr bwMode="auto">
            <a:xfrm>
              <a:off x="4564613" y="2173139"/>
              <a:ext cx="308641" cy="430968"/>
            </a:xfrm>
            <a:custGeom>
              <a:avLst/>
              <a:gdLst>
                <a:gd name="T0" fmla="*/ 122862 w 178"/>
                <a:gd name="T1" fmla="*/ 355600 h 229"/>
                <a:gd name="T2" fmla="*/ 124324 w 178"/>
                <a:gd name="T3" fmla="*/ 334962 h 229"/>
                <a:gd name="T4" fmla="*/ 119937 w 178"/>
                <a:gd name="T5" fmla="*/ 290512 h 229"/>
                <a:gd name="T6" fmla="*/ 130175 w 178"/>
                <a:gd name="T7" fmla="*/ 228600 h 229"/>
                <a:gd name="T8" fmla="*/ 136026 w 178"/>
                <a:gd name="T9" fmla="*/ 200025 h 229"/>
                <a:gd name="T10" fmla="*/ 136026 w 178"/>
                <a:gd name="T11" fmla="*/ 182562 h 229"/>
                <a:gd name="T12" fmla="*/ 157965 w 178"/>
                <a:gd name="T13" fmla="*/ 165100 h 229"/>
                <a:gd name="T14" fmla="*/ 178442 w 178"/>
                <a:gd name="T15" fmla="*/ 141287 h 229"/>
                <a:gd name="T16" fmla="*/ 187218 w 178"/>
                <a:gd name="T17" fmla="*/ 123825 h 229"/>
                <a:gd name="T18" fmla="*/ 197456 w 178"/>
                <a:gd name="T19" fmla="*/ 120650 h 229"/>
                <a:gd name="T20" fmla="*/ 206232 w 178"/>
                <a:gd name="T21" fmla="*/ 114300 h 229"/>
                <a:gd name="T22" fmla="*/ 213546 w 178"/>
                <a:gd name="T23" fmla="*/ 109537 h 229"/>
                <a:gd name="T24" fmla="*/ 228172 w 178"/>
                <a:gd name="T25" fmla="*/ 100012 h 229"/>
                <a:gd name="T26" fmla="*/ 238410 w 178"/>
                <a:gd name="T27" fmla="*/ 93662 h 229"/>
                <a:gd name="T28" fmla="*/ 247186 w 178"/>
                <a:gd name="T29" fmla="*/ 79375 h 229"/>
                <a:gd name="T30" fmla="*/ 257425 w 178"/>
                <a:gd name="T31" fmla="*/ 76200 h 229"/>
                <a:gd name="T32" fmla="*/ 260350 w 178"/>
                <a:gd name="T33" fmla="*/ 65087 h 229"/>
                <a:gd name="T34" fmla="*/ 244261 w 178"/>
                <a:gd name="T35" fmla="*/ 36512 h 229"/>
                <a:gd name="T36" fmla="*/ 212083 w 178"/>
                <a:gd name="T37" fmla="*/ 9525 h 229"/>
                <a:gd name="T38" fmla="*/ 178442 w 178"/>
                <a:gd name="T39" fmla="*/ 3175 h 229"/>
                <a:gd name="T40" fmla="*/ 159428 w 178"/>
                <a:gd name="T41" fmla="*/ 17462 h 229"/>
                <a:gd name="T42" fmla="*/ 146264 w 178"/>
                <a:gd name="T43" fmla="*/ 20637 h 229"/>
                <a:gd name="T44" fmla="*/ 138951 w 178"/>
                <a:gd name="T45" fmla="*/ 12700 h 229"/>
                <a:gd name="T46" fmla="*/ 130175 w 178"/>
                <a:gd name="T47" fmla="*/ 12700 h 229"/>
                <a:gd name="T48" fmla="*/ 122862 w 178"/>
                <a:gd name="T49" fmla="*/ 20637 h 229"/>
                <a:gd name="T50" fmla="*/ 130175 w 178"/>
                <a:gd name="T51" fmla="*/ 36512 h 229"/>
                <a:gd name="T52" fmla="*/ 124324 w 178"/>
                <a:gd name="T53" fmla="*/ 50800 h 229"/>
                <a:gd name="T54" fmla="*/ 95072 w 178"/>
                <a:gd name="T55" fmla="*/ 71437 h 229"/>
                <a:gd name="T56" fmla="*/ 65819 w 178"/>
                <a:gd name="T57" fmla="*/ 92075 h 229"/>
                <a:gd name="T58" fmla="*/ 52655 w 178"/>
                <a:gd name="T59" fmla="*/ 76200 h 229"/>
                <a:gd name="T60" fmla="*/ 40954 w 178"/>
                <a:gd name="T61" fmla="*/ 68262 h 229"/>
                <a:gd name="T62" fmla="*/ 21940 w 178"/>
                <a:gd name="T63" fmla="*/ 85725 h 229"/>
                <a:gd name="T64" fmla="*/ 5851 w 178"/>
                <a:gd name="T65" fmla="*/ 109537 h 229"/>
                <a:gd name="T66" fmla="*/ 0 w 178"/>
                <a:gd name="T67" fmla="*/ 131762 h 229"/>
                <a:gd name="T68" fmla="*/ 14626 w 178"/>
                <a:gd name="T69" fmla="*/ 141287 h 229"/>
                <a:gd name="T70" fmla="*/ 27790 w 178"/>
                <a:gd name="T71" fmla="*/ 150812 h 229"/>
                <a:gd name="T72" fmla="*/ 38029 w 178"/>
                <a:gd name="T73" fmla="*/ 171450 h 229"/>
                <a:gd name="T74" fmla="*/ 40954 w 178"/>
                <a:gd name="T75" fmla="*/ 193675 h 229"/>
                <a:gd name="T76" fmla="*/ 54118 w 178"/>
                <a:gd name="T77" fmla="*/ 193675 h 229"/>
                <a:gd name="T78" fmla="*/ 59968 w 178"/>
                <a:gd name="T79" fmla="*/ 203200 h 229"/>
                <a:gd name="T80" fmla="*/ 38029 w 178"/>
                <a:gd name="T81" fmla="*/ 200025 h 229"/>
                <a:gd name="T82" fmla="*/ 35103 w 178"/>
                <a:gd name="T83" fmla="*/ 214312 h 229"/>
                <a:gd name="T84" fmla="*/ 46805 w 178"/>
                <a:gd name="T85" fmla="*/ 227012 h 229"/>
                <a:gd name="T86" fmla="*/ 40954 w 178"/>
                <a:gd name="T87" fmla="*/ 231775 h 229"/>
                <a:gd name="T88" fmla="*/ 35103 w 178"/>
                <a:gd name="T89" fmla="*/ 228600 h 229"/>
                <a:gd name="T90" fmla="*/ 24865 w 178"/>
                <a:gd name="T91" fmla="*/ 220662 h 229"/>
                <a:gd name="T92" fmla="*/ 14626 w 178"/>
                <a:gd name="T93" fmla="*/ 247650 h 229"/>
                <a:gd name="T94" fmla="*/ 19014 w 178"/>
                <a:gd name="T95" fmla="*/ 258762 h 229"/>
                <a:gd name="T96" fmla="*/ 33641 w 178"/>
                <a:gd name="T97" fmla="*/ 276225 h 229"/>
                <a:gd name="T98" fmla="*/ 27790 w 178"/>
                <a:gd name="T99" fmla="*/ 303212 h 229"/>
                <a:gd name="T100" fmla="*/ 33641 w 178"/>
                <a:gd name="T101" fmla="*/ 307975 h 229"/>
                <a:gd name="T102" fmla="*/ 52655 w 178"/>
                <a:gd name="T103" fmla="*/ 307975 h 229"/>
                <a:gd name="T104" fmla="*/ 65819 w 178"/>
                <a:gd name="T105" fmla="*/ 325437 h 229"/>
                <a:gd name="T106" fmla="*/ 73132 w 178"/>
                <a:gd name="T107" fmla="*/ 331787 h 229"/>
                <a:gd name="T108" fmla="*/ 87758 w 178"/>
                <a:gd name="T109" fmla="*/ 331787 h 229"/>
                <a:gd name="T110" fmla="*/ 100922 w 178"/>
                <a:gd name="T111" fmla="*/ 358775 h 229"/>
                <a:gd name="T112" fmla="*/ 117011 w 178"/>
                <a:gd name="T113" fmla="*/ 363537 h 22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8"/>
                <a:gd name="T172" fmla="*/ 0 h 229"/>
                <a:gd name="T173" fmla="*/ 178 w 178"/>
                <a:gd name="T174" fmla="*/ 229 h 22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8" h="229">
                  <a:moveTo>
                    <a:pt x="80" y="229"/>
                  </a:moveTo>
                  <a:lnTo>
                    <a:pt x="84" y="224"/>
                  </a:lnTo>
                  <a:lnTo>
                    <a:pt x="84" y="218"/>
                  </a:lnTo>
                  <a:lnTo>
                    <a:pt x="85" y="211"/>
                  </a:lnTo>
                  <a:lnTo>
                    <a:pt x="84" y="202"/>
                  </a:lnTo>
                  <a:lnTo>
                    <a:pt x="82" y="183"/>
                  </a:lnTo>
                  <a:lnTo>
                    <a:pt x="82" y="165"/>
                  </a:lnTo>
                  <a:lnTo>
                    <a:pt x="89" y="144"/>
                  </a:lnTo>
                  <a:lnTo>
                    <a:pt x="95" y="132"/>
                  </a:lnTo>
                  <a:lnTo>
                    <a:pt x="93" y="126"/>
                  </a:lnTo>
                  <a:lnTo>
                    <a:pt x="93" y="120"/>
                  </a:lnTo>
                  <a:lnTo>
                    <a:pt x="93" y="115"/>
                  </a:lnTo>
                  <a:lnTo>
                    <a:pt x="95" y="113"/>
                  </a:lnTo>
                  <a:lnTo>
                    <a:pt x="108" y="104"/>
                  </a:lnTo>
                  <a:lnTo>
                    <a:pt x="120" y="95"/>
                  </a:lnTo>
                  <a:lnTo>
                    <a:pt x="122" y="89"/>
                  </a:lnTo>
                  <a:lnTo>
                    <a:pt x="120" y="80"/>
                  </a:lnTo>
                  <a:lnTo>
                    <a:pt x="128" y="78"/>
                  </a:lnTo>
                  <a:lnTo>
                    <a:pt x="133" y="80"/>
                  </a:lnTo>
                  <a:lnTo>
                    <a:pt x="135" y="76"/>
                  </a:lnTo>
                  <a:lnTo>
                    <a:pt x="135" y="72"/>
                  </a:lnTo>
                  <a:lnTo>
                    <a:pt x="141" y="72"/>
                  </a:lnTo>
                  <a:lnTo>
                    <a:pt x="145" y="74"/>
                  </a:lnTo>
                  <a:lnTo>
                    <a:pt x="146" y="69"/>
                  </a:lnTo>
                  <a:lnTo>
                    <a:pt x="152" y="65"/>
                  </a:lnTo>
                  <a:lnTo>
                    <a:pt x="156" y="63"/>
                  </a:lnTo>
                  <a:lnTo>
                    <a:pt x="161" y="65"/>
                  </a:lnTo>
                  <a:lnTo>
                    <a:pt x="163" y="59"/>
                  </a:lnTo>
                  <a:lnTo>
                    <a:pt x="163" y="50"/>
                  </a:lnTo>
                  <a:lnTo>
                    <a:pt x="169" y="50"/>
                  </a:lnTo>
                  <a:lnTo>
                    <a:pt x="174" y="50"/>
                  </a:lnTo>
                  <a:lnTo>
                    <a:pt x="176" y="48"/>
                  </a:lnTo>
                  <a:lnTo>
                    <a:pt x="178" y="45"/>
                  </a:lnTo>
                  <a:lnTo>
                    <a:pt x="178" y="41"/>
                  </a:lnTo>
                  <a:lnTo>
                    <a:pt x="176" y="34"/>
                  </a:lnTo>
                  <a:lnTo>
                    <a:pt x="167" y="23"/>
                  </a:lnTo>
                  <a:lnTo>
                    <a:pt x="156" y="13"/>
                  </a:lnTo>
                  <a:lnTo>
                    <a:pt x="145" y="6"/>
                  </a:lnTo>
                  <a:lnTo>
                    <a:pt x="132" y="0"/>
                  </a:lnTo>
                  <a:lnTo>
                    <a:pt x="122" y="2"/>
                  </a:lnTo>
                  <a:lnTo>
                    <a:pt x="115" y="6"/>
                  </a:lnTo>
                  <a:lnTo>
                    <a:pt x="109" y="11"/>
                  </a:lnTo>
                  <a:lnTo>
                    <a:pt x="106" y="17"/>
                  </a:lnTo>
                  <a:lnTo>
                    <a:pt x="100" y="13"/>
                  </a:lnTo>
                  <a:lnTo>
                    <a:pt x="96" y="10"/>
                  </a:lnTo>
                  <a:lnTo>
                    <a:pt x="95" y="8"/>
                  </a:lnTo>
                  <a:lnTo>
                    <a:pt x="91" y="8"/>
                  </a:lnTo>
                  <a:lnTo>
                    <a:pt x="89" y="8"/>
                  </a:lnTo>
                  <a:lnTo>
                    <a:pt x="85" y="8"/>
                  </a:lnTo>
                  <a:lnTo>
                    <a:pt x="84" y="13"/>
                  </a:lnTo>
                  <a:lnTo>
                    <a:pt x="87" y="17"/>
                  </a:lnTo>
                  <a:lnTo>
                    <a:pt x="89" y="23"/>
                  </a:lnTo>
                  <a:lnTo>
                    <a:pt x="91" y="26"/>
                  </a:lnTo>
                  <a:lnTo>
                    <a:pt x="85" y="32"/>
                  </a:lnTo>
                  <a:lnTo>
                    <a:pt x="80" y="37"/>
                  </a:lnTo>
                  <a:lnTo>
                    <a:pt x="65" y="45"/>
                  </a:lnTo>
                  <a:lnTo>
                    <a:pt x="50" y="56"/>
                  </a:lnTo>
                  <a:lnTo>
                    <a:pt x="45" y="58"/>
                  </a:lnTo>
                  <a:lnTo>
                    <a:pt x="39" y="54"/>
                  </a:lnTo>
                  <a:lnTo>
                    <a:pt x="36" y="48"/>
                  </a:lnTo>
                  <a:lnTo>
                    <a:pt x="34" y="41"/>
                  </a:lnTo>
                  <a:lnTo>
                    <a:pt x="28" y="43"/>
                  </a:lnTo>
                  <a:lnTo>
                    <a:pt x="23" y="47"/>
                  </a:lnTo>
                  <a:lnTo>
                    <a:pt x="15" y="54"/>
                  </a:lnTo>
                  <a:lnTo>
                    <a:pt x="10" y="61"/>
                  </a:lnTo>
                  <a:lnTo>
                    <a:pt x="4" y="69"/>
                  </a:lnTo>
                  <a:lnTo>
                    <a:pt x="0" y="76"/>
                  </a:lnTo>
                  <a:lnTo>
                    <a:pt x="0" y="83"/>
                  </a:lnTo>
                  <a:lnTo>
                    <a:pt x="0" y="87"/>
                  </a:lnTo>
                  <a:lnTo>
                    <a:pt x="10" y="89"/>
                  </a:lnTo>
                  <a:lnTo>
                    <a:pt x="17" y="87"/>
                  </a:lnTo>
                  <a:lnTo>
                    <a:pt x="19" y="95"/>
                  </a:lnTo>
                  <a:lnTo>
                    <a:pt x="23" y="102"/>
                  </a:lnTo>
                  <a:lnTo>
                    <a:pt x="26" y="108"/>
                  </a:lnTo>
                  <a:lnTo>
                    <a:pt x="32" y="113"/>
                  </a:lnTo>
                  <a:lnTo>
                    <a:pt x="28" y="122"/>
                  </a:lnTo>
                  <a:lnTo>
                    <a:pt x="34" y="122"/>
                  </a:lnTo>
                  <a:lnTo>
                    <a:pt x="37" y="122"/>
                  </a:lnTo>
                  <a:lnTo>
                    <a:pt x="39" y="126"/>
                  </a:lnTo>
                  <a:lnTo>
                    <a:pt x="41" y="128"/>
                  </a:lnTo>
                  <a:lnTo>
                    <a:pt x="34" y="128"/>
                  </a:lnTo>
                  <a:lnTo>
                    <a:pt x="26" y="126"/>
                  </a:lnTo>
                  <a:lnTo>
                    <a:pt x="24" y="132"/>
                  </a:lnTo>
                  <a:lnTo>
                    <a:pt x="24" y="135"/>
                  </a:lnTo>
                  <a:lnTo>
                    <a:pt x="30" y="137"/>
                  </a:lnTo>
                  <a:lnTo>
                    <a:pt x="32" y="143"/>
                  </a:lnTo>
                  <a:lnTo>
                    <a:pt x="30" y="144"/>
                  </a:lnTo>
                  <a:lnTo>
                    <a:pt x="28" y="146"/>
                  </a:lnTo>
                  <a:lnTo>
                    <a:pt x="26" y="144"/>
                  </a:lnTo>
                  <a:lnTo>
                    <a:pt x="24" y="144"/>
                  </a:lnTo>
                  <a:lnTo>
                    <a:pt x="21" y="141"/>
                  </a:lnTo>
                  <a:lnTo>
                    <a:pt x="17" y="139"/>
                  </a:lnTo>
                  <a:lnTo>
                    <a:pt x="12" y="148"/>
                  </a:lnTo>
                  <a:lnTo>
                    <a:pt x="10" y="156"/>
                  </a:lnTo>
                  <a:lnTo>
                    <a:pt x="12" y="159"/>
                  </a:lnTo>
                  <a:lnTo>
                    <a:pt x="13" y="163"/>
                  </a:lnTo>
                  <a:lnTo>
                    <a:pt x="19" y="167"/>
                  </a:lnTo>
                  <a:lnTo>
                    <a:pt x="23" y="174"/>
                  </a:lnTo>
                  <a:lnTo>
                    <a:pt x="19" y="183"/>
                  </a:lnTo>
                  <a:lnTo>
                    <a:pt x="19" y="191"/>
                  </a:lnTo>
                  <a:lnTo>
                    <a:pt x="21" y="194"/>
                  </a:lnTo>
                  <a:lnTo>
                    <a:pt x="23" y="194"/>
                  </a:lnTo>
                  <a:lnTo>
                    <a:pt x="30" y="193"/>
                  </a:lnTo>
                  <a:lnTo>
                    <a:pt x="36" y="194"/>
                  </a:lnTo>
                  <a:lnTo>
                    <a:pt x="41" y="202"/>
                  </a:lnTo>
                  <a:lnTo>
                    <a:pt x="45" y="205"/>
                  </a:lnTo>
                  <a:lnTo>
                    <a:pt x="48" y="207"/>
                  </a:lnTo>
                  <a:lnTo>
                    <a:pt x="50" y="209"/>
                  </a:lnTo>
                  <a:lnTo>
                    <a:pt x="54" y="207"/>
                  </a:lnTo>
                  <a:lnTo>
                    <a:pt x="60" y="209"/>
                  </a:lnTo>
                  <a:lnTo>
                    <a:pt x="65" y="220"/>
                  </a:lnTo>
                  <a:lnTo>
                    <a:pt x="69" y="226"/>
                  </a:lnTo>
                  <a:lnTo>
                    <a:pt x="74" y="229"/>
                  </a:lnTo>
                  <a:lnTo>
                    <a:pt x="80" y="229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56" name="Freeform 54"/>
            <p:cNvSpPr>
              <a:spLocks/>
            </p:cNvSpPr>
            <p:nvPr/>
          </p:nvSpPr>
          <p:spPr bwMode="auto">
            <a:xfrm>
              <a:off x="4562730" y="2361334"/>
              <a:ext cx="22583" cy="48931"/>
            </a:xfrm>
            <a:custGeom>
              <a:avLst/>
              <a:gdLst>
                <a:gd name="T0" fmla="*/ 1465 w 13"/>
                <a:gd name="T1" fmla="*/ 0 h 26"/>
                <a:gd name="T2" fmla="*/ 0 w 13"/>
                <a:gd name="T3" fmla="*/ 6350 h 26"/>
                <a:gd name="T4" fmla="*/ 0 w 13"/>
                <a:gd name="T5" fmla="*/ 12700 h 26"/>
                <a:gd name="T6" fmla="*/ 1465 w 13"/>
                <a:gd name="T7" fmla="*/ 17463 h 26"/>
                <a:gd name="T8" fmla="*/ 4396 w 13"/>
                <a:gd name="T9" fmla="*/ 23812 h 26"/>
                <a:gd name="T10" fmla="*/ 1465 w 13"/>
                <a:gd name="T11" fmla="*/ 34925 h 26"/>
                <a:gd name="T12" fmla="*/ 0 w 13"/>
                <a:gd name="T13" fmla="*/ 41275 h 26"/>
                <a:gd name="T14" fmla="*/ 4396 w 13"/>
                <a:gd name="T15" fmla="*/ 41275 h 26"/>
                <a:gd name="T16" fmla="*/ 7327 w 13"/>
                <a:gd name="T17" fmla="*/ 41275 h 26"/>
                <a:gd name="T18" fmla="*/ 10258 w 13"/>
                <a:gd name="T19" fmla="*/ 38100 h 26"/>
                <a:gd name="T20" fmla="*/ 13188 w 13"/>
                <a:gd name="T21" fmla="*/ 34925 h 26"/>
                <a:gd name="T22" fmla="*/ 16119 w 13"/>
                <a:gd name="T23" fmla="*/ 30163 h 26"/>
                <a:gd name="T24" fmla="*/ 19050 w 13"/>
                <a:gd name="T25" fmla="*/ 20638 h 26"/>
                <a:gd name="T26" fmla="*/ 19050 w 13"/>
                <a:gd name="T27" fmla="*/ 12700 h 26"/>
                <a:gd name="T28" fmla="*/ 16119 w 13"/>
                <a:gd name="T29" fmla="*/ 6350 h 26"/>
                <a:gd name="T30" fmla="*/ 7327 w 13"/>
                <a:gd name="T31" fmla="*/ 0 h 26"/>
                <a:gd name="T32" fmla="*/ 1465 w 13"/>
                <a:gd name="T33" fmla="*/ 0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3"/>
                <a:gd name="T52" fmla="*/ 0 h 26"/>
                <a:gd name="T53" fmla="*/ 13 w 13"/>
                <a:gd name="T54" fmla="*/ 26 h 2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3" h="26">
                  <a:moveTo>
                    <a:pt x="1" y="0"/>
                  </a:moveTo>
                  <a:lnTo>
                    <a:pt x="0" y="4"/>
                  </a:lnTo>
                  <a:lnTo>
                    <a:pt x="0" y="8"/>
                  </a:lnTo>
                  <a:lnTo>
                    <a:pt x="1" y="11"/>
                  </a:lnTo>
                  <a:lnTo>
                    <a:pt x="3" y="15"/>
                  </a:lnTo>
                  <a:lnTo>
                    <a:pt x="1" y="22"/>
                  </a:lnTo>
                  <a:lnTo>
                    <a:pt x="0" y="26"/>
                  </a:lnTo>
                  <a:lnTo>
                    <a:pt x="3" y="26"/>
                  </a:lnTo>
                  <a:lnTo>
                    <a:pt x="5" y="26"/>
                  </a:lnTo>
                  <a:lnTo>
                    <a:pt x="7" y="24"/>
                  </a:lnTo>
                  <a:lnTo>
                    <a:pt x="9" y="22"/>
                  </a:lnTo>
                  <a:lnTo>
                    <a:pt x="11" y="19"/>
                  </a:lnTo>
                  <a:lnTo>
                    <a:pt x="13" y="13"/>
                  </a:lnTo>
                  <a:lnTo>
                    <a:pt x="13" y="8"/>
                  </a:lnTo>
                  <a:lnTo>
                    <a:pt x="11" y="4"/>
                  </a:lnTo>
                  <a:lnTo>
                    <a:pt x="5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57" name="Freeform 55"/>
            <p:cNvSpPr>
              <a:spLocks/>
            </p:cNvSpPr>
            <p:nvPr/>
          </p:nvSpPr>
          <p:spPr bwMode="auto">
            <a:xfrm>
              <a:off x="4176931" y="2447904"/>
              <a:ext cx="122327" cy="94098"/>
            </a:xfrm>
            <a:custGeom>
              <a:avLst/>
              <a:gdLst>
                <a:gd name="T0" fmla="*/ 2948 w 70"/>
                <a:gd name="T1" fmla="*/ 55563 h 50"/>
                <a:gd name="T2" fmla="*/ 10319 w 70"/>
                <a:gd name="T3" fmla="*/ 68263 h 50"/>
                <a:gd name="T4" fmla="*/ 19163 w 70"/>
                <a:gd name="T5" fmla="*/ 74613 h 50"/>
                <a:gd name="T6" fmla="*/ 29482 w 70"/>
                <a:gd name="T7" fmla="*/ 79375 h 50"/>
                <a:gd name="T8" fmla="*/ 38327 w 70"/>
                <a:gd name="T9" fmla="*/ 79375 h 50"/>
                <a:gd name="T10" fmla="*/ 57490 w 70"/>
                <a:gd name="T11" fmla="*/ 79375 h 50"/>
                <a:gd name="T12" fmla="*/ 78127 w 70"/>
                <a:gd name="T13" fmla="*/ 74613 h 50"/>
                <a:gd name="T14" fmla="*/ 89920 w 70"/>
                <a:gd name="T15" fmla="*/ 76200 h 50"/>
                <a:gd name="T16" fmla="*/ 95817 w 70"/>
                <a:gd name="T17" fmla="*/ 74613 h 50"/>
                <a:gd name="T18" fmla="*/ 100239 w 70"/>
                <a:gd name="T19" fmla="*/ 71438 h 50"/>
                <a:gd name="T20" fmla="*/ 103187 w 70"/>
                <a:gd name="T21" fmla="*/ 68263 h 50"/>
                <a:gd name="T22" fmla="*/ 103187 w 70"/>
                <a:gd name="T23" fmla="*/ 55563 h 50"/>
                <a:gd name="T24" fmla="*/ 95817 w 70"/>
                <a:gd name="T25" fmla="*/ 41275 h 50"/>
                <a:gd name="T26" fmla="*/ 95817 w 70"/>
                <a:gd name="T27" fmla="*/ 30163 h 50"/>
                <a:gd name="T28" fmla="*/ 92868 w 70"/>
                <a:gd name="T29" fmla="*/ 17463 h 50"/>
                <a:gd name="T30" fmla="*/ 89920 w 70"/>
                <a:gd name="T31" fmla="*/ 12700 h 50"/>
                <a:gd name="T32" fmla="*/ 86972 w 70"/>
                <a:gd name="T33" fmla="*/ 6350 h 50"/>
                <a:gd name="T34" fmla="*/ 78127 w 70"/>
                <a:gd name="T35" fmla="*/ 3175 h 50"/>
                <a:gd name="T36" fmla="*/ 67809 w 70"/>
                <a:gd name="T37" fmla="*/ 0 h 50"/>
                <a:gd name="T38" fmla="*/ 61912 w 70"/>
                <a:gd name="T39" fmla="*/ 0 h 50"/>
                <a:gd name="T40" fmla="*/ 57490 w 70"/>
                <a:gd name="T41" fmla="*/ 3175 h 50"/>
                <a:gd name="T42" fmla="*/ 51594 w 70"/>
                <a:gd name="T43" fmla="*/ 6350 h 50"/>
                <a:gd name="T44" fmla="*/ 45697 w 70"/>
                <a:gd name="T45" fmla="*/ 9525 h 50"/>
                <a:gd name="T46" fmla="*/ 38327 w 70"/>
                <a:gd name="T47" fmla="*/ 20637 h 50"/>
                <a:gd name="T48" fmla="*/ 26534 w 70"/>
                <a:gd name="T49" fmla="*/ 30163 h 50"/>
                <a:gd name="T50" fmla="*/ 16215 w 70"/>
                <a:gd name="T51" fmla="*/ 34925 h 50"/>
                <a:gd name="T52" fmla="*/ 5896 w 70"/>
                <a:gd name="T53" fmla="*/ 41275 h 50"/>
                <a:gd name="T54" fmla="*/ 2948 w 70"/>
                <a:gd name="T55" fmla="*/ 44450 h 50"/>
                <a:gd name="T56" fmla="*/ 0 w 70"/>
                <a:gd name="T57" fmla="*/ 47625 h 50"/>
                <a:gd name="T58" fmla="*/ 0 w 70"/>
                <a:gd name="T59" fmla="*/ 50800 h 50"/>
                <a:gd name="T60" fmla="*/ 2948 w 70"/>
                <a:gd name="T61" fmla="*/ 55563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0"/>
                <a:gd name="T94" fmla="*/ 0 h 50"/>
                <a:gd name="T95" fmla="*/ 70 w 70"/>
                <a:gd name="T96" fmla="*/ 50 h 5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0" h="50">
                  <a:moveTo>
                    <a:pt x="2" y="35"/>
                  </a:moveTo>
                  <a:lnTo>
                    <a:pt x="7" y="43"/>
                  </a:lnTo>
                  <a:lnTo>
                    <a:pt x="13" y="47"/>
                  </a:lnTo>
                  <a:lnTo>
                    <a:pt x="20" y="50"/>
                  </a:lnTo>
                  <a:lnTo>
                    <a:pt x="26" y="50"/>
                  </a:lnTo>
                  <a:lnTo>
                    <a:pt x="39" y="50"/>
                  </a:lnTo>
                  <a:lnTo>
                    <a:pt x="53" y="47"/>
                  </a:lnTo>
                  <a:lnTo>
                    <a:pt x="61" y="48"/>
                  </a:lnTo>
                  <a:lnTo>
                    <a:pt x="65" y="47"/>
                  </a:lnTo>
                  <a:lnTo>
                    <a:pt x="68" y="45"/>
                  </a:lnTo>
                  <a:lnTo>
                    <a:pt x="70" y="43"/>
                  </a:lnTo>
                  <a:lnTo>
                    <a:pt x="70" y="35"/>
                  </a:lnTo>
                  <a:lnTo>
                    <a:pt x="65" y="26"/>
                  </a:lnTo>
                  <a:lnTo>
                    <a:pt x="65" y="19"/>
                  </a:lnTo>
                  <a:lnTo>
                    <a:pt x="63" y="11"/>
                  </a:lnTo>
                  <a:lnTo>
                    <a:pt x="61" y="8"/>
                  </a:lnTo>
                  <a:lnTo>
                    <a:pt x="59" y="4"/>
                  </a:lnTo>
                  <a:lnTo>
                    <a:pt x="53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9" y="2"/>
                  </a:lnTo>
                  <a:lnTo>
                    <a:pt x="35" y="4"/>
                  </a:lnTo>
                  <a:lnTo>
                    <a:pt x="31" y="6"/>
                  </a:lnTo>
                  <a:lnTo>
                    <a:pt x="26" y="13"/>
                  </a:lnTo>
                  <a:lnTo>
                    <a:pt x="18" y="19"/>
                  </a:lnTo>
                  <a:lnTo>
                    <a:pt x="11" y="22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2" y="35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58" name="Freeform 56"/>
            <p:cNvSpPr>
              <a:spLocks/>
            </p:cNvSpPr>
            <p:nvPr/>
          </p:nvSpPr>
          <p:spPr bwMode="auto">
            <a:xfrm>
              <a:off x="4703878" y="2671857"/>
              <a:ext cx="69632" cy="148675"/>
            </a:xfrm>
            <a:custGeom>
              <a:avLst/>
              <a:gdLst>
                <a:gd name="T0" fmla="*/ 0 w 40"/>
                <a:gd name="T1" fmla="*/ 28575 h 79"/>
                <a:gd name="T2" fmla="*/ 2937 w 40"/>
                <a:gd name="T3" fmla="*/ 52388 h 79"/>
                <a:gd name="T4" fmla="*/ 5874 w 40"/>
                <a:gd name="T5" fmla="*/ 76200 h 79"/>
                <a:gd name="T6" fmla="*/ 7342 w 40"/>
                <a:gd name="T7" fmla="*/ 98425 h 79"/>
                <a:gd name="T8" fmla="*/ 7342 w 40"/>
                <a:gd name="T9" fmla="*/ 119063 h 79"/>
                <a:gd name="T10" fmla="*/ 16153 w 40"/>
                <a:gd name="T11" fmla="*/ 122238 h 79"/>
                <a:gd name="T12" fmla="*/ 26432 w 40"/>
                <a:gd name="T13" fmla="*/ 125413 h 79"/>
                <a:gd name="T14" fmla="*/ 38179 w 40"/>
                <a:gd name="T15" fmla="*/ 125413 h 79"/>
                <a:gd name="T16" fmla="*/ 48458 w 40"/>
                <a:gd name="T17" fmla="*/ 115888 h 79"/>
                <a:gd name="T18" fmla="*/ 54332 w 40"/>
                <a:gd name="T19" fmla="*/ 93663 h 79"/>
                <a:gd name="T20" fmla="*/ 58737 w 40"/>
                <a:gd name="T21" fmla="*/ 73025 h 79"/>
                <a:gd name="T22" fmla="*/ 45521 w 40"/>
                <a:gd name="T23" fmla="*/ 34925 h 79"/>
                <a:gd name="T24" fmla="*/ 29369 w 40"/>
                <a:gd name="T25" fmla="*/ 0 h 79"/>
                <a:gd name="T26" fmla="*/ 29369 w 40"/>
                <a:gd name="T27" fmla="*/ 1588 h 79"/>
                <a:gd name="T28" fmla="*/ 22026 w 40"/>
                <a:gd name="T29" fmla="*/ 14288 h 79"/>
                <a:gd name="T30" fmla="*/ 13216 w 40"/>
                <a:gd name="T31" fmla="*/ 22225 h 79"/>
                <a:gd name="T32" fmla="*/ 0 w 40"/>
                <a:gd name="T33" fmla="*/ 28575 h 7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0"/>
                <a:gd name="T52" fmla="*/ 0 h 79"/>
                <a:gd name="T53" fmla="*/ 40 w 40"/>
                <a:gd name="T54" fmla="*/ 79 h 7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0" h="79">
                  <a:moveTo>
                    <a:pt x="0" y="18"/>
                  </a:moveTo>
                  <a:lnTo>
                    <a:pt x="2" y="33"/>
                  </a:lnTo>
                  <a:lnTo>
                    <a:pt x="4" y="48"/>
                  </a:lnTo>
                  <a:lnTo>
                    <a:pt x="5" y="62"/>
                  </a:lnTo>
                  <a:lnTo>
                    <a:pt x="5" y="75"/>
                  </a:lnTo>
                  <a:lnTo>
                    <a:pt x="11" y="77"/>
                  </a:lnTo>
                  <a:lnTo>
                    <a:pt x="18" y="79"/>
                  </a:lnTo>
                  <a:lnTo>
                    <a:pt x="26" y="79"/>
                  </a:lnTo>
                  <a:lnTo>
                    <a:pt x="33" y="73"/>
                  </a:lnTo>
                  <a:lnTo>
                    <a:pt x="37" y="59"/>
                  </a:lnTo>
                  <a:lnTo>
                    <a:pt x="40" y="46"/>
                  </a:lnTo>
                  <a:lnTo>
                    <a:pt x="31" y="22"/>
                  </a:lnTo>
                  <a:lnTo>
                    <a:pt x="20" y="0"/>
                  </a:lnTo>
                  <a:lnTo>
                    <a:pt x="20" y="1"/>
                  </a:lnTo>
                  <a:lnTo>
                    <a:pt x="15" y="9"/>
                  </a:lnTo>
                  <a:lnTo>
                    <a:pt x="9" y="1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59" name="Freeform 57"/>
            <p:cNvSpPr>
              <a:spLocks/>
            </p:cNvSpPr>
            <p:nvPr/>
          </p:nvSpPr>
          <p:spPr bwMode="auto">
            <a:xfrm>
              <a:off x="4641773" y="2824296"/>
              <a:ext cx="13174" cy="31993"/>
            </a:xfrm>
            <a:custGeom>
              <a:avLst/>
              <a:gdLst>
                <a:gd name="T0" fmla="*/ 3175 w 7"/>
                <a:gd name="T1" fmla="*/ 0 h 17"/>
                <a:gd name="T2" fmla="*/ 0 w 7"/>
                <a:gd name="T3" fmla="*/ 14287 h 17"/>
                <a:gd name="T4" fmla="*/ 3175 w 7"/>
                <a:gd name="T5" fmla="*/ 26987 h 17"/>
                <a:gd name="T6" fmla="*/ 7938 w 7"/>
                <a:gd name="T7" fmla="*/ 20637 h 17"/>
                <a:gd name="T8" fmla="*/ 11113 w 7"/>
                <a:gd name="T9" fmla="*/ 11112 h 17"/>
                <a:gd name="T10" fmla="*/ 11113 w 7"/>
                <a:gd name="T11" fmla="*/ 6350 h 17"/>
                <a:gd name="T12" fmla="*/ 7938 w 7"/>
                <a:gd name="T13" fmla="*/ 0 h 17"/>
                <a:gd name="T14" fmla="*/ 4763 w 7"/>
                <a:gd name="T15" fmla="*/ 0 h 17"/>
                <a:gd name="T16" fmla="*/ 3175 w 7"/>
                <a:gd name="T17" fmla="*/ 0 h 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7"/>
                <a:gd name="T29" fmla="*/ 7 w 7"/>
                <a:gd name="T30" fmla="*/ 17 h 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7">
                  <a:moveTo>
                    <a:pt x="2" y="0"/>
                  </a:moveTo>
                  <a:lnTo>
                    <a:pt x="0" y="9"/>
                  </a:lnTo>
                  <a:lnTo>
                    <a:pt x="2" y="17"/>
                  </a:lnTo>
                  <a:lnTo>
                    <a:pt x="5" y="13"/>
                  </a:lnTo>
                  <a:lnTo>
                    <a:pt x="7" y="7"/>
                  </a:lnTo>
                  <a:lnTo>
                    <a:pt x="7" y="4"/>
                  </a:lnTo>
                  <a:lnTo>
                    <a:pt x="5" y="0"/>
                  </a:lnTo>
                  <a:lnTo>
                    <a:pt x="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60" name="Freeform 58"/>
            <p:cNvSpPr>
              <a:spLocks/>
            </p:cNvSpPr>
            <p:nvPr/>
          </p:nvSpPr>
          <p:spPr bwMode="auto">
            <a:xfrm>
              <a:off x="4841261" y="1983060"/>
              <a:ext cx="749019" cy="274766"/>
            </a:xfrm>
            <a:custGeom>
              <a:avLst/>
              <a:gdLst>
                <a:gd name="T0" fmla="*/ 27853 w 431"/>
                <a:gd name="T1" fmla="*/ 193675 h 146"/>
                <a:gd name="T2" fmla="*/ 43979 w 431"/>
                <a:gd name="T3" fmla="*/ 211138 h 146"/>
                <a:gd name="T4" fmla="*/ 46910 w 431"/>
                <a:gd name="T5" fmla="*/ 231775 h 146"/>
                <a:gd name="T6" fmla="*/ 70366 w 431"/>
                <a:gd name="T7" fmla="*/ 225425 h 146"/>
                <a:gd name="T8" fmla="*/ 82093 w 431"/>
                <a:gd name="T9" fmla="*/ 184150 h 146"/>
                <a:gd name="T10" fmla="*/ 101151 w 431"/>
                <a:gd name="T11" fmla="*/ 193675 h 146"/>
                <a:gd name="T12" fmla="*/ 117276 w 431"/>
                <a:gd name="T13" fmla="*/ 193675 h 146"/>
                <a:gd name="T14" fmla="*/ 139265 w 431"/>
                <a:gd name="T15" fmla="*/ 166687 h 146"/>
                <a:gd name="T16" fmla="*/ 162721 w 431"/>
                <a:gd name="T17" fmla="*/ 180975 h 146"/>
                <a:gd name="T18" fmla="*/ 200835 w 431"/>
                <a:gd name="T19" fmla="*/ 134937 h 146"/>
                <a:gd name="T20" fmla="*/ 200835 w 431"/>
                <a:gd name="T21" fmla="*/ 149225 h 146"/>
                <a:gd name="T22" fmla="*/ 214029 w 431"/>
                <a:gd name="T23" fmla="*/ 152400 h 146"/>
                <a:gd name="T24" fmla="*/ 222825 w 431"/>
                <a:gd name="T25" fmla="*/ 134937 h 146"/>
                <a:gd name="T26" fmla="*/ 230154 w 431"/>
                <a:gd name="T27" fmla="*/ 146050 h 146"/>
                <a:gd name="T28" fmla="*/ 255076 w 431"/>
                <a:gd name="T29" fmla="*/ 149225 h 146"/>
                <a:gd name="T30" fmla="*/ 274133 w 431"/>
                <a:gd name="T31" fmla="*/ 131762 h 146"/>
                <a:gd name="T32" fmla="*/ 287326 w 431"/>
                <a:gd name="T33" fmla="*/ 122237 h 146"/>
                <a:gd name="T34" fmla="*/ 309316 w 431"/>
                <a:gd name="T35" fmla="*/ 117475 h 146"/>
                <a:gd name="T36" fmla="*/ 328373 w 431"/>
                <a:gd name="T37" fmla="*/ 114300 h 146"/>
                <a:gd name="T38" fmla="*/ 351828 w 431"/>
                <a:gd name="T39" fmla="*/ 117475 h 146"/>
                <a:gd name="T40" fmla="*/ 398739 w 431"/>
                <a:gd name="T41" fmla="*/ 111125 h 146"/>
                <a:gd name="T42" fmla="*/ 439785 w 431"/>
                <a:gd name="T43" fmla="*/ 117475 h 146"/>
                <a:gd name="T44" fmla="*/ 469104 w 431"/>
                <a:gd name="T45" fmla="*/ 125412 h 146"/>
                <a:gd name="T46" fmla="*/ 504287 w 431"/>
                <a:gd name="T47" fmla="*/ 119062 h 146"/>
                <a:gd name="T48" fmla="*/ 526277 w 431"/>
                <a:gd name="T49" fmla="*/ 122237 h 146"/>
                <a:gd name="T50" fmla="*/ 564391 w 431"/>
                <a:gd name="T51" fmla="*/ 111125 h 146"/>
                <a:gd name="T52" fmla="*/ 596642 w 431"/>
                <a:gd name="T53" fmla="*/ 111125 h 146"/>
                <a:gd name="T54" fmla="*/ 628893 w 431"/>
                <a:gd name="T55" fmla="*/ 66675 h 146"/>
                <a:gd name="T56" fmla="*/ 628893 w 431"/>
                <a:gd name="T57" fmla="*/ 42862 h 146"/>
                <a:gd name="T58" fmla="*/ 596642 w 431"/>
                <a:gd name="T59" fmla="*/ 25400 h 146"/>
                <a:gd name="T60" fmla="*/ 558527 w 431"/>
                <a:gd name="T61" fmla="*/ 28575 h 146"/>
                <a:gd name="T62" fmla="*/ 517481 w 431"/>
                <a:gd name="T63" fmla="*/ 42862 h 146"/>
                <a:gd name="T64" fmla="*/ 469104 w 431"/>
                <a:gd name="T65" fmla="*/ 31750 h 146"/>
                <a:gd name="T66" fmla="*/ 417796 w 431"/>
                <a:gd name="T67" fmla="*/ 14288 h 146"/>
                <a:gd name="T68" fmla="*/ 382613 w 431"/>
                <a:gd name="T69" fmla="*/ 14288 h 146"/>
                <a:gd name="T70" fmla="*/ 366488 w 431"/>
                <a:gd name="T71" fmla="*/ 17462 h 146"/>
                <a:gd name="T72" fmla="*/ 334237 w 431"/>
                <a:gd name="T73" fmla="*/ 11112 h 146"/>
                <a:gd name="T74" fmla="*/ 284395 w 431"/>
                <a:gd name="T75" fmla="*/ 4762 h 146"/>
                <a:gd name="T76" fmla="*/ 252144 w 431"/>
                <a:gd name="T77" fmla="*/ 14288 h 146"/>
                <a:gd name="T78" fmla="*/ 219893 w 431"/>
                <a:gd name="T79" fmla="*/ 25400 h 146"/>
                <a:gd name="T80" fmla="*/ 194972 w 431"/>
                <a:gd name="T81" fmla="*/ 38100 h 146"/>
                <a:gd name="T82" fmla="*/ 178846 w 431"/>
                <a:gd name="T83" fmla="*/ 20637 h 146"/>
                <a:gd name="T84" fmla="*/ 165652 w 431"/>
                <a:gd name="T85" fmla="*/ 17462 h 146"/>
                <a:gd name="T86" fmla="*/ 159789 w 431"/>
                <a:gd name="T87" fmla="*/ 28575 h 146"/>
                <a:gd name="T88" fmla="*/ 171516 w 431"/>
                <a:gd name="T89" fmla="*/ 49212 h 146"/>
                <a:gd name="T90" fmla="*/ 149527 w 431"/>
                <a:gd name="T91" fmla="*/ 52388 h 146"/>
                <a:gd name="T92" fmla="*/ 152459 w 431"/>
                <a:gd name="T93" fmla="*/ 80962 h 146"/>
                <a:gd name="T94" fmla="*/ 127538 w 431"/>
                <a:gd name="T95" fmla="*/ 66675 h 146"/>
                <a:gd name="T96" fmla="*/ 121674 w 431"/>
                <a:gd name="T97" fmla="*/ 73025 h 146"/>
                <a:gd name="T98" fmla="*/ 117276 w 431"/>
                <a:gd name="T99" fmla="*/ 87312 h 146"/>
                <a:gd name="T100" fmla="*/ 89423 w 431"/>
                <a:gd name="T101" fmla="*/ 96837 h 146"/>
                <a:gd name="T102" fmla="*/ 86491 w 431"/>
                <a:gd name="T103" fmla="*/ 107950 h 146"/>
                <a:gd name="T104" fmla="*/ 85025 w 431"/>
                <a:gd name="T105" fmla="*/ 119062 h 146"/>
                <a:gd name="T106" fmla="*/ 51308 w 431"/>
                <a:gd name="T107" fmla="*/ 104775 h 146"/>
                <a:gd name="T108" fmla="*/ 35183 w 431"/>
                <a:gd name="T109" fmla="*/ 119062 h 146"/>
                <a:gd name="T110" fmla="*/ 2932 w 431"/>
                <a:gd name="T111" fmla="*/ 117475 h 146"/>
                <a:gd name="T112" fmla="*/ 16125 w 431"/>
                <a:gd name="T113" fmla="*/ 131762 h 146"/>
                <a:gd name="T114" fmla="*/ 30785 w 431"/>
                <a:gd name="T115" fmla="*/ 152400 h 146"/>
                <a:gd name="T116" fmla="*/ 0 w 431"/>
                <a:gd name="T117" fmla="*/ 155575 h 14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31"/>
                <a:gd name="T178" fmla="*/ 0 h 146"/>
                <a:gd name="T179" fmla="*/ 431 w 431"/>
                <a:gd name="T180" fmla="*/ 146 h 14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31" h="146">
                  <a:moveTo>
                    <a:pt x="0" y="98"/>
                  </a:moveTo>
                  <a:lnTo>
                    <a:pt x="8" y="107"/>
                  </a:lnTo>
                  <a:lnTo>
                    <a:pt x="19" y="122"/>
                  </a:lnTo>
                  <a:lnTo>
                    <a:pt x="22" y="127"/>
                  </a:lnTo>
                  <a:lnTo>
                    <a:pt x="28" y="131"/>
                  </a:lnTo>
                  <a:lnTo>
                    <a:pt x="30" y="133"/>
                  </a:lnTo>
                  <a:lnTo>
                    <a:pt x="32" y="135"/>
                  </a:lnTo>
                  <a:lnTo>
                    <a:pt x="34" y="140"/>
                  </a:lnTo>
                  <a:lnTo>
                    <a:pt x="32" y="146"/>
                  </a:lnTo>
                  <a:lnTo>
                    <a:pt x="41" y="146"/>
                  </a:lnTo>
                  <a:lnTo>
                    <a:pt x="46" y="146"/>
                  </a:lnTo>
                  <a:lnTo>
                    <a:pt x="48" y="142"/>
                  </a:lnTo>
                  <a:lnTo>
                    <a:pt x="50" y="138"/>
                  </a:lnTo>
                  <a:lnTo>
                    <a:pt x="52" y="127"/>
                  </a:lnTo>
                  <a:lnTo>
                    <a:pt x="56" y="116"/>
                  </a:lnTo>
                  <a:lnTo>
                    <a:pt x="61" y="124"/>
                  </a:lnTo>
                  <a:lnTo>
                    <a:pt x="63" y="133"/>
                  </a:lnTo>
                  <a:lnTo>
                    <a:pt x="69" y="122"/>
                  </a:lnTo>
                  <a:lnTo>
                    <a:pt x="72" y="109"/>
                  </a:lnTo>
                  <a:lnTo>
                    <a:pt x="76" y="118"/>
                  </a:lnTo>
                  <a:lnTo>
                    <a:pt x="80" y="122"/>
                  </a:lnTo>
                  <a:lnTo>
                    <a:pt x="85" y="120"/>
                  </a:lnTo>
                  <a:lnTo>
                    <a:pt x="91" y="112"/>
                  </a:lnTo>
                  <a:lnTo>
                    <a:pt x="95" y="105"/>
                  </a:lnTo>
                  <a:lnTo>
                    <a:pt x="96" y="98"/>
                  </a:lnTo>
                  <a:lnTo>
                    <a:pt x="102" y="107"/>
                  </a:lnTo>
                  <a:lnTo>
                    <a:pt x="111" y="114"/>
                  </a:lnTo>
                  <a:lnTo>
                    <a:pt x="130" y="92"/>
                  </a:lnTo>
                  <a:lnTo>
                    <a:pt x="137" y="83"/>
                  </a:lnTo>
                  <a:lnTo>
                    <a:pt x="137" y="85"/>
                  </a:lnTo>
                  <a:lnTo>
                    <a:pt x="137" y="90"/>
                  </a:lnTo>
                  <a:lnTo>
                    <a:pt x="137" y="92"/>
                  </a:lnTo>
                  <a:lnTo>
                    <a:pt x="137" y="94"/>
                  </a:lnTo>
                  <a:lnTo>
                    <a:pt x="139" y="96"/>
                  </a:lnTo>
                  <a:lnTo>
                    <a:pt x="141" y="98"/>
                  </a:lnTo>
                  <a:lnTo>
                    <a:pt x="146" y="96"/>
                  </a:lnTo>
                  <a:lnTo>
                    <a:pt x="150" y="90"/>
                  </a:lnTo>
                  <a:lnTo>
                    <a:pt x="152" y="87"/>
                  </a:lnTo>
                  <a:lnTo>
                    <a:pt x="152" y="85"/>
                  </a:lnTo>
                  <a:lnTo>
                    <a:pt x="157" y="85"/>
                  </a:lnTo>
                  <a:lnTo>
                    <a:pt x="157" y="88"/>
                  </a:lnTo>
                  <a:lnTo>
                    <a:pt x="157" y="92"/>
                  </a:lnTo>
                  <a:lnTo>
                    <a:pt x="157" y="94"/>
                  </a:lnTo>
                  <a:lnTo>
                    <a:pt x="167" y="94"/>
                  </a:lnTo>
                  <a:lnTo>
                    <a:pt x="174" y="94"/>
                  </a:lnTo>
                  <a:lnTo>
                    <a:pt x="183" y="92"/>
                  </a:lnTo>
                  <a:lnTo>
                    <a:pt x="189" y="88"/>
                  </a:lnTo>
                  <a:lnTo>
                    <a:pt x="187" y="83"/>
                  </a:lnTo>
                  <a:lnTo>
                    <a:pt x="185" y="77"/>
                  </a:lnTo>
                  <a:lnTo>
                    <a:pt x="191" y="75"/>
                  </a:lnTo>
                  <a:lnTo>
                    <a:pt x="196" y="77"/>
                  </a:lnTo>
                  <a:lnTo>
                    <a:pt x="200" y="79"/>
                  </a:lnTo>
                  <a:lnTo>
                    <a:pt x="202" y="79"/>
                  </a:lnTo>
                  <a:lnTo>
                    <a:pt x="211" y="74"/>
                  </a:lnTo>
                  <a:lnTo>
                    <a:pt x="216" y="72"/>
                  </a:lnTo>
                  <a:lnTo>
                    <a:pt x="220" y="72"/>
                  </a:lnTo>
                  <a:lnTo>
                    <a:pt x="224" y="72"/>
                  </a:lnTo>
                  <a:lnTo>
                    <a:pt x="228" y="75"/>
                  </a:lnTo>
                  <a:lnTo>
                    <a:pt x="231" y="77"/>
                  </a:lnTo>
                  <a:lnTo>
                    <a:pt x="240" y="74"/>
                  </a:lnTo>
                  <a:lnTo>
                    <a:pt x="252" y="68"/>
                  </a:lnTo>
                  <a:lnTo>
                    <a:pt x="264" y="72"/>
                  </a:lnTo>
                  <a:lnTo>
                    <a:pt x="272" y="70"/>
                  </a:lnTo>
                  <a:lnTo>
                    <a:pt x="279" y="68"/>
                  </a:lnTo>
                  <a:lnTo>
                    <a:pt x="287" y="66"/>
                  </a:lnTo>
                  <a:lnTo>
                    <a:pt x="300" y="74"/>
                  </a:lnTo>
                  <a:lnTo>
                    <a:pt x="309" y="79"/>
                  </a:lnTo>
                  <a:lnTo>
                    <a:pt x="314" y="79"/>
                  </a:lnTo>
                  <a:lnTo>
                    <a:pt x="320" y="79"/>
                  </a:lnTo>
                  <a:lnTo>
                    <a:pt x="327" y="74"/>
                  </a:lnTo>
                  <a:lnTo>
                    <a:pt x="336" y="72"/>
                  </a:lnTo>
                  <a:lnTo>
                    <a:pt x="344" y="75"/>
                  </a:lnTo>
                  <a:lnTo>
                    <a:pt x="351" y="77"/>
                  </a:lnTo>
                  <a:lnTo>
                    <a:pt x="355" y="77"/>
                  </a:lnTo>
                  <a:lnTo>
                    <a:pt x="359" y="77"/>
                  </a:lnTo>
                  <a:lnTo>
                    <a:pt x="366" y="72"/>
                  </a:lnTo>
                  <a:lnTo>
                    <a:pt x="375" y="68"/>
                  </a:lnTo>
                  <a:lnTo>
                    <a:pt x="385" y="70"/>
                  </a:lnTo>
                  <a:lnTo>
                    <a:pt x="392" y="72"/>
                  </a:lnTo>
                  <a:lnTo>
                    <a:pt x="397" y="72"/>
                  </a:lnTo>
                  <a:lnTo>
                    <a:pt x="407" y="70"/>
                  </a:lnTo>
                  <a:lnTo>
                    <a:pt x="418" y="59"/>
                  </a:lnTo>
                  <a:lnTo>
                    <a:pt x="425" y="50"/>
                  </a:lnTo>
                  <a:lnTo>
                    <a:pt x="429" y="42"/>
                  </a:lnTo>
                  <a:lnTo>
                    <a:pt x="431" y="37"/>
                  </a:lnTo>
                  <a:lnTo>
                    <a:pt x="431" y="31"/>
                  </a:lnTo>
                  <a:lnTo>
                    <a:pt x="429" y="27"/>
                  </a:lnTo>
                  <a:lnTo>
                    <a:pt x="425" y="24"/>
                  </a:lnTo>
                  <a:lnTo>
                    <a:pt x="420" y="22"/>
                  </a:lnTo>
                  <a:lnTo>
                    <a:pt x="407" y="16"/>
                  </a:lnTo>
                  <a:lnTo>
                    <a:pt x="396" y="14"/>
                  </a:lnTo>
                  <a:lnTo>
                    <a:pt x="386" y="16"/>
                  </a:lnTo>
                  <a:lnTo>
                    <a:pt x="381" y="18"/>
                  </a:lnTo>
                  <a:lnTo>
                    <a:pt x="373" y="24"/>
                  </a:lnTo>
                  <a:lnTo>
                    <a:pt x="368" y="29"/>
                  </a:lnTo>
                  <a:lnTo>
                    <a:pt x="353" y="27"/>
                  </a:lnTo>
                  <a:lnTo>
                    <a:pt x="338" y="27"/>
                  </a:lnTo>
                  <a:lnTo>
                    <a:pt x="329" y="24"/>
                  </a:lnTo>
                  <a:lnTo>
                    <a:pt x="320" y="20"/>
                  </a:lnTo>
                  <a:lnTo>
                    <a:pt x="309" y="22"/>
                  </a:lnTo>
                  <a:lnTo>
                    <a:pt x="298" y="22"/>
                  </a:lnTo>
                  <a:lnTo>
                    <a:pt x="285" y="9"/>
                  </a:lnTo>
                  <a:lnTo>
                    <a:pt x="272" y="0"/>
                  </a:lnTo>
                  <a:lnTo>
                    <a:pt x="266" y="3"/>
                  </a:lnTo>
                  <a:lnTo>
                    <a:pt x="261" y="9"/>
                  </a:lnTo>
                  <a:lnTo>
                    <a:pt x="257" y="11"/>
                  </a:lnTo>
                  <a:lnTo>
                    <a:pt x="253" y="13"/>
                  </a:lnTo>
                  <a:lnTo>
                    <a:pt x="250" y="11"/>
                  </a:lnTo>
                  <a:lnTo>
                    <a:pt x="242" y="7"/>
                  </a:lnTo>
                  <a:lnTo>
                    <a:pt x="235" y="9"/>
                  </a:lnTo>
                  <a:lnTo>
                    <a:pt x="228" y="7"/>
                  </a:lnTo>
                  <a:lnTo>
                    <a:pt x="215" y="2"/>
                  </a:lnTo>
                  <a:lnTo>
                    <a:pt x="203" y="0"/>
                  </a:lnTo>
                  <a:lnTo>
                    <a:pt x="194" y="3"/>
                  </a:lnTo>
                  <a:lnTo>
                    <a:pt x="187" y="7"/>
                  </a:lnTo>
                  <a:lnTo>
                    <a:pt x="179" y="7"/>
                  </a:lnTo>
                  <a:lnTo>
                    <a:pt x="172" y="9"/>
                  </a:lnTo>
                  <a:lnTo>
                    <a:pt x="165" y="14"/>
                  </a:lnTo>
                  <a:lnTo>
                    <a:pt x="157" y="18"/>
                  </a:lnTo>
                  <a:lnTo>
                    <a:pt x="150" y="16"/>
                  </a:lnTo>
                  <a:lnTo>
                    <a:pt x="144" y="14"/>
                  </a:lnTo>
                  <a:lnTo>
                    <a:pt x="139" y="18"/>
                  </a:lnTo>
                  <a:lnTo>
                    <a:pt x="133" y="24"/>
                  </a:lnTo>
                  <a:lnTo>
                    <a:pt x="128" y="20"/>
                  </a:lnTo>
                  <a:lnTo>
                    <a:pt x="124" y="14"/>
                  </a:lnTo>
                  <a:lnTo>
                    <a:pt x="122" y="13"/>
                  </a:lnTo>
                  <a:lnTo>
                    <a:pt x="119" y="11"/>
                  </a:lnTo>
                  <a:lnTo>
                    <a:pt x="117" y="11"/>
                  </a:lnTo>
                  <a:lnTo>
                    <a:pt x="113" y="11"/>
                  </a:lnTo>
                  <a:lnTo>
                    <a:pt x="111" y="13"/>
                  </a:lnTo>
                  <a:lnTo>
                    <a:pt x="109" y="16"/>
                  </a:lnTo>
                  <a:lnTo>
                    <a:pt x="109" y="18"/>
                  </a:lnTo>
                  <a:lnTo>
                    <a:pt x="111" y="22"/>
                  </a:lnTo>
                  <a:lnTo>
                    <a:pt x="115" y="27"/>
                  </a:lnTo>
                  <a:lnTo>
                    <a:pt x="117" y="31"/>
                  </a:lnTo>
                  <a:lnTo>
                    <a:pt x="111" y="33"/>
                  </a:lnTo>
                  <a:lnTo>
                    <a:pt x="106" y="33"/>
                  </a:lnTo>
                  <a:lnTo>
                    <a:pt x="102" y="33"/>
                  </a:lnTo>
                  <a:lnTo>
                    <a:pt x="102" y="37"/>
                  </a:lnTo>
                  <a:lnTo>
                    <a:pt x="104" y="42"/>
                  </a:lnTo>
                  <a:lnTo>
                    <a:pt x="104" y="51"/>
                  </a:lnTo>
                  <a:lnTo>
                    <a:pt x="98" y="46"/>
                  </a:lnTo>
                  <a:lnTo>
                    <a:pt x="91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3" y="42"/>
                  </a:lnTo>
                  <a:lnTo>
                    <a:pt x="83" y="46"/>
                  </a:lnTo>
                  <a:lnTo>
                    <a:pt x="83" y="51"/>
                  </a:lnTo>
                  <a:lnTo>
                    <a:pt x="83" y="59"/>
                  </a:lnTo>
                  <a:lnTo>
                    <a:pt x="80" y="55"/>
                  </a:lnTo>
                  <a:lnTo>
                    <a:pt x="74" y="53"/>
                  </a:lnTo>
                  <a:lnTo>
                    <a:pt x="67" y="57"/>
                  </a:lnTo>
                  <a:lnTo>
                    <a:pt x="61" y="61"/>
                  </a:lnTo>
                  <a:lnTo>
                    <a:pt x="59" y="63"/>
                  </a:lnTo>
                  <a:lnTo>
                    <a:pt x="58" y="66"/>
                  </a:lnTo>
                  <a:lnTo>
                    <a:pt x="59" y="68"/>
                  </a:lnTo>
                  <a:lnTo>
                    <a:pt x="61" y="70"/>
                  </a:lnTo>
                  <a:lnTo>
                    <a:pt x="59" y="74"/>
                  </a:lnTo>
                  <a:lnTo>
                    <a:pt x="58" y="75"/>
                  </a:lnTo>
                  <a:lnTo>
                    <a:pt x="50" y="72"/>
                  </a:lnTo>
                  <a:lnTo>
                    <a:pt x="41" y="66"/>
                  </a:lnTo>
                  <a:lnTo>
                    <a:pt x="35" y="66"/>
                  </a:lnTo>
                  <a:lnTo>
                    <a:pt x="32" y="68"/>
                  </a:lnTo>
                  <a:lnTo>
                    <a:pt x="28" y="72"/>
                  </a:lnTo>
                  <a:lnTo>
                    <a:pt x="24" y="75"/>
                  </a:lnTo>
                  <a:lnTo>
                    <a:pt x="15" y="72"/>
                  </a:lnTo>
                  <a:lnTo>
                    <a:pt x="2" y="70"/>
                  </a:lnTo>
                  <a:lnTo>
                    <a:pt x="2" y="74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1" y="83"/>
                  </a:lnTo>
                  <a:lnTo>
                    <a:pt x="21" y="88"/>
                  </a:lnTo>
                  <a:lnTo>
                    <a:pt x="26" y="96"/>
                  </a:lnTo>
                  <a:lnTo>
                    <a:pt x="21" y="96"/>
                  </a:lnTo>
                  <a:lnTo>
                    <a:pt x="13" y="94"/>
                  </a:lnTo>
                  <a:lnTo>
                    <a:pt x="6" y="96"/>
                  </a:lnTo>
                  <a:lnTo>
                    <a:pt x="0" y="98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61" name="Freeform 59"/>
            <p:cNvSpPr>
              <a:spLocks/>
            </p:cNvSpPr>
            <p:nvPr/>
          </p:nvSpPr>
          <p:spPr bwMode="auto">
            <a:xfrm>
              <a:off x="3762900" y="2323694"/>
              <a:ext cx="1168695" cy="873228"/>
            </a:xfrm>
            <a:custGeom>
              <a:avLst/>
              <a:gdLst>
                <a:gd name="T0" fmla="*/ 940359 w 672"/>
                <a:gd name="T1" fmla="*/ 506413 h 464"/>
                <a:gd name="T2" fmla="*/ 852338 w 672"/>
                <a:gd name="T3" fmla="*/ 419100 h 464"/>
                <a:gd name="T4" fmla="*/ 820064 w 672"/>
                <a:gd name="T5" fmla="*/ 428625 h 464"/>
                <a:gd name="T6" fmla="*/ 806861 w 672"/>
                <a:gd name="T7" fmla="*/ 460375 h 464"/>
                <a:gd name="T8" fmla="*/ 803927 w 672"/>
                <a:gd name="T9" fmla="*/ 504825 h 464"/>
                <a:gd name="T10" fmla="*/ 758449 w 672"/>
                <a:gd name="T11" fmla="*/ 519113 h 464"/>
                <a:gd name="T12" fmla="*/ 726174 w 672"/>
                <a:gd name="T13" fmla="*/ 530225 h 464"/>
                <a:gd name="T14" fmla="*/ 704169 w 672"/>
                <a:gd name="T15" fmla="*/ 533400 h 464"/>
                <a:gd name="T16" fmla="*/ 730576 w 672"/>
                <a:gd name="T17" fmla="*/ 501650 h 464"/>
                <a:gd name="T18" fmla="*/ 733510 w 672"/>
                <a:gd name="T19" fmla="*/ 457200 h 464"/>
                <a:gd name="T20" fmla="*/ 690966 w 672"/>
                <a:gd name="T21" fmla="*/ 466725 h 464"/>
                <a:gd name="T22" fmla="*/ 655758 w 672"/>
                <a:gd name="T23" fmla="*/ 457200 h 464"/>
                <a:gd name="T24" fmla="*/ 601478 w 672"/>
                <a:gd name="T25" fmla="*/ 419100 h 464"/>
                <a:gd name="T26" fmla="*/ 544264 w 672"/>
                <a:gd name="T27" fmla="*/ 415925 h 464"/>
                <a:gd name="T28" fmla="*/ 519325 w 672"/>
                <a:gd name="T29" fmla="*/ 422275 h 464"/>
                <a:gd name="T30" fmla="*/ 492919 w 672"/>
                <a:gd name="T31" fmla="*/ 390525 h 464"/>
                <a:gd name="T32" fmla="*/ 506122 w 672"/>
                <a:gd name="T33" fmla="*/ 366713 h 464"/>
                <a:gd name="T34" fmla="*/ 557467 w 672"/>
                <a:gd name="T35" fmla="*/ 333375 h 464"/>
                <a:gd name="T36" fmla="*/ 551599 w 672"/>
                <a:gd name="T37" fmla="*/ 319088 h 464"/>
                <a:gd name="T38" fmla="*/ 473847 w 672"/>
                <a:gd name="T39" fmla="*/ 311150 h 464"/>
                <a:gd name="T40" fmla="*/ 451842 w 672"/>
                <a:gd name="T41" fmla="*/ 333375 h 464"/>
                <a:gd name="T42" fmla="*/ 429837 w 672"/>
                <a:gd name="T43" fmla="*/ 298450 h 464"/>
                <a:gd name="T44" fmla="*/ 311008 w 672"/>
                <a:gd name="T45" fmla="*/ 277813 h 464"/>
                <a:gd name="T46" fmla="*/ 291937 w 672"/>
                <a:gd name="T47" fmla="*/ 257175 h 464"/>
                <a:gd name="T48" fmla="*/ 231789 w 672"/>
                <a:gd name="T49" fmla="*/ 257175 h 464"/>
                <a:gd name="T50" fmla="*/ 167240 w 672"/>
                <a:gd name="T51" fmla="*/ 293688 h 464"/>
                <a:gd name="T52" fmla="*/ 121763 w 672"/>
                <a:gd name="T53" fmla="*/ 274638 h 464"/>
                <a:gd name="T54" fmla="*/ 107092 w 672"/>
                <a:gd name="T55" fmla="*/ 222250 h 464"/>
                <a:gd name="T56" fmla="*/ 105625 w 672"/>
                <a:gd name="T57" fmla="*/ 180975 h 464"/>
                <a:gd name="T58" fmla="*/ 129098 w 672"/>
                <a:gd name="T59" fmla="*/ 155575 h 464"/>
                <a:gd name="T60" fmla="*/ 189246 w 672"/>
                <a:gd name="T61" fmla="*/ 163513 h 464"/>
                <a:gd name="T62" fmla="*/ 221520 w 672"/>
                <a:gd name="T63" fmla="*/ 176213 h 464"/>
                <a:gd name="T64" fmla="*/ 231789 w 672"/>
                <a:gd name="T65" fmla="*/ 128588 h 464"/>
                <a:gd name="T66" fmla="*/ 243525 w 672"/>
                <a:gd name="T67" fmla="*/ 90488 h 464"/>
                <a:gd name="T68" fmla="*/ 196581 w 672"/>
                <a:gd name="T69" fmla="*/ 34925 h 464"/>
                <a:gd name="T70" fmla="*/ 176042 w 672"/>
                <a:gd name="T71" fmla="*/ 41275 h 464"/>
                <a:gd name="T72" fmla="*/ 126164 w 672"/>
                <a:gd name="T73" fmla="*/ 111125 h 464"/>
                <a:gd name="T74" fmla="*/ 74818 w 672"/>
                <a:gd name="T75" fmla="*/ 125413 h 464"/>
                <a:gd name="T76" fmla="*/ 55747 w 672"/>
                <a:gd name="T77" fmla="*/ 190500 h 464"/>
                <a:gd name="T78" fmla="*/ 26406 w 672"/>
                <a:gd name="T79" fmla="*/ 207963 h 464"/>
                <a:gd name="T80" fmla="*/ 0 w 672"/>
                <a:gd name="T81" fmla="*/ 222250 h 464"/>
                <a:gd name="T82" fmla="*/ 20538 w 672"/>
                <a:gd name="T83" fmla="*/ 298450 h 464"/>
                <a:gd name="T84" fmla="*/ 70417 w 672"/>
                <a:gd name="T85" fmla="*/ 395287 h 464"/>
                <a:gd name="T86" fmla="*/ 96823 w 672"/>
                <a:gd name="T87" fmla="*/ 384175 h 464"/>
                <a:gd name="T88" fmla="*/ 208317 w 672"/>
                <a:gd name="T89" fmla="*/ 425450 h 464"/>
                <a:gd name="T90" fmla="*/ 338881 w 672"/>
                <a:gd name="T91" fmla="*/ 442913 h 464"/>
                <a:gd name="T92" fmla="*/ 409298 w 672"/>
                <a:gd name="T93" fmla="*/ 515938 h 464"/>
                <a:gd name="T94" fmla="*/ 707103 w 672"/>
                <a:gd name="T95" fmla="*/ 733425 h 464"/>
                <a:gd name="T96" fmla="*/ 768718 w 672"/>
                <a:gd name="T97" fmla="*/ 715963 h 464"/>
                <a:gd name="T98" fmla="*/ 858206 w 672"/>
                <a:gd name="T99" fmla="*/ 682625 h 464"/>
                <a:gd name="T100" fmla="*/ 947695 w 672"/>
                <a:gd name="T101" fmla="*/ 671513 h 464"/>
                <a:gd name="T102" fmla="*/ 975568 w 672"/>
                <a:gd name="T103" fmla="*/ 619125 h 46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72"/>
                <a:gd name="T157" fmla="*/ 0 h 464"/>
                <a:gd name="T158" fmla="*/ 672 w 672"/>
                <a:gd name="T159" fmla="*/ 464 h 46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72" h="464">
                  <a:moveTo>
                    <a:pt x="672" y="392"/>
                  </a:moveTo>
                  <a:lnTo>
                    <a:pt x="666" y="375"/>
                  </a:lnTo>
                  <a:lnTo>
                    <a:pt x="659" y="356"/>
                  </a:lnTo>
                  <a:lnTo>
                    <a:pt x="650" y="338"/>
                  </a:lnTo>
                  <a:lnTo>
                    <a:pt x="641" y="319"/>
                  </a:lnTo>
                  <a:lnTo>
                    <a:pt x="622" y="303"/>
                  </a:lnTo>
                  <a:lnTo>
                    <a:pt x="600" y="283"/>
                  </a:lnTo>
                  <a:lnTo>
                    <a:pt x="591" y="270"/>
                  </a:lnTo>
                  <a:lnTo>
                    <a:pt x="585" y="264"/>
                  </a:lnTo>
                  <a:lnTo>
                    <a:pt x="581" y="264"/>
                  </a:lnTo>
                  <a:lnTo>
                    <a:pt x="578" y="264"/>
                  </a:lnTo>
                  <a:lnTo>
                    <a:pt x="574" y="266"/>
                  </a:lnTo>
                  <a:lnTo>
                    <a:pt x="572" y="270"/>
                  </a:lnTo>
                  <a:lnTo>
                    <a:pt x="565" y="268"/>
                  </a:lnTo>
                  <a:lnTo>
                    <a:pt x="559" y="270"/>
                  </a:lnTo>
                  <a:lnTo>
                    <a:pt x="557" y="270"/>
                  </a:lnTo>
                  <a:lnTo>
                    <a:pt x="556" y="273"/>
                  </a:lnTo>
                  <a:lnTo>
                    <a:pt x="556" y="277"/>
                  </a:lnTo>
                  <a:lnTo>
                    <a:pt x="554" y="283"/>
                  </a:lnTo>
                  <a:lnTo>
                    <a:pt x="550" y="290"/>
                  </a:lnTo>
                  <a:lnTo>
                    <a:pt x="545" y="299"/>
                  </a:lnTo>
                  <a:lnTo>
                    <a:pt x="545" y="303"/>
                  </a:lnTo>
                  <a:lnTo>
                    <a:pt x="548" y="305"/>
                  </a:lnTo>
                  <a:lnTo>
                    <a:pt x="550" y="308"/>
                  </a:lnTo>
                  <a:lnTo>
                    <a:pt x="548" y="318"/>
                  </a:lnTo>
                  <a:lnTo>
                    <a:pt x="543" y="323"/>
                  </a:lnTo>
                  <a:lnTo>
                    <a:pt x="539" y="327"/>
                  </a:lnTo>
                  <a:lnTo>
                    <a:pt x="533" y="331"/>
                  </a:lnTo>
                  <a:lnTo>
                    <a:pt x="526" y="334"/>
                  </a:lnTo>
                  <a:lnTo>
                    <a:pt x="517" y="327"/>
                  </a:lnTo>
                  <a:lnTo>
                    <a:pt x="504" y="319"/>
                  </a:lnTo>
                  <a:lnTo>
                    <a:pt x="500" y="321"/>
                  </a:lnTo>
                  <a:lnTo>
                    <a:pt x="497" y="325"/>
                  </a:lnTo>
                  <a:lnTo>
                    <a:pt x="495" y="329"/>
                  </a:lnTo>
                  <a:lnTo>
                    <a:pt x="495" y="334"/>
                  </a:lnTo>
                  <a:lnTo>
                    <a:pt x="493" y="338"/>
                  </a:lnTo>
                  <a:lnTo>
                    <a:pt x="491" y="342"/>
                  </a:lnTo>
                  <a:lnTo>
                    <a:pt x="487" y="343"/>
                  </a:lnTo>
                  <a:lnTo>
                    <a:pt x="484" y="342"/>
                  </a:lnTo>
                  <a:lnTo>
                    <a:pt x="480" y="336"/>
                  </a:lnTo>
                  <a:lnTo>
                    <a:pt x="480" y="331"/>
                  </a:lnTo>
                  <a:lnTo>
                    <a:pt x="480" y="327"/>
                  </a:lnTo>
                  <a:lnTo>
                    <a:pt x="484" y="323"/>
                  </a:lnTo>
                  <a:lnTo>
                    <a:pt x="491" y="318"/>
                  </a:lnTo>
                  <a:lnTo>
                    <a:pt x="498" y="316"/>
                  </a:lnTo>
                  <a:lnTo>
                    <a:pt x="497" y="305"/>
                  </a:lnTo>
                  <a:lnTo>
                    <a:pt x="498" y="297"/>
                  </a:lnTo>
                  <a:lnTo>
                    <a:pt x="504" y="295"/>
                  </a:lnTo>
                  <a:lnTo>
                    <a:pt x="504" y="292"/>
                  </a:lnTo>
                  <a:lnTo>
                    <a:pt x="500" y="288"/>
                  </a:lnTo>
                  <a:lnTo>
                    <a:pt x="493" y="286"/>
                  </a:lnTo>
                  <a:lnTo>
                    <a:pt x="482" y="286"/>
                  </a:lnTo>
                  <a:lnTo>
                    <a:pt x="478" y="288"/>
                  </a:lnTo>
                  <a:lnTo>
                    <a:pt x="474" y="292"/>
                  </a:lnTo>
                  <a:lnTo>
                    <a:pt x="471" y="294"/>
                  </a:lnTo>
                  <a:lnTo>
                    <a:pt x="469" y="290"/>
                  </a:lnTo>
                  <a:lnTo>
                    <a:pt x="465" y="288"/>
                  </a:lnTo>
                  <a:lnTo>
                    <a:pt x="461" y="286"/>
                  </a:lnTo>
                  <a:lnTo>
                    <a:pt x="456" y="286"/>
                  </a:lnTo>
                  <a:lnTo>
                    <a:pt x="447" y="288"/>
                  </a:lnTo>
                  <a:lnTo>
                    <a:pt x="436" y="290"/>
                  </a:lnTo>
                  <a:lnTo>
                    <a:pt x="428" y="284"/>
                  </a:lnTo>
                  <a:lnTo>
                    <a:pt x="421" y="275"/>
                  </a:lnTo>
                  <a:lnTo>
                    <a:pt x="417" y="270"/>
                  </a:lnTo>
                  <a:lnTo>
                    <a:pt x="410" y="264"/>
                  </a:lnTo>
                  <a:lnTo>
                    <a:pt x="402" y="260"/>
                  </a:lnTo>
                  <a:lnTo>
                    <a:pt x="389" y="257"/>
                  </a:lnTo>
                  <a:lnTo>
                    <a:pt x="382" y="257"/>
                  </a:lnTo>
                  <a:lnTo>
                    <a:pt x="376" y="258"/>
                  </a:lnTo>
                  <a:lnTo>
                    <a:pt x="371" y="262"/>
                  </a:lnTo>
                  <a:lnTo>
                    <a:pt x="367" y="264"/>
                  </a:lnTo>
                  <a:lnTo>
                    <a:pt x="364" y="270"/>
                  </a:lnTo>
                  <a:lnTo>
                    <a:pt x="358" y="271"/>
                  </a:lnTo>
                  <a:lnTo>
                    <a:pt x="356" y="270"/>
                  </a:lnTo>
                  <a:lnTo>
                    <a:pt x="354" y="266"/>
                  </a:lnTo>
                  <a:lnTo>
                    <a:pt x="352" y="258"/>
                  </a:lnTo>
                  <a:lnTo>
                    <a:pt x="351" y="251"/>
                  </a:lnTo>
                  <a:lnTo>
                    <a:pt x="347" y="249"/>
                  </a:lnTo>
                  <a:lnTo>
                    <a:pt x="340" y="247"/>
                  </a:lnTo>
                  <a:lnTo>
                    <a:pt x="336" y="246"/>
                  </a:lnTo>
                  <a:lnTo>
                    <a:pt x="334" y="244"/>
                  </a:lnTo>
                  <a:lnTo>
                    <a:pt x="332" y="238"/>
                  </a:lnTo>
                  <a:lnTo>
                    <a:pt x="332" y="231"/>
                  </a:lnTo>
                  <a:lnTo>
                    <a:pt x="341" y="233"/>
                  </a:lnTo>
                  <a:lnTo>
                    <a:pt x="345" y="231"/>
                  </a:lnTo>
                  <a:lnTo>
                    <a:pt x="347" y="225"/>
                  </a:lnTo>
                  <a:lnTo>
                    <a:pt x="351" y="218"/>
                  </a:lnTo>
                  <a:lnTo>
                    <a:pt x="360" y="214"/>
                  </a:lnTo>
                  <a:lnTo>
                    <a:pt x="373" y="205"/>
                  </a:lnTo>
                  <a:lnTo>
                    <a:pt x="380" y="210"/>
                  </a:lnTo>
                  <a:lnTo>
                    <a:pt x="388" y="212"/>
                  </a:lnTo>
                  <a:lnTo>
                    <a:pt x="389" y="209"/>
                  </a:lnTo>
                  <a:lnTo>
                    <a:pt x="388" y="205"/>
                  </a:lnTo>
                  <a:lnTo>
                    <a:pt x="384" y="203"/>
                  </a:lnTo>
                  <a:lnTo>
                    <a:pt x="376" y="201"/>
                  </a:lnTo>
                  <a:lnTo>
                    <a:pt x="365" y="199"/>
                  </a:lnTo>
                  <a:lnTo>
                    <a:pt x="351" y="198"/>
                  </a:lnTo>
                  <a:lnTo>
                    <a:pt x="336" y="192"/>
                  </a:lnTo>
                  <a:lnTo>
                    <a:pt x="325" y="190"/>
                  </a:lnTo>
                  <a:lnTo>
                    <a:pt x="323" y="196"/>
                  </a:lnTo>
                  <a:lnTo>
                    <a:pt x="321" y="205"/>
                  </a:lnTo>
                  <a:lnTo>
                    <a:pt x="321" y="207"/>
                  </a:lnTo>
                  <a:lnTo>
                    <a:pt x="317" y="210"/>
                  </a:lnTo>
                  <a:lnTo>
                    <a:pt x="314" y="212"/>
                  </a:lnTo>
                  <a:lnTo>
                    <a:pt x="308" y="210"/>
                  </a:lnTo>
                  <a:lnTo>
                    <a:pt x="308" y="205"/>
                  </a:lnTo>
                  <a:lnTo>
                    <a:pt x="310" y="201"/>
                  </a:lnTo>
                  <a:lnTo>
                    <a:pt x="310" y="196"/>
                  </a:lnTo>
                  <a:lnTo>
                    <a:pt x="306" y="190"/>
                  </a:lnTo>
                  <a:lnTo>
                    <a:pt x="293" y="188"/>
                  </a:lnTo>
                  <a:lnTo>
                    <a:pt x="280" y="188"/>
                  </a:lnTo>
                  <a:lnTo>
                    <a:pt x="271" y="181"/>
                  </a:lnTo>
                  <a:lnTo>
                    <a:pt x="264" y="177"/>
                  </a:lnTo>
                  <a:lnTo>
                    <a:pt x="247" y="175"/>
                  </a:lnTo>
                  <a:lnTo>
                    <a:pt x="212" y="175"/>
                  </a:lnTo>
                  <a:lnTo>
                    <a:pt x="206" y="173"/>
                  </a:lnTo>
                  <a:lnTo>
                    <a:pt x="205" y="172"/>
                  </a:lnTo>
                  <a:lnTo>
                    <a:pt x="203" y="170"/>
                  </a:lnTo>
                  <a:lnTo>
                    <a:pt x="201" y="168"/>
                  </a:lnTo>
                  <a:lnTo>
                    <a:pt x="199" y="162"/>
                  </a:lnTo>
                  <a:lnTo>
                    <a:pt x="197" y="159"/>
                  </a:lnTo>
                  <a:lnTo>
                    <a:pt x="192" y="164"/>
                  </a:lnTo>
                  <a:lnTo>
                    <a:pt x="184" y="172"/>
                  </a:lnTo>
                  <a:lnTo>
                    <a:pt x="170" y="168"/>
                  </a:lnTo>
                  <a:lnTo>
                    <a:pt x="158" y="162"/>
                  </a:lnTo>
                  <a:lnTo>
                    <a:pt x="147" y="170"/>
                  </a:lnTo>
                  <a:lnTo>
                    <a:pt x="136" y="177"/>
                  </a:lnTo>
                  <a:lnTo>
                    <a:pt x="129" y="181"/>
                  </a:lnTo>
                  <a:lnTo>
                    <a:pt x="123" y="183"/>
                  </a:lnTo>
                  <a:lnTo>
                    <a:pt x="114" y="185"/>
                  </a:lnTo>
                  <a:lnTo>
                    <a:pt x="107" y="186"/>
                  </a:lnTo>
                  <a:lnTo>
                    <a:pt x="98" y="185"/>
                  </a:lnTo>
                  <a:lnTo>
                    <a:pt x="92" y="181"/>
                  </a:lnTo>
                  <a:lnTo>
                    <a:pt x="86" y="177"/>
                  </a:lnTo>
                  <a:lnTo>
                    <a:pt x="83" y="173"/>
                  </a:lnTo>
                  <a:lnTo>
                    <a:pt x="75" y="166"/>
                  </a:lnTo>
                  <a:lnTo>
                    <a:pt x="68" y="159"/>
                  </a:lnTo>
                  <a:lnTo>
                    <a:pt x="68" y="153"/>
                  </a:lnTo>
                  <a:lnTo>
                    <a:pt x="70" y="148"/>
                  </a:lnTo>
                  <a:lnTo>
                    <a:pt x="73" y="140"/>
                  </a:lnTo>
                  <a:lnTo>
                    <a:pt x="77" y="133"/>
                  </a:lnTo>
                  <a:lnTo>
                    <a:pt x="75" y="127"/>
                  </a:lnTo>
                  <a:lnTo>
                    <a:pt x="72" y="122"/>
                  </a:lnTo>
                  <a:lnTo>
                    <a:pt x="72" y="118"/>
                  </a:lnTo>
                  <a:lnTo>
                    <a:pt x="72" y="114"/>
                  </a:lnTo>
                  <a:lnTo>
                    <a:pt x="72" y="111"/>
                  </a:lnTo>
                  <a:lnTo>
                    <a:pt x="75" y="105"/>
                  </a:lnTo>
                  <a:lnTo>
                    <a:pt x="79" y="101"/>
                  </a:lnTo>
                  <a:lnTo>
                    <a:pt x="83" y="100"/>
                  </a:lnTo>
                  <a:lnTo>
                    <a:pt x="88" y="98"/>
                  </a:lnTo>
                  <a:lnTo>
                    <a:pt x="94" y="100"/>
                  </a:lnTo>
                  <a:lnTo>
                    <a:pt x="107" y="96"/>
                  </a:lnTo>
                  <a:lnTo>
                    <a:pt x="114" y="94"/>
                  </a:lnTo>
                  <a:lnTo>
                    <a:pt x="122" y="98"/>
                  </a:lnTo>
                  <a:lnTo>
                    <a:pt x="129" y="103"/>
                  </a:lnTo>
                  <a:lnTo>
                    <a:pt x="131" y="107"/>
                  </a:lnTo>
                  <a:lnTo>
                    <a:pt x="136" y="111"/>
                  </a:lnTo>
                  <a:lnTo>
                    <a:pt x="140" y="116"/>
                  </a:lnTo>
                  <a:lnTo>
                    <a:pt x="146" y="118"/>
                  </a:lnTo>
                  <a:lnTo>
                    <a:pt x="151" y="111"/>
                  </a:lnTo>
                  <a:lnTo>
                    <a:pt x="153" y="100"/>
                  </a:lnTo>
                  <a:lnTo>
                    <a:pt x="155" y="98"/>
                  </a:lnTo>
                  <a:lnTo>
                    <a:pt x="157" y="90"/>
                  </a:lnTo>
                  <a:lnTo>
                    <a:pt x="158" y="81"/>
                  </a:lnTo>
                  <a:lnTo>
                    <a:pt x="158" y="76"/>
                  </a:lnTo>
                  <a:lnTo>
                    <a:pt x="158" y="70"/>
                  </a:lnTo>
                  <a:lnTo>
                    <a:pt x="160" y="64"/>
                  </a:lnTo>
                  <a:lnTo>
                    <a:pt x="164" y="61"/>
                  </a:lnTo>
                  <a:lnTo>
                    <a:pt x="166" y="57"/>
                  </a:lnTo>
                  <a:lnTo>
                    <a:pt x="166" y="55"/>
                  </a:lnTo>
                  <a:lnTo>
                    <a:pt x="162" y="46"/>
                  </a:lnTo>
                  <a:lnTo>
                    <a:pt x="155" y="37"/>
                  </a:lnTo>
                  <a:lnTo>
                    <a:pt x="144" y="29"/>
                  </a:lnTo>
                  <a:lnTo>
                    <a:pt x="134" y="22"/>
                  </a:lnTo>
                  <a:lnTo>
                    <a:pt x="131" y="11"/>
                  </a:lnTo>
                  <a:lnTo>
                    <a:pt x="129" y="0"/>
                  </a:lnTo>
                  <a:lnTo>
                    <a:pt x="125" y="5"/>
                  </a:lnTo>
                  <a:lnTo>
                    <a:pt x="122" y="15"/>
                  </a:lnTo>
                  <a:lnTo>
                    <a:pt x="120" y="26"/>
                  </a:lnTo>
                  <a:lnTo>
                    <a:pt x="120" y="37"/>
                  </a:lnTo>
                  <a:lnTo>
                    <a:pt x="110" y="46"/>
                  </a:lnTo>
                  <a:lnTo>
                    <a:pt x="103" y="50"/>
                  </a:lnTo>
                  <a:lnTo>
                    <a:pt x="96" y="61"/>
                  </a:lnTo>
                  <a:lnTo>
                    <a:pt x="86" y="70"/>
                  </a:lnTo>
                  <a:lnTo>
                    <a:pt x="77" y="68"/>
                  </a:lnTo>
                  <a:lnTo>
                    <a:pt x="70" y="66"/>
                  </a:lnTo>
                  <a:lnTo>
                    <a:pt x="64" y="72"/>
                  </a:lnTo>
                  <a:lnTo>
                    <a:pt x="61" y="76"/>
                  </a:lnTo>
                  <a:lnTo>
                    <a:pt x="51" y="79"/>
                  </a:lnTo>
                  <a:lnTo>
                    <a:pt x="44" y="83"/>
                  </a:lnTo>
                  <a:lnTo>
                    <a:pt x="42" y="96"/>
                  </a:lnTo>
                  <a:lnTo>
                    <a:pt x="44" y="109"/>
                  </a:lnTo>
                  <a:lnTo>
                    <a:pt x="42" y="114"/>
                  </a:lnTo>
                  <a:lnTo>
                    <a:pt x="38" y="120"/>
                  </a:lnTo>
                  <a:lnTo>
                    <a:pt x="35" y="122"/>
                  </a:lnTo>
                  <a:lnTo>
                    <a:pt x="29" y="124"/>
                  </a:lnTo>
                  <a:lnTo>
                    <a:pt x="22" y="125"/>
                  </a:lnTo>
                  <a:lnTo>
                    <a:pt x="20" y="127"/>
                  </a:lnTo>
                  <a:lnTo>
                    <a:pt x="18" y="131"/>
                  </a:lnTo>
                  <a:lnTo>
                    <a:pt x="16" y="138"/>
                  </a:lnTo>
                  <a:lnTo>
                    <a:pt x="14" y="140"/>
                  </a:lnTo>
                  <a:lnTo>
                    <a:pt x="9" y="142"/>
                  </a:lnTo>
                  <a:lnTo>
                    <a:pt x="5" y="140"/>
                  </a:lnTo>
                  <a:lnTo>
                    <a:pt x="0" y="140"/>
                  </a:lnTo>
                  <a:lnTo>
                    <a:pt x="0" y="151"/>
                  </a:lnTo>
                  <a:lnTo>
                    <a:pt x="1" y="164"/>
                  </a:lnTo>
                  <a:lnTo>
                    <a:pt x="5" y="172"/>
                  </a:lnTo>
                  <a:lnTo>
                    <a:pt x="9" y="179"/>
                  </a:lnTo>
                  <a:lnTo>
                    <a:pt x="14" y="188"/>
                  </a:lnTo>
                  <a:lnTo>
                    <a:pt x="22" y="198"/>
                  </a:lnTo>
                  <a:lnTo>
                    <a:pt x="31" y="225"/>
                  </a:lnTo>
                  <a:lnTo>
                    <a:pt x="38" y="244"/>
                  </a:lnTo>
                  <a:lnTo>
                    <a:pt x="42" y="247"/>
                  </a:lnTo>
                  <a:lnTo>
                    <a:pt x="48" y="249"/>
                  </a:lnTo>
                  <a:lnTo>
                    <a:pt x="55" y="251"/>
                  </a:lnTo>
                  <a:lnTo>
                    <a:pt x="64" y="251"/>
                  </a:lnTo>
                  <a:lnTo>
                    <a:pt x="62" y="246"/>
                  </a:lnTo>
                  <a:lnTo>
                    <a:pt x="61" y="242"/>
                  </a:lnTo>
                  <a:lnTo>
                    <a:pt x="66" y="242"/>
                  </a:lnTo>
                  <a:lnTo>
                    <a:pt x="75" y="242"/>
                  </a:lnTo>
                  <a:lnTo>
                    <a:pt x="90" y="251"/>
                  </a:lnTo>
                  <a:lnTo>
                    <a:pt x="107" y="264"/>
                  </a:lnTo>
                  <a:lnTo>
                    <a:pt x="123" y="264"/>
                  </a:lnTo>
                  <a:lnTo>
                    <a:pt x="142" y="268"/>
                  </a:lnTo>
                  <a:lnTo>
                    <a:pt x="160" y="271"/>
                  </a:lnTo>
                  <a:lnTo>
                    <a:pt x="181" y="275"/>
                  </a:lnTo>
                  <a:lnTo>
                    <a:pt x="199" y="279"/>
                  </a:lnTo>
                  <a:lnTo>
                    <a:pt x="216" y="281"/>
                  </a:lnTo>
                  <a:lnTo>
                    <a:pt x="231" y="279"/>
                  </a:lnTo>
                  <a:lnTo>
                    <a:pt x="243" y="277"/>
                  </a:lnTo>
                  <a:lnTo>
                    <a:pt x="247" y="288"/>
                  </a:lnTo>
                  <a:lnTo>
                    <a:pt x="255" y="299"/>
                  </a:lnTo>
                  <a:lnTo>
                    <a:pt x="266" y="312"/>
                  </a:lnTo>
                  <a:lnTo>
                    <a:pt x="279" y="325"/>
                  </a:lnTo>
                  <a:lnTo>
                    <a:pt x="312" y="353"/>
                  </a:lnTo>
                  <a:lnTo>
                    <a:pt x="347" y="379"/>
                  </a:lnTo>
                  <a:lnTo>
                    <a:pt x="421" y="427"/>
                  </a:lnTo>
                  <a:lnTo>
                    <a:pt x="471" y="460"/>
                  </a:lnTo>
                  <a:lnTo>
                    <a:pt x="482" y="462"/>
                  </a:lnTo>
                  <a:lnTo>
                    <a:pt x="491" y="464"/>
                  </a:lnTo>
                  <a:lnTo>
                    <a:pt x="498" y="464"/>
                  </a:lnTo>
                  <a:lnTo>
                    <a:pt x="506" y="462"/>
                  </a:lnTo>
                  <a:lnTo>
                    <a:pt x="517" y="458"/>
                  </a:lnTo>
                  <a:lnTo>
                    <a:pt x="524" y="451"/>
                  </a:lnTo>
                  <a:lnTo>
                    <a:pt x="537" y="436"/>
                  </a:lnTo>
                  <a:lnTo>
                    <a:pt x="548" y="427"/>
                  </a:lnTo>
                  <a:lnTo>
                    <a:pt x="563" y="428"/>
                  </a:lnTo>
                  <a:lnTo>
                    <a:pt x="580" y="432"/>
                  </a:lnTo>
                  <a:lnTo>
                    <a:pt x="585" y="430"/>
                  </a:lnTo>
                  <a:lnTo>
                    <a:pt x="593" y="425"/>
                  </a:lnTo>
                  <a:lnTo>
                    <a:pt x="604" y="421"/>
                  </a:lnTo>
                  <a:lnTo>
                    <a:pt x="620" y="417"/>
                  </a:lnTo>
                  <a:lnTo>
                    <a:pt x="633" y="419"/>
                  </a:lnTo>
                  <a:lnTo>
                    <a:pt x="646" y="423"/>
                  </a:lnTo>
                  <a:lnTo>
                    <a:pt x="650" y="417"/>
                  </a:lnTo>
                  <a:lnTo>
                    <a:pt x="654" y="410"/>
                  </a:lnTo>
                  <a:lnTo>
                    <a:pt x="657" y="403"/>
                  </a:lnTo>
                  <a:lnTo>
                    <a:pt x="659" y="392"/>
                  </a:lnTo>
                  <a:lnTo>
                    <a:pt x="665" y="390"/>
                  </a:lnTo>
                  <a:lnTo>
                    <a:pt x="672" y="392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62" name="Freeform 60"/>
            <p:cNvSpPr>
              <a:spLocks/>
            </p:cNvSpPr>
            <p:nvPr/>
          </p:nvSpPr>
          <p:spPr bwMode="auto">
            <a:xfrm>
              <a:off x="3290527" y="1585967"/>
              <a:ext cx="511892" cy="828061"/>
            </a:xfrm>
            <a:custGeom>
              <a:avLst/>
              <a:gdLst>
                <a:gd name="T0" fmla="*/ 105747 w 294"/>
                <a:gd name="T1" fmla="*/ 342900 h 440"/>
                <a:gd name="T2" fmla="*/ 127778 w 294"/>
                <a:gd name="T3" fmla="*/ 296863 h 440"/>
                <a:gd name="T4" fmla="*/ 124840 w 294"/>
                <a:gd name="T5" fmla="*/ 363537 h 440"/>
                <a:gd name="T6" fmla="*/ 130715 w 294"/>
                <a:gd name="T7" fmla="*/ 398462 h 440"/>
                <a:gd name="T8" fmla="*/ 140996 w 294"/>
                <a:gd name="T9" fmla="*/ 404812 h 440"/>
                <a:gd name="T10" fmla="*/ 138058 w 294"/>
                <a:gd name="T11" fmla="*/ 439738 h 440"/>
                <a:gd name="T12" fmla="*/ 135121 w 294"/>
                <a:gd name="T13" fmla="*/ 477838 h 440"/>
                <a:gd name="T14" fmla="*/ 173307 w 294"/>
                <a:gd name="T15" fmla="*/ 592138 h 440"/>
                <a:gd name="T16" fmla="*/ 214431 w 294"/>
                <a:gd name="T17" fmla="*/ 663575 h 440"/>
                <a:gd name="T18" fmla="*/ 240868 w 294"/>
                <a:gd name="T19" fmla="*/ 685800 h 440"/>
                <a:gd name="T20" fmla="*/ 276117 w 294"/>
                <a:gd name="T21" fmla="*/ 698500 h 440"/>
                <a:gd name="T22" fmla="*/ 330459 w 294"/>
                <a:gd name="T23" fmla="*/ 692150 h 440"/>
                <a:gd name="T24" fmla="*/ 390676 w 294"/>
                <a:gd name="T25" fmla="*/ 674688 h 440"/>
                <a:gd name="T26" fmla="*/ 406832 w 294"/>
                <a:gd name="T27" fmla="*/ 633413 h 440"/>
                <a:gd name="T28" fmla="*/ 425925 w 294"/>
                <a:gd name="T29" fmla="*/ 542925 h 440"/>
                <a:gd name="T30" fmla="*/ 422988 w 294"/>
                <a:gd name="T31" fmla="*/ 452438 h 440"/>
                <a:gd name="T32" fmla="*/ 422988 w 294"/>
                <a:gd name="T33" fmla="*/ 339725 h 440"/>
                <a:gd name="T34" fmla="*/ 418582 w 294"/>
                <a:gd name="T35" fmla="*/ 263525 h 440"/>
                <a:gd name="T36" fmla="*/ 396551 w 294"/>
                <a:gd name="T37" fmla="*/ 211138 h 440"/>
                <a:gd name="T38" fmla="*/ 371583 w 294"/>
                <a:gd name="T39" fmla="*/ 196850 h 440"/>
                <a:gd name="T40" fmla="*/ 380395 w 294"/>
                <a:gd name="T41" fmla="*/ 187325 h 440"/>
                <a:gd name="T42" fmla="*/ 383333 w 294"/>
                <a:gd name="T43" fmla="*/ 161925 h 440"/>
                <a:gd name="T44" fmla="*/ 371583 w 294"/>
                <a:gd name="T45" fmla="*/ 128588 h 440"/>
                <a:gd name="T46" fmla="*/ 387739 w 294"/>
                <a:gd name="T47" fmla="*/ 134938 h 440"/>
                <a:gd name="T48" fmla="*/ 399488 w 294"/>
                <a:gd name="T49" fmla="*/ 149225 h 440"/>
                <a:gd name="T50" fmla="*/ 412707 w 294"/>
                <a:gd name="T51" fmla="*/ 138113 h 440"/>
                <a:gd name="T52" fmla="*/ 415644 w 294"/>
                <a:gd name="T53" fmla="*/ 106363 h 440"/>
                <a:gd name="T54" fmla="*/ 403895 w 294"/>
                <a:gd name="T55" fmla="*/ 87313 h 440"/>
                <a:gd name="T56" fmla="*/ 374520 w 294"/>
                <a:gd name="T57" fmla="*/ 85725 h 440"/>
                <a:gd name="T58" fmla="*/ 368646 w 294"/>
                <a:gd name="T59" fmla="*/ 55563 h 440"/>
                <a:gd name="T60" fmla="*/ 339271 w 294"/>
                <a:gd name="T61" fmla="*/ 55563 h 440"/>
                <a:gd name="T62" fmla="*/ 281992 w 294"/>
                <a:gd name="T63" fmla="*/ 11112 h 440"/>
                <a:gd name="T64" fmla="*/ 258492 w 294"/>
                <a:gd name="T65" fmla="*/ 0 h 440"/>
                <a:gd name="T66" fmla="*/ 198276 w 294"/>
                <a:gd name="T67" fmla="*/ 23812 h 440"/>
                <a:gd name="T68" fmla="*/ 160089 w 294"/>
                <a:gd name="T69" fmla="*/ 31750 h 440"/>
                <a:gd name="T70" fmla="*/ 151277 w 294"/>
                <a:gd name="T71" fmla="*/ 69850 h 440"/>
                <a:gd name="T72" fmla="*/ 130715 w 294"/>
                <a:gd name="T73" fmla="*/ 141288 h 440"/>
                <a:gd name="T74" fmla="*/ 111622 w 294"/>
                <a:gd name="T75" fmla="*/ 155575 h 440"/>
                <a:gd name="T76" fmla="*/ 32312 w 294"/>
                <a:gd name="T77" fmla="*/ 155575 h 440"/>
                <a:gd name="T78" fmla="*/ 16156 w 294"/>
                <a:gd name="T79" fmla="*/ 203200 h 440"/>
                <a:gd name="T80" fmla="*/ 64623 w 294"/>
                <a:gd name="T81" fmla="*/ 296863 h 440"/>
                <a:gd name="T82" fmla="*/ 45530 w 294"/>
                <a:gd name="T83" fmla="*/ 311150 h 440"/>
                <a:gd name="T84" fmla="*/ 41124 w 294"/>
                <a:gd name="T85" fmla="*/ 339725 h 440"/>
                <a:gd name="T86" fmla="*/ 63154 w 294"/>
                <a:gd name="T87" fmla="*/ 352425 h 440"/>
                <a:gd name="T88" fmla="*/ 105747 w 294"/>
                <a:gd name="T89" fmla="*/ 355600 h 44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94"/>
                <a:gd name="T136" fmla="*/ 0 h 440"/>
                <a:gd name="T137" fmla="*/ 294 w 294"/>
                <a:gd name="T138" fmla="*/ 440 h 44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94" h="440">
                  <a:moveTo>
                    <a:pt x="72" y="224"/>
                  </a:moveTo>
                  <a:lnTo>
                    <a:pt x="72" y="220"/>
                  </a:lnTo>
                  <a:lnTo>
                    <a:pt x="72" y="216"/>
                  </a:lnTo>
                  <a:lnTo>
                    <a:pt x="78" y="201"/>
                  </a:lnTo>
                  <a:lnTo>
                    <a:pt x="81" y="192"/>
                  </a:lnTo>
                  <a:lnTo>
                    <a:pt x="87" y="187"/>
                  </a:lnTo>
                  <a:lnTo>
                    <a:pt x="91" y="185"/>
                  </a:lnTo>
                  <a:lnTo>
                    <a:pt x="89" y="207"/>
                  </a:lnTo>
                  <a:lnTo>
                    <a:pt x="85" y="229"/>
                  </a:lnTo>
                  <a:lnTo>
                    <a:pt x="87" y="238"/>
                  </a:lnTo>
                  <a:lnTo>
                    <a:pt x="87" y="248"/>
                  </a:lnTo>
                  <a:lnTo>
                    <a:pt x="89" y="251"/>
                  </a:lnTo>
                  <a:lnTo>
                    <a:pt x="91" y="255"/>
                  </a:lnTo>
                  <a:lnTo>
                    <a:pt x="92" y="257"/>
                  </a:lnTo>
                  <a:lnTo>
                    <a:pt x="96" y="255"/>
                  </a:lnTo>
                  <a:lnTo>
                    <a:pt x="94" y="264"/>
                  </a:lnTo>
                  <a:lnTo>
                    <a:pt x="91" y="272"/>
                  </a:lnTo>
                  <a:lnTo>
                    <a:pt x="94" y="277"/>
                  </a:lnTo>
                  <a:lnTo>
                    <a:pt x="94" y="285"/>
                  </a:lnTo>
                  <a:lnTo>
                    <a:pt x="94" y="292"/>
                  </a:lnTo>
                  <a:lnTo>
                    <a:pt x="92" y="301"/>
                  </a:lnTo>
                  <a:lnTo>
                    <a:pt x="102" y="323"/>
                  </a:lnTo>
                  <a:lnTo>
                    <a:pt x="113" y="357"/>
                  </a:lnTo>
                  <a:lnTo>
                    <a:pt x="118" y="373"/>
                  </a:lnTo>
                  <a:lnTo>
                    <a:pt x="126" y="390"/>
                  </a:lnTo>
                  <a:lnTo>
                    <a:pt x="135" y="405"/>
                  </a:lnTo>
                  <a:lnTo>
                    <a:pt x="146" y="418"/>
                  </a:lnTo>
                  <a:lnTo>
                    <a:pt x="152" y="423"/>
                  </a:lnTo>
                  <a:lnTo>
                    <a:pt x="159" y="429"/>
                  </a:lnTo>
                  <a:lnTo>
                    <a:pt x="164" y="432"/>
                  </a:lnTo>
                  <a:lnTo>
                    <a:pt x="172" y="436"/>
                  </a:lnTo>
                  <a:lnTo>
                    <a:pt x="181" y="438"/>
                  </a:lnTo>
                  <a:lnTo>
                    <a:pt x="188" y="440"/>
                  </a:lnTo>
                  <a:lnTo>
                    <a:pt x="198" y="438"/>
                  </a:lnTo>
                  <a:lnTo>
                    <a:pt x="209" y="438"/>
                  </a:lnTo>
                  <a:lnTo>
                    <a:pt x="225" y="436"/>
                  </a:lnTo>
                  <a:lnTo>
                    <a:pt x="240" y="434"/>
                  </a:lnTo>
                  <a:lnTo>
                    <a:pt x="251" y="431"/>
                  </a:lnTo>
                  <a:lnTo>
                    <a:pt x="266" y="425"/>
                  </a:lnTo>
                  <a:lnTo>
                    <a:pt x="270" y="416"/>
                  </a:lnTo>
                  <a:lnTo>
                    <a:pt x="272" y="405"/>
                  </a:lnTo>
                  <a:lnTo>
                    <a:pt x="277" y="399"/>
                  </a:lnTo>
                  <a:lnTo>
                    <a:pt x="285" y="392"/>
                  </a:lnTo>
                  <a:lnTo>
                    <a:pt x="288" y="366"/>
                  </a:lnTo>
                  <a:lnTo>
                    <a:pt x="290" y="342"/>
                  </a:lnTo>
                  <a:lnTo>
                    <a:pt x="286" y="329"/>
                  </a:lnTo>
                  <a:lnTo>
                    <a:pt x="283" y="316"/>
                  </a:lnTo>
                  <a:lnTo>
                    <a:pt x="288" y="285"/>
                  </a:lnTo>
                  <a:lnTo>
                    <a:pt x="290" y="261"/>
                  </a:lnTo>
                  <a:lnTo>
                    <a:pt x="288" y="238"/>
                  </a:lnTo>
                  <a:lnTo>
                    <a:pt x="288" y="214"/>
                  </a:lnTo>
                  <a:lnTo>
                    <a:pt x="294" y="200"/>
                  </a:lnTo>
                  <a:lnTo>
                    <a:pt x="294" y="185"/>
                  </a:lnTo>
                  <a:lnTo>
                    <a:pt x="285" y="166"/>
                  </a:lnTo>
                  <a:lnTo>
                    <a:pt x="273" y="146"/>
                  </a:lnTo>
                  <a:lnTo>
                    <a:pt x="272" y="140"/>
                  </a:lnTo>
                  <a:lnTo>
                    <a:pt x="270" y="133"/>
                  </a:lnTo>
                  <a:lnTo>
                    <a:pt x="266" y="129"/>
                  </a:lnTo>
                  <a:lnTo>
                    <a:pt x="261" y="128"/>
                  </a:lnTo>
                  <a:lnTo>
                    <a:pt x="253" y="124"/>
                  </a:lnTo>
                  <a:lnTo>
                    <a:pt x="242" y="124"/>
                  </a:lnTo>
                  <a:lnTo>
                    <a:pt x="249" y="120"/>
                  </a:lnTo>
                  <a:lnTo>
                    <a:pt x="259" y="118"/>
                  </a:lnTo>
                  <a:lnTo>
                    <a:pt x="264" y="113"/>
                  </a:lnTo>
                  <a:lnTo>
                    <a:pt x="268" y="109"/>
                  </a:lnTo>
                  <a:lnTo>
                    <a:pt x="261" y="102"/>
                  </a:lnTo>
                  <a:lnTo>
                    <a:pt x="255" y="94"/>
                  </a:lnTo>
                  <a:lnTo>
                    <a:pt x="253" y="87"/>
                  </a:lnTo>
                  <a:lnTo>
                    <a:pt x="253" y="81"/>
                  </a:lnTo>
                  <a:lnTo>
                    <a:pt x="257" y="78"/>
                  </a:lnTo>
                  <a:lnTo>
                    <a:pt x="261" y="74"/>
                  </a:lnTo>
                  <a:lnTo>
                    <a:pt x="264" y="85"/>
                  </a:lnTo>
                  <a:lnTo>
                    <a:pt x="268" y="91"/>
                  </a:lnTo>
                  <a:lnTo>
                    <a:pt x="270" y="92"/>
                  </a:lnTo>
                  <a:lnTo>
                    <a:pt x="272" y="94"/>
                  </a:lnTo>
                  <a:lnTo>
                    <a:pt x="275" y="94"/>
                  </a:lnTo>
                  <a:lnTo>
                    <a:pt x="277" y="92"/>
                  </a:lnTo>
                  <a:lnTo>
                    <a:pt x="281" y="87"/>
                  </a:lnTo>
                  <a:lnTo>
                    <a:pt x="283" y="80"/>
                  </a:lnTo>
                  <a:lnTo>
                    <a:pt x="283" y="74"/>
                  </a:lnTo>
                  <a:lnTo>
                    <a:pt x="283" y="67"/>
                  </a:lnTo>
                  <a:lnTo>
                    <a:pt x="281" y="61"/>
                  </a:lnTo>
                  <a:lnTo>
                    <a:pt x="279" y="57"/>
                  </a:lnTo>
                  <a:lnTo>
                    <a:pt x="275" y="55"/>
                  </a:lnTo>
                  <a:lnTo>
                    <a:pt x="272" y="54"/>
                  </a:lnTo>
                  <a:lnTo>
                    <a:pt x="264" y="52"/>
                  </a:lnTo>
                  <a:lnTo>
                    <a:pt x="255" y="54"/>
                  </a:lnTo>
                  <a:lnTo>
                    <a:pt x="257" y="43"/>
                  </a:lnTo>
                  <a:lnTo>
                    <a:pt x="259" y="31"/>
                  </a:lnTo>
                  <a:lnTo>
                    <a:pt x="251" y="35"/>
                  </a:lnTo>
                  <a:lnTo>
                    <a:pt x="244" y="37"/>
                  </a:lnTo>
                  <a:lnTo>
                    <a:pt x="237" y="37"/>
                  </a:lnTo>
                  <a:lnTo>
                    <a:pt x="231" y="35"/>
                  </a:lnTo>
                  <a:lnTo>
                    <a:pt x="214" y="26"/>
                  </a:lnTo>
                  <a:lnTo>
                    <a:pt x="200" y="13"/>
                  </a:lnTo>
                  <a:lnTo>
                    <a:pt x="192" y="7"/>
                  </a:lnTo>
                  <a:lnTo>
                    <a:pt x="187" y="4"/>
                  </a:lnTo>
                  <a:lnTo>
                    <a:pt x="181" y="0"/>
                  </a:lnTo>
                  <a:lnTo>
                    <a:pt x="176" y="0"/>
                  </a:lnTo>
                  <a:lnTo>
                    <a:pt x="163" y="7"/>
                  </a:lnTo>
                  <a:lnTo>
                    <a:pt x="152" y="15"/>
                  </a:lnTo>
                  <a:lnTo>
                    <a:pt x="135" y="15"/>
                  </a:lnTo>
                  <a:lnTo>
                    <a:pt x="116" y="17"/>
                  </a:lnTo>
                  <a:lnTo>
                    <a:pt x="113" y="19"/>
                  </a:lnTo>
                  <a:lnTo>
                    <a:pt x="109" y="20"/>
                  </a:lnTo>
                  <a:lnTo>
                    <a:pt x="107" y="26"/>
                  </a:lnTo>
                  <a:lnTo>
                    <a:pt x="107" y="30"/>
                  </a:lnTo>
                  <a:lnTo>
                    <a:pt x="103" y="44"/>
                  </a:lnTo>
                  <a:lnTo>
                    <a:pt x="100" y="65"/>
                  </a:lnTo>
                  <a:lnTo>
                    <a:pt x="96" y="80"/>
                  </a:lnTo>
                  <a:lnTo>
                    <a:pt x="89" y="89"/>
                  </a:lnTo>
                  <a:lnTo>
                    <a:pt x="85" y="92"/>
                  </a:lnTo>
                  <a:lnTo>
                    <a:pt x="79" y="96"/>
                  </a:lnTo>
                  <a:lnTo>
                    <a:pt x="76" y="98"/>
                  </a:lnTo>
                  <a:lnTo>
                    <a:pt x="68" y="98"/>
                  </a:lnTo>
                  <a:lnTo>
                    <a:pt x="46" y="98"/>
                  </a:lnTo>
                  <a:lnTo>
                    <a:pt x="22" y="98"/>
                  </a:lnTo>
                  <a:lnTo>
                    <a:pt x="9" y="104"/>
                  </a:lnTo>
                  <a:lnTo>
                    <a:pt x="0" y="111"/>
                  </a:lnTo>
                  <a:lnTo>
                    <a:pt x="11" y="128"/>
                  </a:lnTo>
                  <a:lnTo>
                    <a:pt x="24" y="150"/>
                  </a:lnTo>
                  <a:lnTo>
                    <a:pt x="37" y="170"/>
                  </a:lnTo>
                  <a:lnTo>
                    <a:pt x="44" y="187"/>
                  </a:lnTo>
                  <a:lnTo>
                    <a:pt x="41" y="189"/>
                  </a:lnTo>
                  <a:lnTo>
                    <a:pt x="35" y="192"/>
                  </a:lnTo>
                  <a:lnTo>
                    <a:pt x="31" y="196"/>
                  </a:lnTo>
                  <a:lnTo>
                    <a:pt x="30" y="200"/>
                  </a:lnTo>
                  <a:lnTo>
                    <a:pt x="28" y="207"/>
                  </a:lnTo>
                  <a:lnTo>
                    <a:pt x="28" y="214"/>
                  </a:lnTo>
                  <a:lnTo>
                    <a:pt x="31" y="218"/>
                  </a:lnTo>
                  <a:lnTo>
                    <a:pt x="35" y="222"/>
                  </a:lnTo>
                  <a:lnTo>
                    <a:pt x="43" y="222"/>
                  </a:lnTo>
                  <a:lnTo>
                    <a:pt x="48" y="222"/>
                  </a:lnTo>
                  <a:lnTo>
                    <a:pt x="61" y="220"/>
                  </a:lnTo>
                  <a:lnTo>
                    <a:pt x="72" y="224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63" name="Freeform 61"/>
            <p:cNvSpPr>
              <a:spLocks/>
            </p:cNvSpPr>
            <p:nvPr/>
          </p:nvSpPr>
          <p:spPr bwMode="auto">
            <a:xfrm>
              <a:off x="2908492" y="2351924"/>
              <a:ext cx="1040722" cy="1035076"/>
            </a:xfrm>
            <a:custGeom>
              <a:avLst/>
              <a:gdLst>
                <a:gd name="T0" fmla="*/ 704948 w 599"/>
                <a:gd name="T1" fmla="*/ 212725 h 550"/>
                <a:gd name="T2" fmla="*/ 680033 w 599"/>
                <a:gd name="T3" fmla="*/ 198437 h 550"/>
                <a:gd name="T4" fmla="*/ 677101 w 599"/>
                <a:gd name="T5" fmla="*/ 136525 h 550"/>
                <a:gd name="T6" fmla="*/ 581838 w 599"/>
                <a:gd name="T7" fmla="*/ 107950 h 550"/>
                <a:gd name="T8" fmla="*/ 490972 w 599"/>
                <a:gd name="T9" fmla="*/ 98425 h 550"/>
                <a:gd name="T10" fmla="*/ 466057 w 599"/>
                <a:gd name="T11" fmla="*/ 160337 h 550"/>
                <a:gd name="T12" fmla="*/ 422089 w 599"/>
                <a:gd name="T13" fmla="*/ 180975 h 550"/>
                <a:gd name="T14" fmla="*/ 395709 w 599"/>
                <a:gd name="T15" fmla="*/ 119062 h 550"/>
                <a:gd name="T16" fmla="*/ 363466 w 599"/>
                <a:gd name="T17" fmla="*/ 90487 h 550"/>
                <a:gd name="T18" fmla="*/ 389846 w 599"/>
                <a:gd name="T19" fmla="*/ 84137 h 550"/>
                <a:gd name="T20" fmla="*/ 389846 w 599"/>
                <a:gd name="T21" fmla="*/ 22225 h 550"/>
                <a:gd name="T22" fmla="*/ 370794 w 599"/>
                <a:gd name="T23" fmla="*/ 1588 h 550"/>
                <a:gd name="T24" fmla="*/ 341482 w 599"/>
                <a:gd name="T25" fmla="*/ 7937 h 550"/>
                <a:gd name="T26" fmla="*/ 331223 w 599"/>
                <a:gd name="T27" fmla="*/ 25400 h 550"/>
                <a:gd name="T28" fmla="*/ 312170 w 599"/>
                <a:gd name="T29" fmla="*/ 73025 h 550"/>
                <a:gd name="T30" fmla="*/ 331223 w 599"/>
                <a:gd name="T31" fmla="*/ 90487 h 550"/>
                <a:gd name="T32" fmla="*/ 316567 w 599"/>
                <a:gd name="T33" fmla="*/ 122237 h 550"/>
                <a:gd name="T34" fmla="*/ 274065 w 599"/>
                <a:gd name="T35" fmla="*/ 131762 h 550"/>
                <a:gd name="T36" fmla="*/ 262340 w 599"/>
                <a:gd name="T37" fmla="*/ 90487 h 550"/>
                <a:gd name="T38" fmla="*/ 206648 w 599"/>
                <a:gd name="T39" fmla="*/ 73025 h 550"/>
                <a:gd name="T40" fmla="*/ 143628 w 599"/>
                <a:gd name="T41" fmla="*/ 128587 h 550"/>
                <a:gd name="T42" fmla="*/ 136300 w 599"/>
                <a:gd name="T43" fmla="*/ 184150 h 550"/>
                <a:gd name="T44" fmla="*/ 162680 w 599"/>
                <a:gd name="T45" fmla="*/ 204788 h 550"/>
                <a:gd name="T46" fmla="*/ 124575 w 599"/>
                <a:gd name="T47" fmla="*/ 242887 h 550"/>
                <a:gd name="T48" fmla="*/ 65951 w 599"/>
                <a:gd name="T49" fmla="*/ 312737 h 550"/>
                <a:gd name="T50" fmla="*/ 19053 w 599"/>
                <a:gd name="T51" fmla="*/ 363537 h 550"/>
                <a:gd name="T52" fmla="*/ 2931 w 599"/>
                <a:gd name="T53" fmla="*/ 427038 h 550"/>
                <a:gd name="T54" fmla="*/ 41036 w 599"/>
                <a:gd name="T55" fmla="*/ 482600 h 550"/>
                <a:gd name="T56" fmla="*/ 86470 w 599"/>
                <a:gd name="T57" fmla="*/ 550862 h 550"/>
                <a:gd name="T58" fmla="*/ 152421 w 599"/>
                <a:gd name="T59" fmla="*/ 600075 h 550"/>
                <a:gd name="T60" fmla="*/ 227166 w 599"/>
                <a:gd name="T61" fmla="*/ 655637 h 550"/>
                <a:gd name="T62" fmla="*/ 287255 w 599"/>
                <a:gd name="T63" fmla="*/ 714375 h 550"/>
                <a:gd name="T64" fmla="*/ 303377 w 599"/>
                <a:gd name="T65" fmla="*/ 747712 h 550"/>
                <a:gd name="T66" fmla="*/ 328292 w 599"/>
                <a:gd name="T67" fmla="*/ 788987 h 550"/>
                <a:gd name="T68" fmla="*/ 373725 w 599"/>
                <a:gd name="T69" fmla="*/ 800100 h 550"/>
                <a:gd name="T70" fmla="*/ 385450 w 599"/>
                <a:gd name="T71" fmla="*/ 852488 h 550"/>
                <a:gd name="T72" fmla="*/ 433814 w 599"/>
                <a:gd name="T73" fmla="*/ 855663 h 550"/>
                <a:gd name="T74" fmla="*/ 485109 w 599"/>
                <a:gd name="T75" fmla="*/ 869950 h 550"/>
                <a:gd name="T76" fmla="*/ 504162 w 599"/>
                <a:gd name="T77" fmla="*/ 827088 h 550"/>
                <a:gd name="T78" fmla="*/ 533474 w 599"/>
                <a:gd name="T79" fmla="*/ 793750 h 550"/>
                <a:gd name="T80" fmla="*/ 590632 w 599"/>
                <a:gd name="T81" fmla="*/ 696912 h 550"/>
                <a:gd name="T82" fmla="*/ 545199 w 599"/>
                <a:gd name="T83" fmla="*/ 706437 h 550"/>
                <a:gd name="T84" fmla="*/ 471919 w 599"/>
                <a:gd name="T85" fmla="*/ 706437 h 550"/>
                <a:gd name="T86" fmla="*/ 492437 w 599"/>
                <a:gd name="T87" fmla="*/ 668337 h 550"/>
                <a:gd name="T88" fmla="*/ 510024 w 599"/>
                <a:gd name="T89" fmla="*/ 638175 h 550"/>
                <a:gd name="T90" fmla="*/ 552526 w 599"/>
                <a:gd name="T91" fmla="*/ 600075 h 550"/>
                <a:gd name="T92" fmla="*/ 593563 w 599"/>
                <a:gd name="T93" fmla="*/ 512762 h 550"/>
                <a:gd name="T94" fmla="*/ 558389 w 599"/>
                <a:gd name="T95" fmla="*/ 444500 h 550"/>
                <a:gd name="T96" fmla="*/ 565717 w 599"/>
                <a:gd name="T97" fmla="*/ 419100 h 550"/>
                <a:gd name="T98" fmla="*/ 606753 w 599"/>
                <a:gd name="T99" fmla="*/ 457200 h 550"/>
                <a:gd name="T100" fmla="*/ 680033 w 599"/>
                <a:gd name="T101" fmla="*/ 520700 h 550"/>
                <a:gd name="T102" fmla="*/ 699085 w 599"/>
                <a:gd name="T103" fmla="*/ 554037 h 550"/>
                <a:gd name="T104" fmla="*/ 769434 w 599"/>
                <a:gd name="T105" fmla="*/ 574675 h 550"/>
                <a:gd name="T106" fmla="*/ 807539 w 599"/>
                <a:gd name="T107" fmla="*/ 592137 h 550"/>
                <a:gd name="T108" fmla="*/ 811936 w 599"/>
                <a:gd name="T109" fmla="*/ 512762 h 550"/>
                <a:gd name="T110" fmla="*/ 877887 w 599"/>
                <a:gd name="T111" fmla="*/ 395287 h 550"/>
                <a:gd name="T112" fmla="*/ 810470 w 599"/>
                <a:gd name="T113" fmla="*/ 360362 h 550"/>
                <a:gd name="T114" fmla="*/ 782624 w 599"/>
                <a:gd name="T115" fmla="*/ 368300 h 550"/>
                <a:gd name="T116" fmla="*/ 734259 w 599"/>
                <a:gd name="T117" fmla="*/ 260350 h 5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99"/>
                <a:gd name="T178" fmla="*/ 0 h 550"/>
                <a:gd name="T179" fmla="*/ 599 w 599"/>
                <a:gd name="T180" fmla="*/ 550 h 5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99" h="550">
                  <a:moveTo>
                    <a:pt x="492" y="125"/>
                  </a:moveTo>
                  <a:lnTo>
                    <a:pt x="492" y="125"/>
                  </a:lnTo>
                  <a:lnTo>
                    <a:pt x="490" y="125"/>
                  </a:lnTo>
                  <a:lnTo>
                    <a:pt x="486" y="129"/>
                  </a:lnTo>
                  <a:lnTo>
                    <a:pt x="481" y="134"/>
                  </a:lnTo>
                  <a:lnTo>
                    <a:pt x="477" y="138"/>
                  </a:lnTo>
                  <a:lnTo>
                    <a:pt x="471" y="138"/>
                  </a:lnTo>
                  <a:lnTo>
                    <a:pt x="469" y="133"/>
                  </a:lnTo>
                  <a:lnTo>
                    <a:pt x="469" y="129"/>
                  </a:lnTo>
                  <a:lnTo>
                    <a:pt x="464" y="125"/>
                  </a:lnTo>
                  <a:lnTo>
                    <a:pt x="460" y="120"/>
                  </a:lnTo>
                  <a:lnTo>
                    <a:pt x="469" y="116"/>
                  </a:lnTo>
                  <a:lnTo>
                    <a:pt x="477" y="107"/>
                  </a:lnTo>
                  <a:lnTo>
                    <a:pt x="471" y="96"/>
                  </a:lnTo>
                  <a:lnTo>
                    <a:pt x="462" y="86"/>
                  </a:lnTo>
                  <a:lnTo>
                    <a:pt x="460" y="75"/>
                  </a:lnTo>
                  <a:lnTo>
                    <a:pt x="457" y="70"/>
                  </a:lnTo>
                  <a:lnTo>
                    <a:pt x="434" y="70"/>
                  </a:lnTo>
                  <a:lnTo>
                    <a:pt x="408" y="73"/>
                  </a:lnTo>
                  <a:lnTo>
                    <a:pt x="397" y="68"/>
                  </a:lnTo>
                  <a:lnTo>
                    <a:pt x="388" y="61"/>
                  </a:lnTo>
                  <a:lnTo>
                    <a:pt x="375" y="59"/>
                  </a:lnTo>
                  <a:lnTo>
                    <a:pt x="357" y="61"/>
                  </a:lnTo>
                  <a:lnTo>
                    <a:pt x="344" y="61"/>
                  </a:lnTo>
                  <a:lnTo>
                    <a:pt x="335" y="62"/>
                  </a:lnTo>
                  <a:lnTo>
                    <a:pt x="331" y="68"/>
                  </a:lnTo>
                  <a:lnTo>
                    <a:pt x="327" y="73"/>
                  </a:lnTo>
                  <a:lnTo>
                    <a:pt x="325" y="83"/>
                  </a:lnTo>
                  <a:lnTo>
                    <a:pt x="322" y="90"/>
                  </a:lnTo>
                  <a:lnTo>
                    <a:pt x="318" y="101"/>
                  </a:lnTo>
                  <a:lnTo>
                    <a:pt x="312" y="109"/>
                  </a:lnTo>
                  <a:lnTo>
                    <a:pt x="309" y="112"/>
                  </a:lnTo>
                  <a:lnTo>
                    <a:pt x="303" y="114"/>
                  </a:lnTo>
                  <a:lnTo>
                    <a:pt x="298" y="116"/>
                  </a:lnTo>
                  <a:lnTo>
                    <a:pt x="288" y="114"/>
                  </a:lnTo>
                  <a:lnTo>
                    <a:pt x="285" y="112"/>
                  </a:lnTo>
                  <a:lnTo>
                    <a:pt x="279" y="110"/>
                  </a:lnTo>
                  <a:lnTo>
                    <a:pt x="275" y="101"/>
                  </a:lnTo>
                  <a:lnTo>
                    <a:pt x="272" y="85"/>
                  </a:lnTo>
                  <a:lnTo>
                    <a:pt x="270" y="75"/>
                  </a:lnTo>
                  <a:lnTo>
                    <a:pt x="268" y="66"/>
                  </a:lnTo>
                  <a:lnTo>
                    <a:pt x="261" y="62"/>
                  </a:lnTo>
                  <a:lnTo>
                    <a:pt x="253" y="61"/>
                  </a:lnTo>
                  <a:lnTo>
                    <a:pt x="248" y="59"/>
                  </a:lnTo>
                  <a:lnTo>
                    <a:pt x="248" y="57"/>
                  </a:lnTo>
                  <a:lnTo>
                    <a:pt x="250" y="55"/>
                  </a:lnTo>
                  <a:lnTo>
                    <a:pt x="253" y="53"/>
                  </a:lnTo>
                  <a:lnTo>
                    <a:pt x="257" y="53"/>
                  </a:lnTo>
                  <a:lnTo>
                    <a:pt x="263" y="55"/>
                  </a:lnTo>
                  <a:lnTo>
                    <a:pt x="266" y="53"/>
                  </a:lnTo>
                  <a:lnTo>
                    <a:pt x="268" y="49"/>
                  </a:lnTo>
                  <a:lnTo>
                    <a:pt x="266" y="46"/>
                  </a:lnTo>
                  <a:lnTo>
                    <a:pt x="263" y="38"/>
                  </a:lnTo>
                  <a:lnTo>
                    <a:pt x="264" y="25"/>
                  </a:lnTo>
                  <a:lnTo>
                    <a:pt x="266" y="14"/>
                  </a:lnTo>
                  <a:lnTo>
                    <a:pt x="264" y="7"/>
                  </a:lnTo>
                  <a:lnTo>
                    <a:pt x="261" y="0"/>
                  </a:lnTo>
                  <a:lnTo>
                    <a:pt x="257" y="0"/>
                  </a:lnTo>
                  <a:lnTo>
                    <a:pt x="255" y="1"/>
                  </a:lnTo>
                  <a:lnTo>
                    <a:pt x="253" y="1"/>
                  </a:lnTo>
                  <a:lnTo>
                    <a:pt x="251" y="3"/>
                  </a:lnTo>
                  <a:lnTo>
                    <a:pt x="250" y="9"/>
                  </a:lnTo>
                  <a:lnTo>
                    <a:pt x="246" y="11"/>
                  </a:lnTo>
                  <a:lnTo>
                    <a:pt x="239" y="9"/>
                  </a:lnTo>
                  <a:lnTo>
                    <a:pt x="233" y="5"/>
                  </a:lnTo>
                  <a:lnTo>
                    <a:pt x="231" y="3"/>
                  </a:lnTo>
                  <a:lnTo>
                    <a:pt x="229" y="3"/>
                  </a:lnTo>
                  <a:lnTo>
                    <a:pt x="227" y="5"/>
                  </a:lnTo>
                  <a:lnTo>
                    <a:pt x="227" y="7"/>
                  </a:lnTo>
                  <a:lnTo>
                    <a:pt x="226" y="16"/>
                  </a:lnTo>
                  <a:lnTo>
                    <a:pt x="222" y="29"/>
                  </a:lnTo>
                  <a:lnTo>
                    <a:pt x="218" y="35"/>
                  </a:lnTo>
                  <a:lnTo>
                    <a:pt x="215" y="38"/>
                  </a:lnTo>
                  <a:lnTo>
                    <a:pt x="213" y="42"/>
                  </a:lnTo>
                  <a:lnTo>
                    <a:pt x="213" y="46"/>
                  </a:lnTo>
                  <a:lnTo>
                    <a:pt x="215" y="49"/>
                  </a:lnTo>
                  <a:lnTo>
                    <a:pt x="216" y="51"/>
                  </a:lnTo>
                  <a:lnTo>
                    <a:pt x="218" y="53"/>
                  </a:lnTo>
                  <a:lnTo>
                    <a:pt x="224" y="55"/>
                  </a:lnTo>
                  <a:lnTo>
                    <a:pt x="226" y="57"/>
                  </a:lnTo>
                  <a:lnTo>
                    <a:pt x="227" y="59"/>
                  </a:lnTo>
                  <a:lnTo>
                    <a:pt x="226" y="62"/>
                  </a:lnTo>
                  <a:lnTo>
                    <a:pt x="226" y="64"/>
                  </a:lnTo>
                  <a:lnTo>
                    <a:pt x="222" y="72"/>
                  </a:lnTo>
                  <a:lnTo>
                    <a:pt x="216" y="77"/>
                  </a:lnTo>
                  <a:lnTo>
                    <a:pt x="213" y="81"/>
                  </a:lnTo>
                  <a:lnTo>
                    <a:pt x="209" y="85"/>
                  </a:lnTo>
                  <a:lnTo>
                    <a:pt x="203" y="88"/>
                  </a:lnTo>
                  <a:lnTo>
                    <a:pt x="196" y="88"/>
                  </a:lnTo>
                  <a:lnTo>
                    <a:pt x="187" y="83"/>
                  </a:lnTo>
                  <a:lnTo>
                    <a:pt x="181" y="77"/>
                  </a:lnTo>
                  <a:lnTo>
                    <a:pt x="179" y="73"/>
                  </a:lnTo>
                  <a:lnTo>
                    <a:pt x="178" y="68"/>
                  </a:lnTo>
                  <a:lnTo>
                    <a:pt x="178" y="64"/>
                  </a:lnTo>
                  <a:lnTo>
                    <a:pt x="179" y="57"/>
                  </a:lnTo>
                  <a:lnTo>
                    <a:pt x="176" y="53"/>
                  </a:lnTo>
                  <a:lnTo>
                    <a:pt x="168" y="49"/>
                  </a:lnTo>
                  <a:lnTo>
                    <a:pt x="159" y="53"/>
                  </a:lnTo>
                  <a:lnTo>
                    <a:pt x="152" y="55"/>
                  </a:lnTo>
                  <a:lnTo>
                    <a:pt x="141" y="46"/>
                  </a:lnTo>
                  <a:lnTo>
                    <a:pt x="131" y="38"/>
                  </a:lnTo>
                  <a:lnTo>
                    <a:pt x="124" y="46"/>
                  </a:lnTo>
                  <a:lnTo>
                    <a:pt x="120" y="55"/>
                  </a:lnTo>
                  <a:lnTo>
                    <a:pt x="111" y="66"/>
                  </a:lnTo>
                  <a:lnTo>
                    <a:pt x="98" y="81"/>
                  </a:lnTo>
                  <a:lnTo>
                    <a:pt x="93" y="90"/>
                  </a:lnTo>
                  <a:lnTo>
                    <a:pt x="89" y="98"/>
                  </a:lnTo>
                  <a:lnTo>
                    <a:pt x="87" y="105"/>
                  </a:lnTo>
                  <a:lnTo>
                    <a:pt x="89" y="112"/>
                  </a:lnTo>
                  <a:lnTo>
                    <a:pt x="93" y="116"/>
                  </a:lnTo>
                  <a:lnTo>
                    <a:pt x="98" y="118"/>
                  </a:lnTo>
                  <a:lnTo>
                    <a:pt x="102" y="118"/>
                  </a:lnTo>
                  <a:lnTo>
                    <a:pt x="106" y="122"/>
                  </a:lnTo>
                  <a:lnTo>
                    <a:pt x="107" y="123"/>
                  </a:lnTo>
                  <a:lnTo>
                    <a:pt x="111" y="129"/>
                  </a:lnTo>
                  <a:lnTo>
                    <a:pt x="109" y="134"/>
                  </a:lnTo>
                  <a:lnTo>
                    <a:pt x="106" y="138"/>
                  </a:lnTo>
                  <a:lnTo>
                    <a:pt x="102" y="142"/>
                  </a:lnTo>
                  <a:lnTo>
                    <a:pt x="96" y="146"/>
                  </a:lnTo>
                  <a:lnTo>
                    <a:pt x="85" y="153"/>
                  </a:lnTo>
                  <a:lnTo>
                    <a:pt x="72" y="160"/>
                  </a:lnTo>
                  <a:lnTo>
                    <a:pt x="67" y="171"/>
                  </a:lnTo>
                  <a:lnTo>
                    <a:pt x="59" y="184"/>
                  </a:lnTo>
                  <a:lnTo>
                    <a:pt x="52" y="192"/>
                  </a:lnTo>
                  <a:lnTo>
                    <a:pt x="45" y="197"/>
                  </a:lnTo>
                  <a:lnTo>
                    <a:pt x="35" y="199"/>
                  </a:lnTo>
                  <a:lnTo>
                    <a:pt x="22" y="199"/>
                  </a:lnTo>
                  <a:lnTo>
                    <a:pt x="21" y="210"/>
                  </a:lnTo>
                  <a:lnTo>
                    <a:pt x="17" y="221"/>
                  </a:lnTo>
                  <a:lnTo>
                    <a:pt x="13" y="229"/>
                  </a:lnTo>
                  <a:lnTo>
                    <a:pt x="9" y="234"/>
                  </a:lnTo>
                  <a:lnTo>
                    <a:pt x="4" y="243"/>
                  </a:lnTo>
                  <a:lnTo>
                    <a:pt x="0" y="253"/>
                  </a:lnTo>
                  <a:lnTo>
                    <a:pt x="0" y="262"/>
                  </a:lnTo>
                  <a:lnTo>
                    <a:pt x="2" y="269"/>
                  </a:lnTo>
                  <a:lnTo>
                    <a:pt x="4" y="275"/>
                  </a:lnTo>
                  <a:lnTo>
                    <a:pt x="8" y="279"/>
                  </a:lnTo>
                  <a:lnTo>
                    <a:pt x="17" y="284"/>
                  </a:lnTo>
                  <a:lnTo>
                    <a:pt x="24" y="297"/>
                  </a:lnTo>
                  <a:lnTo>
                    <a:pt x="28" y="304"/>
                  </a:lnTo>
                  <a:lnTo>
                    <a:pt x="32" y="316"/>
                  </a:lnTo>
                  <a:lnTo>
                    <a:pt x="39" y="321"/>
                  </a:lnTo>
                  <a:lnTo>
                    <a:pt x="48" y="328"/>
                  </a:lnTo>
                  <a:lnTo>
                    <a:pt x="54" y="338"/>
                  </a:lnTo>
                  <a:lnTo>
                    <a:pt x="59" y="347"/>
                  </a:lnTo>
                  <a:lnTo>
                    <a:pt x="74" y="347"/>
                  </a:lnTo>
                  <a:lnTo>
                    <a:pt x="89" y="351"/>
                  </a:lnTo>
                  <a:lnTo>
                    <a:pt x="93" y="364"/>
                  </a:lnTo>
                  <a:lnTo>
                    <a:pt x="96" y="377"/>
                  </a:lnTo>
                  <a:lnTo>
                    <a:pt x="104" y="378"/>
                  </a:lnTo>
                  <a:lnTo>
                    <a:pt x="111" y="382"/>
                  </a:lnTo>
                  <a:lnTo>
                    <a:pt x="115" y="391"/>
                  </a:lnTo>
                  <a:lnTo>
                    <a:pt x="124" y="404"/>
                  </a:lnTo>
                  <a:lnTo>
                    <a:pt x="142" y="410"/>
                  </a:lnTo>
                  <a:lnTo>
                    <a:pt x="155" y="413"/>
                  </a:lnTo>
                  <a:lnTo>
                    <a:pt x="157" y="425"/>
                  </a:lnTo>
                  <a:lnTo>
                    <a:pt x="161" y="439"/>
                  </a:lnTo>
                  <a:lnTo>
                    <a:pt x="172" y="447"/>
                  </a:lnTo>
                  <a:lnTo>
                    <a:pt x="185" y="454"/>
                  </a:lnTo>
                  <a:lnTo>
                    <a:pt x="196" y="450"/>
                  </a:lnTo>
                  <a:lnTo>
                    <a:pt x="207" y="450"/>
                  </a:lnTo>
                  <a:lnTo>
                    <a:pt x="213" y="454"/>
                  </a:lnTo>
                  <a:lnTo>
                    <a:pt x="216" y="462"/>
                  </a:lnTo>
                  <a:lnTo>
                    <a:pt x="213" y="467"/>
                  </a:lnTo>
                  <a:lnTo>
                    <a:pt x="207" y="471"/>
                  </a:lnTo>
                  <a:lnTo>
                    <a:pt x="205" y="474"/>
                  </a:lnTo>
                  <a:lnTo>
                    <a:pt x="205" y="478"/>
                  </a:lnTo>
                  <a:lnTo>
                    <a:pt x="207" y="482"/>
                  </a:lnTo>
                  <a:lnTo>
                    <a:pt x="213" y="487"/>
                  </a:lnTo>
                  <a:lnTo>
                    <a:pt x="224" y="497"/>
                  </a:lnTo>
                  <a:lnTo>
                    <a:pt x="237" y="506"/>
                  </a:lnTo>
                  <a:lnTo>
                    <a:pt x="240" y="504"/>
                  </a:lnTo>
                  <a:lnTo>
                    <a:pt x="244" y="502"/>
                  </a:lnTo>
                  <a:lnTo>
                    <a:pt x="250" y="502"/>
                  </a:lnTo>
                  <a:lnTo>
                    <a:pt x="255" y="504"/>
                  </a:lnTo>
                  <a:lnTo>
                    <a:pt x="259" y="508"/>
                  </a:lnTo>
                  <a:lnTo>
                    <a:pt x="263" y="511"/>
                  </a:lnTo>
                  <a:lnTo>
                    <a:pt x="264" y="519"/>
                  </a:lnTo>
                  <a:lnTo>
                    <a:pt x="263" y="528"/>
                  </a:lnTo>
                  <a:lnTo>
                    <a:pt x="263" y="537"/>
                  </a:lnTo>
                  <a:lnTo>
                    <a:pt x="264" y="541"/>
                  </a:lnTo>
                  <a:lnTo>
                    <a:pt x="268" y="543"/>
                  </a:lnTo>
                  <a:lnTo>
                    <a:pt x="274" y="543"/>
                  </a:lnTo>
                  <a:lnTo>
                    <a:pt x="285" y="539"/>
                  </a:lnTo>
                  <a:lnTo>
                    <a:pt x="296" y="539"/>
                  </a:lnTo>
                  <a:lnTo>
                    <a:pt x="299" y="541"/>
                  </a:lnTo>
                  <a:lnTo>
                    <a:pt x="305" y="547"/>
                  </a:lnTo>
                  <a:lnTo>
                    <a:pt x="311" y="550"/>
                  </a:lnTo>
                  <a:lnTo>
                    <a:pt x="322" y="550"/>
                  </a:lnTo>
                  <a:lnTo>
                    <a:pt x="331" y="548"/>
                  </a:lnTo>
                  <a:lnTo>
                    <a:pt x="338" y="543"/>
                  </a:lnTo>
                  <a:lnTo>
                    <a:pt x="344" y="535"/>
                  </a:lnTo>
                  <a:lnTo>
                    <a:pt x="348" y="528"/>
                  </a:lnTo>
                  <a:lnTo>
                    <a:pt x="348" y="524"/>
                  </a:lnTo>
                  <a:lnTo>
                    <a:pt x="344" y="521"/>
                  </a:lnTo>
                  <a:lnTo>
                    <a:pt x="342" y="517"/>
                  </a:lnTo>
                  <a:lnTo>
                    <a:pt x="342" y="515"/>
                  </a:lnTo>
                  <a:lnTo>
                    <a:pt x="346" y="511"/>
                  </a:lnTo>
                  <a:lnTo>
                    <a:pt x="349" y="506"/>
                  </a:lnTo>
                  <a:lnTo>
                    <a:pt x="364" y="500"/>
                  </a:lnTo>
                  <a:lnTo>
                    <a:pt x="381" y="491"/>
                  </a:lnTo>
                  <a:lnTo>
                    <a:pt x="397" y="482"/>
                  </a:lnTo>
                  <a:lnTo>
                    <a:pt x="414" y="476"/>
                  </a:lnTo>
                  <a:lnTo>
                    <a:pt x="408" y="458"/>
                  </a:lnTo>
                  <a:lnTo>
                    <a:pt x="403" y="439"/>
                  </a:lnTo>
                  <a:lnTo>
                    <a:pt x="394" y="443"/>
                  </a:lnTo>
                  <a:lnTo>
                    <a:pt x="386" y="447"/>
                  </a:lnTo>
                  <a:lnTo>
                    <a:pt x="383" y="445"/>
                  </a:lnTo>
                  <a:lnTo>
                    <a:pt x="383" y="441"/>
                  </a:lnTo>
                  <a:lnTo>
                    <a:pt x="372" y="445"/>
                  </a:lnTo>
                  <a:lnTo>
                    <a:pt x="353" y="454"/>
                  </a:lnTo>
                  <a:lnTo>
                    <a:pt x="346" y="450"/>
                  </a:lnTo>
                  <a:lnTo>
                    <a:pt x="340" y="443"/>
                  </a:lnTo>
                  <a:lnTo>
                    <a:pt x="329" y="447"/>
                  </a:lnTo>
                  <a:lnTo>
                    <a:pt x="322" y="445"/>
                  </a:lnTo>
                  <a:lnTo>
                    <a:pt x="325" y="441"/>
                  </a:lnTo>
                  <a:lnTo>
                    <a:pt x="327" y="436"/>
                  </a:lnTo>
                  <a:lnTo>
                    <a:pt x="329" y="428"/>
                  </a:lnTo>
                  <a:lnTo>
                    <a:pt x="329" y="421"/>
                  </a:lnTo>
                  <a:lnTo>
                    <a:pt x="336" y="421"/>
                  </a:lnTo>
                  <a:lnTo>
                    <a:pt x="340" y="419"/>
                  </a:lnTo>
                  <a:lnTo>
                    <a:pt x="344" y="417"/>
                  </a:lnTo>
                  <a:lnTo>
                    <a:pt x="346" y="413"/>
                  </a:lnTo>
                  <a:lnTo>
                    <a:pt x="346" y="408"/>
                  </a:lnTo>
                  <a:lnTo>
                    <a:pt x="348" y="402"/>
                  </a:lnTo>
                  <a:lnTo>
                    <a:pt x="349" y="399"/>
                  </a:lnTo>
                  <a:lnTo>
                    <a:pt x="353" y="397"/>
                  </a:lnTo>
                  <a:lnTo>
                    <a:pt x="364" y="397"/>
                  </a:lnTo>
                  <a:lnTo>
                    <a:pt x="379" y="395"/>
                  </a:lnTo>
                  <a:lnTo>
                    <a:pt x="377" y="378"/>
                  </a:lnTo>
                  <a:lnTo>
                    <a:pt x="373" y="358"/>
                  </a:lnTo>
                  <a:lnTo>
                    <a:pt x="388" y="347"/>
                  </a:lnTo>
                  <a:lnTo>
                    <a:pt x="405" y="334"/>
                  </a:lnTo>
                  <a:lnTo>
                    <a:pt x="405" y="328"/>
                  </a:lnTo>
                  <a:lnTo>
                    <a:pt x="405" y="323"/>
                  </a:lnTo>
                  <a:lnTo>
                    <a:pt x="403" y="316"/>
                  </a:lnTo>
                  <a:lnTo>
                    <a:pt x="399" y="310"/>
                  </a:lnTo>
                  <a:lnTo>
                    <a:pt x="392" y="299"/>
                  </a:lnTo>
                  <a:lnTo>
                    <a:pt x="383" y="286"/>
                  </a:lnTo>
                  <a:lnTo>
                    <a:pt x="381" y="280"/>
                  </a:lnTo>
                  <a:lnTo>
                    <a:pt x="381" y="273"/>
                  </a:lnTo>
                  <a:lnTo>
                    <a:pt x="381" y="269"/>
                  </a:lnTo>
                  <a:lnTo>
                    <a:pt x="383" y="266"/>
                  </a:lnTo>
                  <a:lnTo>
                    <a:pt x="384" y="264"/>
                  </a:lnTo>
                  <a:lnTo>
                    <a:pt x="386" y="264"/>
                  </a:lnTo>
                  <a:lnTo>
                    <a:pt x="394" y="268"/>
                  </a:lnTo>
                  <a:lnTo>
                    <a:pt x="401" y="271"/>
                  </a:lnTo>
                  <a:lnTo>
                    <a:pt x="405" y="275"/>
                  </a:lnTo>
                  <a:lnTo>
                    <a:pt x="408" y="279"/>
                  </a:lnTo>
                  <a:lnTo>
                    <a:pt x="414" y="288"/>
                  </a:lnTo>
                  <a:lnTo>
                    <a:pt x="421" y="299"/>
                  </a:lnTo>
                  <a:lnTo>
                    <a:pt x="436" y="310"/>
                  </a:lnTo>
                  <a:lnTo>
                    <a:pt x="455" y="319"/>
                  </a:lnTo>
                  <a:lnTo>
                    <a:pt x="460" y="325"/>
                  </a:lnTo>
                  <a:lnTo>
                    <a:pt x="464" y="328"/>
                  </a:lnTo>
                  <a:lnTo>
                    <a:pt x="464" y="334"/>
                  </a:lnTo>
                  <a:lnTo>
                    <a:pt x="466" y="338"/>
                  </a:lnTo>
                  <a:lnTo>
                    <a:pt x="464" y="345"/>
                  </a:lnTo>
                  <a:lnTo>
                    <a:pt x="466" y="349"/>
                  </a:lnTo>
                  <a:lnTo>
                    <a:pt x="477" y="349"/>
                  </a:lnTo>
                  <a:lnTo>
                    <a:pt x="492" y="351"/>
                  </a:lnTo>
                  <a:lnTo>
                    <a:pt x="503" y="356"/>
                  </a:lnTo>
                  <a:lnTo>
                    <a:pt x="516" y="362"/>
                  </a:lnTo>
                  <a:lnTo>
                    <a:pt x="519" y="362"/>
                  </a:lnTo>
                  <a:lnTo>
                    <a:pt x="525" y="362"/>
                  </a:lnTo>
                  <a:lnTo>
                    <a:pt x="529" y="369"/>
                  </a:lnTo>
                  <a:lnTo>
                    <a:pt x="530" y="377"/>
                  </a:lnTo>
                  <a:lnTo>
                    <a:pt x="538" y="377"/>
                  </a:lnTo>
                  <a:lnTo>
                    <a:pt x="545" y="375"/>
                  </a:lnTo>
                  <a:lnTo>
                    <a:pt x="551" y="373"/>
                  </a:lnTo>
                  <a:lnTo>
                    <a:pt x="556" y="369"/>
                  </a:lnTo>
                  <a:lnTo>
                    <a:pt x="551" y="360"/>
                  </a:lnTo>
                  <a:lnTo>
                    <a:pt x="545" y="351"/>
                  </a:lnTo>
                  <a:lnTo>
                    <a:pt x="549" y="334"/>
                  </a:lnTo>
                  <a:lnTo>
                    <a:pt x="554" y="323"/>
                  </a:lnTo>
                  <a:lnTo>
                    <a:pt x="547" y="312"/>
                  </a:lnTo>
                  <a:lnTo>
                    <a:pt x="545" y="301"/>
                  </a:lnTo>
                  <a:lnTo>
                    <a:pt x="571" y="275"/>
                  </a:lnTo>
                  <a:lnTo>
                    <a:pt x="599" y="249"/>
                  </a:lnTo>
                  <a:lnTo>
                    <a:pt x="582" y="236"/>
                  </a:lnTo>
                  <a:lnTo>
                    <a:pt x="567" y="227"/>
                  </a:lnTo>
                  <a:lnTo>
                    <a:pt x="558" y="227"/>
                  </a:lnTo>
                  <a:lnTo>
                    <a:pt x="553" y="227"/>
                  </a:lnTo>
                  <a:lnTo>
                    <a:pt x="554" y="231"/>
                  </a:lnTo>
                  <a:lnTo>
                    <a:pt x="556" y="236"/>
                  </a:lnTo>
                  <a:lnTo>
                    <a:pt x="547" y="236"/>
                  </a:lnTo>
                  <a:lnTo>
                    <a:pt x="540" y="234"/>
                  </a:lnTo>
                  <a:lnTo>
                    <a:pt x="534" y="232"/>
                  </a:lnTo>
                  <a:lnTo>
                    <a:pt x="530" y="229"/>
                  </a:lnTo>
                  <a:lnTo>
                    <a:pt x="523" y="210"/>
                  </a:lnTo>
                  <a:lnTo>
                    <a:pt x="514" y="183"/>
                  </a:lnTo>
                  <a:lnTo>
                    <a:pt x="506" y="173"/>
                  </a:lnTo>
                  <a:lnTo>
                    <a:pt x="501" y="164"/>
                  </a:lnTo>
                  <a:lnTo>
                    <a:pt x="497" y="157"/>
                  </a:lnTo>
                  <a:lnTo>
                    <a:pt x="493" y="149"/>
                  </a:lnTo>
                  <a:lnTo>
                    <a:pt x="492" y="136"/>
                  </a:lnTo>
                  <a:lnTo>
                    <a:pt x="492" y="125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64" name="Freeform 62"/>
            <p:cNvSpPr>
              <a:spLocks/>
            </p:cNvSpPr>
            <p:nvPr/>
          </p:nvSpPr>
          <p:spPr bwMode="auto">
            <a:xfrm>
              <a:off x="2530217" y="2274763"/>
              <a:ext cx="212662" cy="246536"/>
            </a:xfrm>
            <a:custGeom>
              <a:avLst/>
              <a:gdLst>
                <a:gd name="T0" fmla="*/ 41171 w 122"/>
                <a:gd name="T1" fmla="*/ 79375 h 131"/>
                <a:gd name="T2" fmla="*/ 54405 w 122"/>
                <a:gd name="T3" fmla="*/ 69850 h 131"/>
                <a:gd name="T4" fmla="*/ 66168 w 122"/>
                <a:gd name="T5" fmla="*/ 61912 h 131"/>
                <a:gd name="T6" fmla="*/ 70579 w 122"/>
                <a:gd name="T7" fmla="*/ 38100 h 131"/>
                <a:gd name="T8" fmla="*/ 79401 w 122"/>
                <a:gd name="T9" fmla="*/ 17462 h 131"/>
                <a:gd name="T10" fmla="*/ 95576 w 122"/>
                <a:gd name="T11" fmla="*/ 11112 h 131"/>
                <a:gd name="T12" fmla="*/ 114691 w 122"/>
                <a:gd name="T13" fmla="*/ 7937 h 131"/>
                <a:gd name="T14" fmla="*/ 122043 w 122"/>
                <a:gd name="T15" fmla="*/ 3175 h 131"/>
                <a:gd name="T16" fmla="*/ 130865 w 122"/>
                <a:gd name="T17" fmla="*/ 0 h 131"/>
                <a:gd name="T18" fmla="*/ 138217 w 122"/>
                <a:gd name="T19" fmla="*/ 6350 h 131"/>
                <a:gd name="T20" fmla="*/ 147039 w 122"/>
                <a:gd name="T21" fmla="*/ 14287 h 131"/>
                <a:gd name="T22" fmla="*/ 157332 w 122"/>
                <a:gd name="T23" fmla="*/ 14287 h 131"/>
                <a:gd name="T24" fmla="*/ 166154 w 122"/>
                <a:gd name="T25" fmla="*/ 17462 h 131"/>
                <a:gd name="T26" fmla="*/ 166154 w 122"/>
                <a:gd name="T27" fmla="*/ 26987 h 131"/>
                <a:gd name="T28" fmla="*/ 166154 w 122"/>
                <a:gd name="T29" fmla="*/ 38100 h 131"/>
                <a:gd name="T30" fmla="*/ 176447 w 122"/>
                <a:gd name="T31" fmla="*/ 49212 h 131"/>
                <a:gd name="T32" fmla="*/ 179388 w 122"/>
                <a:gd name="T33" fmla="*/ 65087 h 131"/>
                <a:gd name="T34" fmla="*/ 172036 w 122"/>
                <a:gd name="T35" fmla="*/ 82550 h 131"/>
                <a:gd name="T36" fmla="*/ 157332 w 122"/>
                <a:gd name="T37" fmla="*/ 96837 h 131"/>
                <a:gd name="T38" fmla="*/ 149980 w 122"/>
                <a:gd name="T39" fmla="*/ 123825 h 131"/>
                <a:gd name="T40" fmla="*/ 144099 w 122"/>
                <a:gd name="T41" fmla="*/ 152400 h 131"/>
                <a:gd name="T42" fmla="*/ 133806 w 122"/>
                <a:gd name="T43" fmla="*/ 176212 h 131"/>
                <a:gd name="T44" fmla="*/ 120572 w 122"/>
                <a:gd name="T45" fmla="*/ 200024 h 131"/>
                <a:gd name="T46" fmla="*/ 105868 w 122"/>
                <a:gd name="T47" fmla="*/ 200024 h 131"/>
                <a:gd name="T48" fmla="*/ 95576 w 122"/>
                <a:gd name="T49" fmla="*/ 196849 h 131"/>
                <a:gd name="T50" fmla="*/ 85283 w 122"/>
                <a:gd name="T51" fmla="*/ 200024 h 131"/>
                <a:gd name="T52" fmla="*/ 73520 w 122"/>
                <a:gd name="T53" fmla="*/ 204787 h 131"/>
                <a:gd name="T54" fmla="*/ 63227 w 122"/>
                <a:gd name="T55" fmla="*/ 207962 h 131"/>
                <a:gd name="T56" fmla="*/ 51464 w 122"/>
                <a:gd name="T57" fmla="*/ 207962 h 131"/>
                <a:gd name="T58" fmla="*/ 47053 w 122"/>
                <a:gd name="T59" fmla="*/ 190500 h 131"/>
                <a:gd name="T60" fmla="*/ 38230 w 122"/>
                <a:gd name="T61" fmla="*/ 169862 h 131"/>
                <a:gd name="T62" fmla="*/ 16174 w 122"/>
                <a:gd name="T63" fmla="*/ 163512 h 131"/>
                <a:gd name="T64" fmla="*/ 0 w 122"/>
                <a:gd name="T65" fmla="*/ 155575 h 131"/>
                <a:gd name="T66" fmla="*/ 0 w 122"/>
                <a:gd name="T67" fmla="*/ 146050 h 131"/>
                <a:gd name="T68" fmla="*/ 0 w 122"/>
                <a:gd name="T69" fmla="*/ 138112 h 131"/>
                <a:gd name="T70" fmla="*/ 5882 w 122"/>
                <a:gd name="T71" fmla="*/ 131762 h 131"/>
                <a:gd name="T72" fmla="*/ 11763 w 122"/>
                <a:gd name="T73" fmla="*/ 125412 h 131"/>
                <a:gd name="T74" fmla="*/ 22056 w 122"/>
                <a:gd name="T75" fmla="*/ 117475 h 131"/>
                <a:gd name="T76" fmla="*/ 32349 w 122"/>
                <a:gd name="T77" fmla="*/ 111125 h 131"/>
                <a:gd name="T78" fmla="*/ 35289 w 122"/>
                <a:gd name="T79" fmla="*/ 93662 h 131"/>
                <a:gd name="T80" fmla="*/ 41171 w 122"/>
                <a:gd name="T81" fmla="*/ 79375 h 13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22"/>
                <a:gd name="T124" fmla="*/ 0 h 131"/>
                <a:gd name="T125" fmla="*/ 122 w 122"/>
                <a:gd name="T126" fmla="*/ 131 h 13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22" h="131">
                  <a:moveTo>
                    <a:pt x="28" y="50"/>
                  </a:moveTo>
                  <a:lnTo>
                    <a:pt x="37" y="44"/>
                  </a:lnTo>
                  <a:lnTo>
                    <a:pt x="45" y="39"/>
                  </a:lnTo>
                  <a:lnTo>
                    <a:pt x="48" y="24"/>
                  </a:lnTo>
                  <a:lnTo>
                    <a:pt x="54" y="11"/>
                  </a:lnTo>
                  <a:lnTo>
                    <a:pt x="65" y="7"/>
                  </a:lnTo>
                  <a:lnTo>
                    <a:pt x="78" y="5"/>
                  </a:lnTo>
                  <a:lnTo>
                    <a:pt x="83" y="2"/>
                  </a:lnTo>
                  <a:lnTo>
                    <a:pt x="89" y="0"/>
                  </a:lnTo>
                  <a:lnTo>
                    <a:pt x="94" y="4"/>
                  </a:lnTo>
                  <a:lnTo>
                    <a:pt x="100" y="9"/>
                  </a:lnTo>
                  <a:lnTo>
                    <a:pt x="107" y="9"/>
                  </a:lnTo>
                  <a:lnTo>
                    <a:pt x="113" y="11"/>
                  </a:lnTo>
                  <a:lnTo>
                    <a:pt x="113" y="17"/>
                  </a:lnTo>
                  <a:lnTo>
                    <a:pt x="113" y="24"/>
                  </a:lnTo>
                  <a:lnTo>
                    <a:pt x="120" y="31"/>
                  </a:lnTo>
                  <a:lnTo>
                    <a:pt x="122" y="41"/>
                  </a:lnTo>
                  <a:lnTo>
                    <a:pt x="117" y="52"/>
                  </a:lnTo>
                  <a:lnTo>
                    <a:pt x="107" y="61"/>
                  </a:lnTo>
                  <a:lnTo>
                    <a:pt x="102" y="78"/>
                  </a:lnTo>
                  <a:lnTo>
                    <a:pt x="98" y="96"/>
                  </a:lnTo>
                  <a:lnTo>
                    <a:pt x="91" y="111"/>
                  </a:lnTo>
                  <a:lnTo>
                    <a:pt x="82" y="126"/>
                  </a:lnTo>
                  <a:lnTo>
                    <a:pt x="72" y="126"/>
                  </a:lnTo>
                  <a:lnTo>
                    <a:pt x="65" y="124"/>
                  </a:lnTo>
                  <a:lnTo>
                    <a:pt x="58" y="126"/>
                  </a:lnTo>
                  <a:lnTo>
                    <a:pt x="50" y="129"/>
                  </a:lnTo>
                  <a:lnTo>
                    <a:pt x="43" y="131"/>
                  </a:lnTo>
                  <a:lnTo>
                    <a:pt x="35" y="131"/>
                  </a:lnTo>
                  <a:lnTo>
                    <a:pt x="32" y="120"/>
                  </a:lnTo>
                  <a:lnTo>
                    <a:pt x="26" y="107"/>
                  </a:lnTo>
                  <a:lnTo>
                    <a:pt x="11" y="103"/>
                  </a:lnTo>
                  <a:lnTo>
                    <a:pt x="0" y="98"/>
                  </a:lnTo>
                  <a:lnTo>
                    <a:pt x="0" y="92"/>
                  </a:lnTo>
                  <a:lnTo>
                    <a:pt x="0" y="87"/>
                  </a:lnTo>
                  <a:lnTo>
                    <a:pt x="4" y="83"/>
                  </a:lnTo>
                  <a:lnTo>
                    <a:pt x="8" y="79"/>
                  </a:lnTo>
                  <a:lnTo>
                    <a:pt x="15" y="74"/>
                  </a:lnTo>
                  <a:lnTo>
                    <a:pt x="22" y="70"/>
                  </a:lnTo>
                  <a:lnTo>
                    <a:pt x="24" y="59"/>
                  </a:lnTo>
                  <a:lnTo>
                    <a:pt x="28" y="50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65" name="Freeform 63"/>
            <p:cNvSpPr>
              <a:spLocks/>
            </p:cNvSpPr>
            <p:nvPr/>
          </p:nvSpPr>
          <p:spPr bwMode="auto">
            <a:xfrm>
              <a:off x="2816275" y="2430965"/>
              <a:ext cx="191960" cy="250301"/>
            </a:xfrm>
            <a:custGeom>
              <a:avLst/>
              <a:gdLst>
                <a:gd name="T0" fmla="*/ 55938 w 110"/>
                <a:gd name="T1" fmla="*/ 76200 h 133"/>
                <a:gd name="T2" fmla="*/ 58882 w 110"/>
                <a:gd name="T3" fmla="*/ 49213 h 133"/>
                <a:gd name="T4" fmla="*/ 67714 w 110"/>
                <a:gd name="T5" fmla="*/ 34925 h 133"/>
                <a:gd name="T6" fmla="*/ 70658 w 110"/>
                <a:gd name="T7" fmla="*/ 44450 h 133"/>
                <a:gd name="T8" fmla="*/ 78018 w 110"/>
                <a:gd name="T9" fmla="*/ 52388 h 133"/>
                <a:gd name="T10" fmla="*/ 100099 w 110"/>
                <a:gd name="T11" fmla="*/ 38100 h 133"/>
                <a:gd name="T12" fmla="*/ 119236 w 110"/>
                <a:gd name="T13" fmla="*/ 20638 h 133"/>
                <a:gd name="T14" fmla="*/ 103043 w 110"/>
                <a:gd name="T15" fmla="*/ 55563 h 133"/>
                <a:gd name="T16" fmla="*/ 89795 w 110"/>
                <a:gd name="T17" fmla="*/ 85725 h 133"/>
                <a:gd name="T18" fmla="*/ 97155 w 110"/>
                <a:gd name="T19" fmla="*/ 79375 h 133"/>
                <a:gd name="T20" fmla="*/ 108931 w 110"/>
                <a:gd name="T21" fmla="*/ 76200 h 133"/>
                <a:gd name="T22" fmla="*/ 110403 w 110"/>
                <a:gd name="T23" fmla="*/ 85725 h 133"/>
                <a:gd name="T24" fmla="*/ 116292 w 110"/>
                <a:gd name="T25" fmla="*/ 93663 h 133"/>
                <a:gd name="T26" fmla="*/ 129540 w 110"/>
                <a:gd name="T27" fmla="*/ 82550 h 133"/>
                <a:gd name="T28" fmla="*/ 138372 w 110"/>
                <a:gd name="T29" fmla="*/ 69850 h 133"/>
                <a:gd name="T30" fmla="*/ 141316 w 110"/>
                <a:gd name="T31" fmla="*/ 58738 h 133"/>
                <a:gd name="T32" fmla="*/ 141316 w 110"/>
                <a:gd name="T33" fmla="*/ 41275 h 133"/>
                <a:gd name="T34" fmla="*/ 145733 w 110"/>
                <a:gd name="T35" fmla="*/ 17463 h 133"/>
                <a:gd name="T36" fmla="*/ 151621 w 110"/>
                <a:gd name="T37" fmla="*/ 0 h 133"/>
                <a:gd name="T38" fmla="*/ 157509 w 110"/>
                <a:gd name="T39" fmla="*/ 3175 h 133"/>
                <a:gd name="T40" fmla="*/ 160453 w 110"/>
                <a:gd name="T41" fmla="*/ 6350 h 133"/>
                <a:gd name="T42" fmla="*/ 161925 w 110"/>
                <a:gd name="T43" fmla="*/ 11113 h 133"/>
                <a:gd name="T44" fmla="*/ 161925 w 110"/>
                <a:gd name="T45" fmla="*/ 17463 h 133"/>
                <a:gd name="T46" fmla="*/ 161925 w 110"/>
                <a:gd name="T47" fmla="*/ 30163 h 133"/>
                <a:gd name="T48" fmla="*/ 160453 w 110"/>
                <a:gd name="T49" fmla="*/ 47625 h 133"/>
                <a:gd name="T50" fmla="*/ 160453 w 110"/>
                <a:gd name="T51" fmla="*/ 61913 h 133"/>
                <a:gd name="T52" fmla="*/ 160453 w 110"/>
                <a:gd name="T53" fmla="*/ 76200 h 133"/>
                <a:gd name="T54" fmla="*/ 157509 w 110"/>
                <a:gd name="T55" fmla="*/ 88900 h 133"/>
                <a:gd name="T56" fmla="*/ 151621 w 110"/>
                <a:gd name="T57" fmla="*/ 100013 h 133"/>
                <a:gd name="T58" fmla="*/ 141316 w 110"/>
                <a:gd name="T59" fmla="*/ 107950 h 133"/>
                <a:gd name="T60" fmla="*/ 126596 w 110"/>
                <a:gd name="T61" fmla="*/ 114300 h 133"/>
                <a:gd name="T62" fmla="*/ 119236 w 110"/>
                <a:gd name="T63" fmla="*/ 120650 h 133"/>
                <a:gd name="T64" fmla="*/ 113348 w 110"/>
                <a:gd name="T65" fmla="*/ 127000 h 133"/>
                <a:gd name="T66" fmla="*/ 108931 w 110"/>
                <a:gd name="T67" fmla="*/ 141288 h 133"/>
                <a:gd name="T68" fmla="*/ 103043 w 110"/>
                <a:gd name="T69" fmla="*/ 158750 h 133"/>
                <a:gd name="T70" fmla="*/ 94211 w 110"/>
                <a:gd name="T71" fmla="*/ 166688 h 133"/>
                <a:gd name="T72" fmla="*/ 83907 w 110"/>
                <a:gd name="T73" fmla="*/ 173038 h 133"/>
                <a:gd name="T74" fmla="*/ 78018 w 110"/>
                <a:gd name="T75" fmla="*/ 182563 h 133"/>
                <a:gd name="T76" fmla="*/ 73602 w 110"/>
                <a:gd name="T77" fmla="*/ 190500 h 133"/>
                <a:gd name="T78" fmla="*/ 64770 w 110"/>
                <a:gd name="T79" fmla="*/ 200025 h 133"/>
                <a:gd name="T80" fmla="*/ 55938 w 110"/>
                <a:gd name="T81" fmla="*/ 204788 h 133"/>
                <a:gd name="T82" fmla="*/ 42689 w 110"/>
                <a:gd name="T83" fmla="*/ 211138 h 133"/>
                <a:gd name="T84" fmla="*/ 26497 w 110"/>
                <a:gd name="T85" fmla="*/ 211138 h 133"/>
                <a:gd name="T86" fmla="*/ 16193 w 110"/>
                <a:gd name="T87" fmla="*/ 207963 h 133"/>
                <a:gd name="T88" fmla="*/ 4416 w 110"/>
                <a:gd name="T89" fmla="*/ 203200 h 133"/>
                <a:gd name="T90" fmla="*/ 1472 w 110"/>
                <a:gd name="T91" fmla="*/ 196850 h 133"/>
                <a:gd name="T92" fmla="*/ 0 w 110"/>
                <a:gd name="T93" fmla="*/ 193675 h 133"/>
                <a:gd name="T94" fmla="*/ 0 w 110"/>
                <a:gd name="T95" fmla="*/ 187325 h 133"/>
                <a:gd name="T96" fmla="*/ 0 w 110"/>
                <a:gd name="T97" fmla="*/ 182563 h 133"/>
                <a:gd name="T98" fmla="*/ 10304 w 110"/>
                <a:gd name="T99" fmla="*/ 176213 h 133"/>
                <a:gd name="T100" fmla="*/ 20609 w 110"/>
                <a:gd name="T101" fmla="*/ 173038 h 133"/>
                <a:gd name="T102" fmla="*/ 29441 w 110"/>
                <a:gd name="T103" fmla="*/ 169863 h 133"/>
                <a:gd name="T104" fmla="*/ 38273 w 110"/>
                <a:gd name="T105" fmla="*/ 161925 h 133"/>
                <a:gd name="T106" fmla="*/ 32385 w 110"/>
                <a:gd name="T107" fmla="*/ 127000 h 133"/>
                <a:gd name="T108" fmla="*/ 29441 w 110"/>
                <a:gd name="T109" fmla="*/ 90488 h 133"/>
                <a:gd name="T110" fmla="*/ 35329 w 110"/>
                <a:gd name="T111" fmla="*/ 82550 h 133"/>
                <a:gd name="T112" fmla="*/ 39745 w 110"/>
                <a:gd name="T113" fmla="*/ 79375 h 133"/>
                <a:gd name="T114" fmla="*/ 48578 w 110"/>
                <a:gd name="T115" fmla="*/ 76200 h 133"/>
                <a:gd name="T116" fmla="*/ 55938 w 110"/>
                <a:gd name="T117" fmla="*/ 76200 h 13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0"/>
                <a:gd name="T178" fmla="*/ 0 h 133"/>
                <a:gd name="T179" fmla="*/ 110 w 110"/>
                <a:gd name="T180" fmla="*/ 133 h 13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0" h="133">
                  <a:moveTo>
                    <a:pt x="38" y="48"/>
                  </a:moveTo>
                  <a:lnTo>
                    <a:pt x="40" y="31"/>
                  </a:lnTo>
                  <a:lnTo>
                    <a:pt x="46" y="22"/>
                  </a:lnTo>
                  <a:lnTo>
                    <a:pt x="48" y="28"/>
                  </a:lnTo>
                  <a:lnTo>
                    <a:pt x="53" y="33"/>
                  </a:lnTo>
                  <a:lnTo>
                    <a:pt x="68" y="24"/>
                  </a:lnTo>
                  <a:lnTo>
                    <a:pt x="81" y="13"/>
                  </a:lnTo>
                  <a:lnTo>
                    <a:pt x="70" y="35"/>
                  </a:lnTo>
                  <a:lnTo>
                    <a:pt x="61" y="54"/>
                  </a:lnTo>
                  <a:lnTo>
                    <a:pt x="66" y="50"/>
                  </a:lnTo>
                  <a:lnTo>
                    <a:pt x="74" y="48"/>
                  </a:lnTo>
                  <a:lnTo>
                    <a:pt x="75" y="54"/>
                  </a:lnTo>
                  <a:lnTo>
                    <a:pt x="79" y="59"/>
                  </a:lnTo>
                  <a:lnTo>
                    <a:pt x="88" y="52"/>
                  </a:lnTo>
                  <a:lnTo>
                    <a:pt x="94" y="44"/>
                  </a:lnTo>
                  <a:lnTo>
                    <a:pt x="96" y="37"/>
                  </a:lnTo>
                  <a:lnTo>
                    <a:pt x="96" y="26"/>
                  </a:lnTo>
                  <a:lnTo>
                    <a:pt x="99" y="11"/>
                  </a:lnTo>
                  <a:lnTo>
                    <a:pt x="103" y="0"/>
                  </a:lnTo>
                  <a:lnTo>
                    <a:pt x="107" y="2"/>
                  </a:lnTo>
                  <a:lnTo>
                    <a:pt x="109" y="4"/>
                  </a:lnTo>
                  <a:lnTo>
                    <a:pt x="110" y="7"/>
                  </a:lnTo>
                  <a:lnTo>
                    <a:pt x="110" y="11"/>
                  </a:lnTo>
                  <a:lnTo>
                    <a:pt x="110" y="19"/>
                  </a:lnTo>
                  <a:lnTo>
                    <a:pt x="109" y="30"/>
                  </a:lnTo>
                  <a:lnTo>
                    <a:pt x="109" y="39"/>
                  </a:lnTo>
                  <a:lnTo>
                    <a:pt x="109" y="48"/>
                  </a:lnTo>
                  <a:lnTo>
                    <a:pt x="107" y="56"/>
                  </a:lnTo>
                  <a:lnTo>
                    <a:pt x="103" y="63"/>
                  </a:lnTo>
                  <a:lnTo>
                    <a:pt x="96" y="68"/>
                  </a:lnTo>
                  <a:lnTo>
                    <a:pt x="86" y="72"/>
                  </a:lnTo>
                  <a:lnTo>
                    <a:pt x="81" y="76"/>
                  </a:lnTo>
                  <a:lnTo>
                    <a:pt x="77" y="80"/>
                  </a:lnTo>
                  <a:lnTo>
                    <a:pt x="74" y="89"/>
                  </a:lnTo>
                  <a:lnTo>
                    <a:pt x="70" y="100"/>
                  </a:lnTo>
                  <a:lnTo>
                    <a:pt x="64" y="105"/>
                  </a:lnTo>
                  <a:lnTo>
                    <a:pt x="57" y="109"/>
                  </a:lnTo>
                  <a:lnTo>
                    <a:pt x="53" y="115"/>
                  </a:lnTo>
                  <a:lnTo>
                    <a:pt x="50" y="120"/>
                  </a:lnTo>
                  <a:lnTo>
                    <a:pt x="44" y="126"/>
                  </a:lnTo>
                  <a:lnTo>
                    <a:pt x="38" y="129"/>
                  </a:lnTo>
                  <a:lnTo>
                    <a:pt x="29" y="133"/>
                  </a:lnTo>
                  <a:lnTo>
                    <a:pt x="18" y="133"/>
                  </a:lnTo>
                  <a:lnTo>
                    <a:pt x="11" y="131"/>
                  </a:lnTo>
                  <a:lnTo>
                    <a:pt x="3" y="128"/>
                  </a:lnTo>
                  <a:lnTo>
                    <a:pt x="1" y="124"/>
                  </a:lnTo>
                  <a:lnTo>
                    <a:pt x="0" y="122"/>
                  </a:lnTo>
                  <a:lnTo>
                    <a:pt x="0" y="118"/>
                  </a:lnTo>
                  <a:lnTo>
                    <a:pt x="0" y="115"/>
                  </a:lnTo>
                  <a:lnTo>
                    <a:pt x="7" y="111"/>
                  </a:lnTo>
                  <a:lnTo>
                    <a:pt x="14" y="109"/>
                  </a:lnTo>
                  <a:lnTo>
                    <a:pt x="20" y="107"/>
                  </a:lnTo>
                  <a:lnTo>
                    <a:pt x="26" y="102"/>
                  </a:lnTo>
                  <a:lnTo>
                    <a:pt x="22" y="80"/>
                  </a:lnTo>
                  <a:lnTo>
                    <a:pt x="20" y="57"/>
                  </a:lnTo>
                  <a:lnTo>
                    <a:pt x="24" y="52"/>
                  </a:lnTo>
                  <a:lnTo>
                    <a:pt x="27" y="50"/>
                  </a:lnTo>
                  <a:lnTo>
                    <a:pt x="33" y="48"/>
                  </a:lnTo>
                  <a:lnTo>
                    <a:pt x="38" y="48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66" name="Freeform 64"/>
            <p:cNvSpPr>
              <a:spLocks/>
            </p:cNvSpPr>
            <p:nvPr/>
          </p:nvSpPr>
          <p:spPr bwMode="auto">
            <a:xfrm>
              <a:off x="2620552" y="1794865"/>
              <a:ext cx="796068" cy="931569"/>
            </a:xfrm>
            <a:custGeom>
              <a:avLst/>
              <a:gdLst>
                <a:gd name="T0" fmla="*/ 492638 w 458"/>
                <a:gd name="T1" fmla="*/ 515938 h 495"/>
                <a:gd name="T2" fmla="*/ 498503 w 458"/>
                <a:gd name="T3" fmla="*/ 431800 h 495"/>
                <a:gd name="T4" fmla="*/ 536624 w 458"/>
                <a:gd name="T5" fmla="*/ 393700 h 495"/>
                <a:gd name="T6" fmla="*/ 558617 w 458"/>
                <a:gd name="T7" fmla="*/ 373063 h 495"/>
                <a:gd name="T8" fmla="*/ 574745 w 458"/>
                <a:gd name="T9" fmla="*/ 346075 h 495"/>
                <a:gd name="T10" fmla="*/ 617264 w 458"/>
                <a:gd name="T11" fmla="*/ 334963 h 495"/>
                <a:gd name="T12" fmla="*/ 642189 w 458"/>
                <a:gd name="T13" fmla="*/ 298450 h 495"/>
                <a:gd name="T14" fmla="*/ 646588 w 458"/>
                <a:gd name="T15" fmla="*/ 222250 h 495"/>
                <a:gd name="T16" fmla="*/ 661250 w 458"/>
                <a:gd name="T17" fmla="*/ 193675 h 495"/>
                <a:gd name="T18" fmla="*/ 655385 w 458"/>
                <a:gd name="T19" fmla="*/ 173038 h 495"/>
                <a:gd name="T20" fmla="*/ 611399 w 458"/>
                <a:gd name="T21" fmla="*/ 169863 h 495"/>
                <a:gd name="T22" fmla="*/ 611399 w 458"/>
                <a:gd name="T23" fmla="*/ 134938 h 495"/>
                <a:gd name="T24" fmla="*/ 620197 w 458"/>
                <a:gd name="T25" fmla="*/ 93663 h 495"/>
                <a:gd name="T26" fmla="*/ 541023 w 458"/>
                <a:gd name="T27" fmla="*/ 49213 h 495"/>
                <a:gd name="T28" fmla="*/ 482375 w 458"/>
                <a:gd name="T29" fmla="*/ 96838 h 495"/>
                <a:gd name="T30" fmla="*/ 435457 w 458"/>
                <a:gd name="T31" fmla="*/ 125413 h 495"/>
                <a:gd name="T32" fmla="*/ 384141 w 458"/>
                <a:gd name="T33" fmla="*/ 146050 h 495"/>
                <a:gd name="T34" fmla="*/ 384141 w 458"/>
                <a:gd name="T35" fmla="*/ 190500 h 495"/>
                <a:gd name="T36" fmla="*/ 351885 w 458"/>
                <a:gd name="T37" fmla="*/ 201613 h 495"/>
                <a:gd name="T38" fmla="*/ 335757 w 458"/>
                <a:gd name="T39" fmla="*/ 217488 h 495"/>
                <a:gd name="T40" fmla="*/ 338689 w 458"/>
                <a:gd name="T41" fmla="*/ 242888 h 495"/>
                <a:gd name="T42" fmla="*/ 265380 w 458"/>
                <a:gd name="T43" fmla="*/ 266700 h 495"/>
                <a:gd name="T44" fmla="*/ 262447 w 458"/>
                <a:gd name="T45" fmla="*/ 315913 h 495"/>
                <a:gd name="T46" fmla="*/ 246319 w 458"/>
                <a:gd name="T47" fmla="*/ 369888 h 495"/>
                <a:gd name="T48" fmla="*/ 186206 w 458"/>
                <a:gd name="T49" fmla="*/ 390525 h 495"/>
                <a:gd name="T50" fmla="*/ 0 w 458"/>
                <a:gd name="T51" fmla="*/ 393700 h 495"/>
                <a:gd name="T52" fmla="*/ 19060 w 458"/>
                <a:gd name="T53" fmla="*/ 415925 h 495"/>
                <a:gd name="T54" fmla="*/ 61580 w 458"/>
                <a:gd name="T55" fmla="*/ 411163 h 495"/>
                <a:gd name="T56" fmla="*/ 89437 w 458"/>
                <a:gd name="T57" fmla="*/ 431800 h 495"/>
                <a:gd name="T58" fmla="*/ 95302 w 458"/>
                <a:gd name="T59" fmla="*/ 487363 h 495"/>
                <a:gd name="T60" fmla="*/ 60114 w 458"/>
                <a:gd name="T61" fmla="*/ 577850 h 495"/>
                <a:gd name="T62" fmla="*/ 60114 w 458"/>
                <a:gd name="T63" fmla="*/ 598488 h 495"/>
                <a:gd name="T64" fmla="*/ 92370 w 458"/>
                <a:gd name="T65" fmla="*/ 606425 h 495"/>
                <a:gd name="T66" fmla="*/ 115829 w 458"/>
                <a:gd name="T67" fmla="*/ 604838 h 495"/>
                <a:gd name="T68" fmla="*/ 115829 w 458"/>
                <a:gd name="T69" fmla="*/ 581025 h 495"/>
                <a:gd name="T70" fmla="*/ 131957 w 458"/>
                <a:gd name="T71" fmla="*/ 609600 h 495"/>
                <a:gd name="T72" fmla="*/ 156882 w 458"/>
                <a:gd name="T73" fmla="*/ 647700 h 495"/>
                <a:gd name="T74" fmla="*/ 181807 w 458"/>
                <a:gd name="T75" fmla="*/ 688975 h 495"/>
                <a:gd name="T76" fmla="*/ 197935 w 458"/>
                <a:gd name="T77" fmla="*/ 703263 h 495"/>
                <a:gd name="T78" fmla="*/ 200867 w 458"/>
                <a:gd name="T79" fmla="*/ 619125 h 495"/>
                <a:gd name="T80" fmla="*/ 224326 w 458"/>
                <a:gd name="T81" fmla="*/ 585788 h 495"/>
                <a:gd name="T82" fmla="*/ 265380 w 458"/>
                <a:gd name="T83" fmla="*/ 574675 h 495"/>
                <a:gd name="T84" fmla="*/ 262447 w 458"/>
                <a:gd name="T85" fmla="*/ 615950 h 495"/>
                <a:gd name="T86" fmla="*/ 294703 w 458"/>
                <a:gd name="T87" fmla="*/ 619125 h 495"/>
                <a:gd name="T88" fmla="*/ 310831 w 458"/>
                <a:gd name="T89" fmla="*/ 554038 h 495"/>
                <a:gd name="T90" fmla="*/ 326959 w 458"/>
                <a:gd name="T91" fmla="*/ 547688 h 495"/>
                <a:gd name="T92" fmla="*/ 325493 w 458"/>
                <a:gd name="T93" fmla="*/ 598488 h 495"/>
                <a:gd name="T94" fmla="*/ 306433 w 458"/>
                <a:gd name="T95" fmla="*/ 644525 h 495"/>
                <a:gd name="T96" fmla="*/ 274177 w 458"/>
                <a:gd name="T97" fmla="*/ 677863 h 495"/>
                <a:gd name="T98" fmla="*/ 243387 w 458"/>
                <a:gd name="T99" fmla="*/ 719138 h 495"/>
                <a:gd name="T100" fmla="*/ 259515 w 458"/>
                <a:gd name="T101" fmla="*/ 739775 h 495"/>
                <a:gd name="T102" fmla="*/ 275643 w 458"/>
                <a:gd name="T103" fmla="*/ 777875 h 495"/>
                <a:gd name="T104" fmla="*/ 300568 w 458"/>
                <a:gd name="T105" fmla="*/ 785813 h 495"/>
                <a:gd name="T106" fmla="*/ 341621 w 458"/>
                <a:gd name="T107" fmla="*/ 739775 h 495"/>
                <a:gd name="T108" fmla="*/ 392938 w 458"/>
                <a:gd name="T109" fmla="*/ 695325 h 495"/>
                <a:gd name="T110" fmla="*/ 400269 w 458"/>
                <a:gd name="T111" fmla="*/ 665163 h 495"/>
                <a:gd name="T112" fmla="*/ 379742 w 458"/>
                <a:gd name="T113" fmla="*/ 654050 h 495"/>
                <a:gd name="T114" fmla="*/ 379742 w 458"/>
                <a:gd name="T115" fmla="*/ 612775 h 495"/>
                <a:gd name="T116" fmla="*/ 425194 w 458"/>
                <a:gd name="T117" fmla="*/ 542925 h 495"/>
                <a:gd name="T118" fmla="*/ 476510 w 458"/>
                <a:gd name="T119" fmla="*/ 554038 h 4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58"/>
                <a:gd name="T181" fmla="*/ 0 h 495"/>
                <a:gd name="T182" fmla="*/ 458 w 458"/>
                <a:gd name="T183" fmla="*/ 495 h 49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58" h="495">
                  <a:moveTo>
                    <a:pt x="334" y="345"/>
                  </a:moveTo>
                  <a:lnTo>
                    <a:pt x="331" y="342"/>
                  </a:lnTo>
                  <a:lnTo>
                    <a:pt x="331" y="338"/>
                  </a:lnTo>
                  <a:lnTo>
                    <a:pt x="336" y="325"/>
                  </a:lnTo>
                  <a:lnTo>
                    <a:pt x="345" y="312"/>
                  </a:lnTo>
                  <a:lnTo>
                    <a:pt x="344" y="299"/>
                  </a:lnTo>
                  <a:lnTo>
                    <a:pt x="340" y="284"/>
                  </a:lnTo>
                  <a:lnTo>
                    <a:pt x="340" y="272"/>
                  </a:lnTo>
                  <a:lnTo>
                    <a:pt x="342" y="262"/>
                  </a:lnTo>
                  <a:lnTo>
                    <a:pt x="353" y="257"/>
                  </a:lnTo>
                  <a:lnTo>
                    <a:pt x="364" y="251"/>
                  </a:lnTo>
                  <a:lnTo>
                    <a:pt x="366" y="248"/>
                  </a:lnTo>
                  <a:lnTo>
                    <a:pt x="369" y="242"/>
                  </a:lnTo>
                  <a:lnTo>
                    <a:pt x="373" y="240"/>
                  </a:lnTo>
                  <a:lnTo>
                    <a:pt x="379" y="238"/>
                  </a:lnTo>
                  <a:lnTo>
                    <a:pt x="381" y="235"/>
                  </a:lnTo>
                  <a:lnTo>
                    <a:pt x="382" y="229"/>
                  </a:lnTo>
                  <a:lnTo>
                    <a:pt x="382" y="225"/>
                  </a:lnTo>
                  <a:lnTo>
                    <a:pt x="381" y="220"/>
                  </a:lnTo>
                  <a:lnTo>
                    <a:pt x="392" y="218"/>
                  </a:lnTo>
                  <a:lnTo>
                    <a:pt x="406" y="218"/>
                  </a:lnTo>
                  <a:lnTo>
                    <a:pt x="414" y="214"/>
                  </a:lnTo>
                  <a:lnTo>
                    <a:pt x="417" y="212"/>
                  </a:lnTo>
                  <a:lnTo>
                    <a:pt x="421" y="211"/>
                  </a:lnTo>
                  <a:lnTo>
                    <a:pt x="429" y="211"/>
                  </a:lnTo>
                  <a:lnTo>
                    <a:pt x="432" y="205"/>
                  </a:lnTo>
                  <a:lnTo>
                    <a:pt x="436" y="198"/>
                  </a:lnTo>
                  <a:lnTo>
                    <a:pt x="438" y="188"/>
                  </a:lnTo>
                  <a:lnTo>
                    <a:pt x="438" y="181"/>
                  </a:lnTo>
                  <a:lnTo>
                    <a:pt x="438" y="163"/>
                  </a:lnTo>
                  <a:lnTo>
                    <a:pt x="436" y="144"/>
                  </a:lnTo>
                  <a:lnTo>
                    <a:pt x="441" y="140"/>
                  </a:lnTo>
                  <a:lnTo>
                    <a:pt x="445" y="135"/>
                  </a:lnTo>
                  <a:lnTo>
                    <a:pt x="447" y="129"/>
                  </a:lnTo>
                  <a:lnTo>
                    <a:pt x="447" y="124"/>
                  </a:lnTo>
                  <a:lnTo>
                    <a:pt x="451" y="122"/>
                  </a:lnTo>
                  <a:lnTo>
                    <a:pt x="454" y="120"/>
                  </a:lnTo>
                  <a:lnTo>
                    <a:pt x="456" y="116"/>
                  </a:lnTo>
                  <a:lnTo>
                    <a:pt x="458" y="113"/>
                  </a:lnTo>
                  <a:lnTo>
                    <a:pt x="447" y="109"/>
                  </a:lnTo>
                  <a:lnTo>
                    <a:pt x="434" y="111"/>
                  </a:lnTo>
                  <a:lnTo>
                    <a:pt x="429" y="111"/>
                  </a:lnTo>
                  <a:lnTo>
                    <a:pt x="421" y="111"/>
                  </a:lnTo>
                  <a:lnTo>
                    <a:pt x="417" y="107"/>
                  </a:lnTo>
                  <a:lnTo>
                    <a:pt x="414" y="103"/>
                  </a:lnTo>
                  <a:lnTo>
                    <a:pt x="414" y="96"/>
                  </a:lnTo>
                  <a:lnTo>
                    <a:pt x="416" y="89"/>
                  </a:lnTo>
                  <a:lnTo>
                    <a:pt x="417" y="85"/>
                  </a:lnTo>
                  <a:lnTo>
                    <a:pt x="421" y="81"/>
                  </a:lnTo>
                  <a:lnTo>
                    <a:pt x="427" y="78"/>
                  </a:lnTo>
                  <a:lnTo>
                    <a:pt x="430" y="76"/>
                  </a:lnTo>
                  <a:lnTo>
                    <a:pt x="423" y="59"/>
                  </a:lnTo>
                  <a:lnTo>
                    <a:pt x="410" y="39"/>
                  </a:lnTo>
                  <a:lnTo>
                    <a:pt x="397" y="17"/>
                  </a:lnTo>
                  <a:lnTo>
                    <a:pt x="386" y="0"/>
                  </a:lnTo>
                  <a:lnTo>
                    <a:pt x="369" y="31"/>
                  </a:lnTo>
                  <a:lnTo>
                    <a:pt x="356" y="54"/>
                  </a:lnTo>
                  <a:lnTo>
                    <a:pt x="349" y="59"/>
                  </a:lnTo>
                  <a:lnTo>
                    <a:pt x="340" y="61"/>
                  </a:lnTo>
                  <a:lnTo>
                    <a:pt x="329" y="61"/>
                  </a:lnTo>
                  <a:lnTo>
                    <a:pt x="316" y="61"/>
                  </a:lnTo>
                  <a:lnTo>
                    <a:pt x="308" y="70"/>
                  </a:lnTo>
                  <a:lnTo>
                    <a:pt x="303" y="76"/>
                  </a:lnTo>
                  <a:lnTo>
                    <a:pt x="297" y="79"/>
                  </a:lnTo>
                  <a:lnTo>
                    <a:pt x="290" y="81"/>
                  </a:lnTo>
                  <a:lnTo>
                    <a:pt x="277" y="83"/>
                  </a:lnTo>
                  <a:lnTo>
                    <a:pt x="262" y="83"/>
                  </a:lnTo>
                  <a:lnTo>
                    <a:pt x="262" y="92"/>
                  </a:lnTo>
                  <a:lnTo>
                    <a:pt x="264" y="109"/>
                  </a:lnTo>
                  <a:lnTo>
                    <a:pt x="264" y="113"/>
                  </a:lnTo>
                  <a:lnTo>
                    <a:pt x="264" y="118"/>
                  </a:lnTo>
                  <a:lnTo>
                    <a:pt x="262" y="120"/>
                  </a:lnTo>
                  <a:lnTo>
                    <a:pt x="259" y="124"/>
                  </a:lnTo>
                  <a:lnTo>
                    <a:pt x="255" y="126"/>
                  </a:lnTo>
                  <a:lnTo>
                    <a:pt x="248" y="127"/>
                  </a:lnTo>
                  <a:lnTo>
                    <a:pt x="240" y="127"/>
                  </a:lnTo>
                  <a:lnTo>
                    <a:pt x="231" y="126"/>
                  </a:lnTo>
                  <a:lnTo>
                    <a:pt x="229" y="129"/>
                  </a:lnTo>
                  <a:lnTo>
                    <a:pt x="229" y="133"/>
                  </a:lnTo>
                  <a:lnTo>
                    <a:pt x="229" y="137"/>
                  </a:lnTo>
                  <a:lnTo>
                    <a:pt x="231" y="140"/>
                  </a:lnTo>
                  <a:lnTo>
                    <a:pt x="233" y="146"/>
                  </a:lnTo>
                  <a:lnTo>
                    <a:pt x="233" y="150"/>
                  </a:lnTo>
                  <a:lnTo>
                    <a:pt x="231" y="153"/>
                  </a:lnTo>
                  <a:lnTo>
                    <a:pt x="223" y="157"/>
                  </a:lnTo>
                  <a:lnTo>
                    <a:pt x="205" y="157"/>
                  </a:lnTo>
                  <a:lnTo>
                    <a:pt x="187" y="161"/>
                  </a:lnTo>
                  <a:lnTo>
                    <a:pt x="181" y="168"/>
                  </a:lnTo>
                  <a:lnTo>
                    <a:pt x="179" y="175"/>
                  </a:lnTo>
                  <a:lnTo>
                    <a:pt x="179" y="183"/>
                  </a:lnTo>
                  <a:lnTo>
                    <a:pt x="179" y="190"/>
                  </a:lnTo>
                  <a:lnTo>
                    <a:pt x="179" y="199"/>
                  </a:lnTo>
                  <a:lnTo>
                    <a:pt x="179" y="207"/>
                  </a:lnTo>
                  <a:lnTo>
                    <a:pt x="177" y="216"/>
                  </a:lnTo>
                  <a:lnTo>
                    <a:pt x="174" y="227"/>
                  </a:lnTo>
                  <a:lnTo>
                    <a:pt x="168" y="233"/>
                  </a:lnTo>
                  <a:lnTo>
                    <a:pt x="163" y="236"/>
                  </a:lnTo>
                  <a:lnTo>
                    <a:pt x="155" y="240"/>
                  </a:lnTo>
                  <a:lnTo>
                    <a:pt x="146" y="244"/>
                  </a:lnTo>
                  <a:lnTo>
                    <a:pt x="127" y="246"/>
                  </a:lnTo>
                  <a:lnTo>
                    <a:pt x="105" y="246"/>
                  </a:lnTo>
                  <a:lnTo>
                    <a:pt x="55" y="240"/>
                  </a:lnTo>
                  <a:lnTo>
                    <a:pt x="0" y="229"/>
                  </a:lnTo>
                  <a:lnTo>
                    <a:pt x="0" y="248"/>
                  </a:lnTo>
                  <a:lnTo>
                    <a:pt x="0" y="268"/>
                  </a:lnTo>
                  <a:lnTo>
                    <a:pt x="2" y="268"/>
                  </a:lnTo>
                  <a:lnTo>
                    <a:pt x="2" y="266"/>
                  </a:lnTo>
                  <a:lnTo>
                    <a:pt x="13" y="262"/>
                  </a:lnTo>
                  <a:lnTo>
                    <a:pt x="26" y="260"/>
                  </a:lnTo>
                  <a:lnTo>
                    <a:pt x="31" y="257"/>
                  </a:lnTo>
                  <a:lnTo>
                    <a:pt x="37" y="255"/>
                  </a:lnTo>
                  <a:lnTo>
                    <a:pt x="42" y="259"/>
                  </a:lnTo>
                  <a:lnTo>
                    <a:pt x="48" y="264"/>
                  </a:lnTo>
                  <a:lnTo>
                    <a:pt x="55" y="264"/>
                  </a:lnTo>
                  <a:lnTo>
                    <a:pt x="61" y="266"/>
                  </a:lnTo>
                  <a:lnTo>
                    <a:pt x="61" y="272"/>
                  </a:lnTo>
                  <a:lnTo>
                    <a:pt x="61" y="279"/>
                  </a:lnTo>
                  <a:lnTo>
                    <a:pt x="68" y="286"/>
                  </a:lnTo>
                  <a:lnTo>
                    <a:pt x="70" y="296"/>
                  </a:lnTo>
                  <a:lnTo>
                    <a:pt x="65" y="307"/>
                  </a:lnTo>
                  <a:lnTo>
                    <a:pt x="55" y="316"/>
                  </a:lnTo>
                  <a:lnTo>
                    <a:pt x="52" y="333"/>
                  </a:lnTo>
                  <a:lnTo>
                    <a:pt x="46" y="349"/>
                  </a:lnTo>
                  <a:lnTo>
                    <a:pt x="41" y="364"/>
                  </a:lnTo>
                  <a:lnTo>
                    <a:pt x="31" y="379"/>
                  </a:lnTo>
                  <a:lnTo>
                    <a:pt x="35" y="379"/>
                  </a:lnTo>
                  <a:lnTo>
                    <a:pt x="39" y="379"/>
                  </a:lnTo>
                  <a:lnTo>
                    <a:pt x="41" y="377"/>
                  </a:lnTo>
                  <a:lnTo>
                    <a:pt x="42" y="373"/>
                  </a:lnTo>
                  <a:lnTo>
                    <a:pt x="44" y="371"/>
                  </a:lnTo>
                  <a:lnTo>
                    <a:pt x="50" y="369"/>
                  </a:lnTo>
                  <a:lnTo>
                    <a:pt x="63" y="382"/>
                  </a:lnTo>
                  <a:lnTo>
                    <a:pt x="74" y="388"/>
                  </a:lnTo>
                  <a:lnTo>
                    <a:pt x="78" y="386"/>
                  </a:lnTo>
                  <a:lnTo>
                    <a:pt x="79" y="384"/>
                  </a:lnTo>
                  <a:lnTo>
                    <a:pt x="79" y="381"/>
                  </a:lnTo>
                  <a:lnTo>
                    <a:pt x="78" y="377"/>
                  </a:lnTo>
                  <a:lnTo>
                    <a:pt x="76" y="371"/>
                  </a:lnTo>
                  <a:lnTo>
                    <a:pt x="76" y="366"/>
                  </a:lnTo>
                  <a:lnTo>
                    <a:pt x="79" y="366"/>
                  </a:lnTo>
                  <a:lnTo>
                    <a:pt x="83" y="368"/>
                  </a:lnTo>
                  <a:lnTo>
                    <a:pt x="85" y="369"/>
                  </a:lnTo>
                  <a:lnTo>
                    <a:pt x="89" y="375"/>
                  </a:lnTo>
                  <a:lnTo>
                    <a:pt x="90" y="384"/>
                  </a:lnTo>
                  <a:lnTo>
                    <a:pt x="92" y="395"/>
                  </a:lnTo>
                  <a:lnTo>
                    <a:pt x="94" y="403"/>
                  </a:lnTo>
                  <a:lnTo>
                    <a:pt x="100" y="406"/>
                  </a:lnTo>
                  <a:lnTo>
                    <a:pt x="107" y="408"/>
                  </a:lnTo>
                  <a:lnTo>
                    <a:pt x="116" y="410"/>
                  </a:lnTo>
                  <a:lnTo>
                    <a:pt x="120" y="416"/>
                  </a:lnTo>
                  <a:lnTo>
                    <a:pt x="122" y="423"/>
                  </a:lnTo>
                  <a:lnTo>
                    <a:pt x="124" y="434"/>
                  </a:lnTo>
                  <a:lnTo>
                    <a:pt x="124" y="449"/>
                  </a:lnTo>
                  <a:lnTo>
                    <a:pt x="127" y="447"/>
                  </a:lnTo>
                  <a:lnTo>
                    <a:pt x="133" y="445"/>
                  </a:lnTo>
                  <a:lnTo>
                    <a:pt x="135" y="443"/>
                  </a:lnTo>
                  <a:lnTo>
                    <a:pt x="139" y="440"/>
                  </a:lnTo>
                  <a:lnTo>
                    <a:pt x="135" y="418"/>
                  </a:lnTo>
                  <a:lnTo>
                    <a:pt x="133" y="395"/>
                  </a:lnTo>
                  <a:lnTo>
                    <a:pt x="137" y="390"/>
                  </a:lnTo>
                  <a:lnTo>
                    <a:pt x="140" y="388"/>
                  </a:lnTo>
                  <a:lnTo>
                    <a:pt x="146" y="386"/>
                  </a:lnTo>
                  <a:lnTo>
                    <a:pt x="151" y="386"/>
                  </a:lnTo>
                  <a:lnTo>
                    <a:pt x="153" y="369"/>
                  </a:lnTo>
                  <a:lnTo>
                    <a:pt x="159" y="360"/>
                  </a:lnTo>
                  <a:lnTo>
                    <a:pt x="161" y="366"/>
                  </a:lnTo>
                  <a:lnTo>
                    <a:pt x="166" y="371"/>
                  </a:lnTo>
                  <a:lnTo>
                    <a:pt x="181" y="362"/>
                  </a:lnTo>
                  <a:lnTo>
                    <a:pt x="194" y="351"/>
                  </a:lnTo>
                  <a:lnTo>
                    <a:pt x="183" y="373"/>
                  </a:lnTo>
                  <a:lnTo>
                    <a:pt x="174" y="392"/>
                  </a:lnTo>
                  <a:lnTo>
                    <a:pt x="179" y="388"/>
                  </a:lnTo>
                  <a:lnTo>
                    <a:pt x="187" y="386"/>
                  </a:lnTo>
                  <a:lnTo>
                    <a:pt x="188" y="392"/>
                  </a:lnTo>
                  <a:lnTo>
                    <a:pt x="192" y="397"/>
                  </a:lnTo>
                  <a:lnTo>
                    <a:pt x="201" y="390"/>
                  </a:lnTo>
                  <a:lnTo>
                    <a:pt x="207" y="382"/>
                  </a:lnTo>
                  <a:lnTo>
                    <a:pt x="209" y="375"/>
                  </a:lnTo>
                  <a:lnTo>
                    <a:pt x="209" y="364"/>
                  </a:lnTo>
                  <a:lnTo>
                    <a:pt x="212" y="349"/>
                  </a:lnTo>
                  <a:lnTo>
                    <a:pt x="216" y="338"/>
                  </a:lnTo>
                  <a:lnTo>
                    <a:pt x="220" y="340"/>
                  </a:lnTo>
                  <a:lnTo>
                    <a:pt x="222" y="342"/>
                  </a:lnTo>
                  <a:lnTo>
                    <a:pt x="223" y="345"/>
                  </a:lnTo>
                  <a:lnTo>
                    <a:pt x="223" y="349"/>
                  </a:lnTo>
                  <a:lnTo>
                    <a:pt x="223" y="357"/>
                  </a:lnTo>
                  <a:lnTo>
                    <a:pt x="222" y="368"/>
                  </a:lnTo>
                  <a:lnTo>
                    <a:pt x="222" y="377"/>
                  </a:lnTo>
                  <a:lnTo>
                    <a:pt x="222" y="386"/>
                  </a:lnTo>
                  <a:lnTo>
                    <a:pt x="220" y="394"/>
                  </a:lnTo>
                  <a:lnTo>
                    <a:pt x="216" y="401"/>
                  </a:lnTo>
                  <a:lnTo>
                    <a:pt x="209" y="406"/>
                  </a:lnTo>
                  <a:lnTo>
                    <a:pt x="199" y="410"/>
                  </a:lnTo>
                  <a:lnTo>
                    <a:pt x="194" y="414"/>
                  </a:lnTo>
                  <a:lnTo>
                    <a:pt x="190" y="418"/>
                  </a:lnTo>
                  <a:lnTo>
                    <a:pt x="187" y="427"/>
                  </a:lnTo>
                  <a:lnTo>
                    <a:pt x="183" y="438"/>
                  </a:lnTo>
                  <a:lnTo>
                    <a:pt x="177" y="443"/>
                  </a:lnTo>
                  <a:lnTo>
                    <a:pt x="170" y="447"/>
                  </a:lnTo>
                  <a:lnTo>
                    <a:pt x="166" y="453"/>
                  </a:lnTo>
                  <a:lnTo>
                    <a:pt x="163" y="458"/>
                  </a:lnTo>
                  <a:lnTo>
                    <a:pt x="166" y="458"/>
                  </a:lnTo>
                  <a:lnTo>
                    <a:pt x="172" y="462"/>
                  </a:lnTo>
                  <a:lnTo>
                    <a:pt x="177" y="466"/>
                  </a:lnTo>
                  <a:lnTo>
                    <a:pt x="181" y="471"/>
                  </a:lnTo>
                  <a:lnTo>
                    <a:pt x="185" y="479"/>
                  </a:lnTo>
                  <a:lnTo>
                    <a:pt x="187" y="484"/>
                  </a:lnTo>
                  <a:lnTo>
                    <a:pt x="188" y="490"/>
                  </a:lnTo>
                  <a:lnTo>
                    <a:pt x="188" y="495"/>
                  </a:lnTo>
                  <a:lnTo>
                    <a:pt x="190" y="495"/>
                  </a:lnTo>
                  <a:lnTo>
                    <a:pt x="194" y="495"/>
                  </a:lnTo>
                  <a:lnTo>
                    <a:pt x="205" y="495"/>
                  </a:lnTo>
                  <a:lnTo>
                    <a:pt x="214" y="491"/>
                  </a:lnTo>
                  <a:lnTo>
                    <a:pt x="220" y="486"/>
                  </a:lnTo>
                  <a:lnTo>
                    <a:pt x="225" y="480"/>
                  </a:lnTo>
                  <a:lnTo>
                    <a:pt x="233" y="466"/>
                  </a:lnTo>
                  <a:lnTo>
                    <a:pt x="238" y="456"/>
                  </a:lnTo>
                  <a:lnTo>
                    <a:pt x="251" y="449"/>
                  </a:lnTo>
                  <a:lnTo>
                    <a:pt x="262" y="442"/>
                  </a:lnTo>
                  <a:lnTo>
                    <a:pt x="268" y="438"/>
                  </a:lnTo>
                  <a:lnTo>
                    <a:pt x="272" y="434"/>
                  </a:lnTo>
                  <a:lnTo>
                    <a:pt x="275" y="430"/>
                  </a:lnTo>
                  <a:lnTo>
                    <a:pt x="277" y="425"/>
                  </a:lnTo>
                  <a:lnTo>
                    <a:pt x="273" y="419"/>
                  </a:lnTo>
                  <a:lnTo>
                    <a:pt x="272" y="418"/>
                  </a:lnTo>
                  <a:lnTo>
                    <a:pt x="268" y="414"/>
                  </a:lnTo>
                  <a:lnTo>
                    <a:pt x="264" y="414"/>
                  </a:lnTo>
                  <a:lnTo>
                    <a:pt x="259" y="412"/>
                  </a:lnTo>
                  <a:lnTo>
                    <a:pt x="255" y="408"/>
                  </a:lnTo>
                  <a:lnTo>
                    <a:pt x="253" y="401"/>
                  </a:lnTo>
                  <a:lnTo>
                    <a:pt x="255" y="394"/>
                  </a:lnTo>
                  <a:lnTo>
                    <a:pt x="259" y="386"/>
                  </a:lnTo>
                  <a:lnTo>
                    <a:pt x="264" y="377"/>
                  </a:lnTo>
                  <a:lnTo>
                    <a:pt x="277" y="362"/>
                  </a:lnTo>
                  <a:lnTo>
                    <a:pt x="286" y="351"/>
                  </a:lnTo>
                  <a:lnTo>
                    <a:pt x="290" y="342"/>
                  </a:lnTo>
                  <a:lnTo>
                    <a:pt x="297" y="334"/>
                  </a:lnTo>
                  <a:lnTo>
                    <a:pt x="307" y="342"/>
                  </a:lnTo>
                  <a:lnTo>
                    <a:pt x="318" y="351"/>
                  </a:lnTo>
                  <a:lnTo>
                    <a:pt x="325" y="349"/>
                  </a:lnTo>
                  <a:lnTo>
                    <a:pt x="334" y="345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67" name="Freeform 65"/>
            <p:cNvSpPr>
              <a:spLocks/>
            </p:cNvSpPr>
            <p:nvPr/>
          </p:nvSpPr>
          <p:spPr bwMode="auto">
            <a:xfrm>
              <a:off x="3260416" y="2820532"/>
              <a:ext cx="1626011" cy="972971"/>
            </a:xfrm>
            <a:custGeom>
              <a:avLst/>
              <a:gdLst>
                <a:gd name="T0" fmla="*/ 70338 w 936"/>
                <a:gd name="T1" fmla="*/ 536575 h 517"/>
                <a:gd name="T2" fmla="*/ 10258 w 936"/>
                <a:gd name="T3" fmla="*/ 581025 h 517"/>
                <a:gd name="T4" fmla="*/ 16119 w 936"/>
                <a:gd name="T5" fmla="*/ 654049 h 517"/>
                <a:gd name="T6" fmla="*/ 35169 w 936"/>
                <a:gd name="T7" fmla="*/ 692149 h 517"/>
                <a:gd name="T8" fmla="*/ 55685 w 936"/>
                <a:gd name="T9" fmla="*/ 657224 h 517"/>
                <a:gd name="T10" fmla="*/ 137746 w 936"/>
                <a:gd name="T11" fmla="*/ 671512 h 517"/>
                <a:gd name="T12" fmla="*/ 161192 w 936"/>
                <a:gd name="T13" fmla="*/ 701674 h 517"/>
                <a:gd name="T14" fmla="*/ 227135 w 936"/>
                <a:gd name="T15" fmla="*/ 688974 h 517"/>
                <a:gd name="T16" fmla="*/ 246185 w 936"/>
                <a:gd name="T17" fmla="*/ 677862 h 517"/>
                <a:gd name="T18" fmla="*/ 256442 w 936"/>
                <a:gd name="T19" fmla="*/ 630237 h 517"/>
                <a:gd name="T20" fmla="*/ 285750 w 936"/>
                <a:gd name="T21" fmla="*/ 636587 h 517"/>
                <a:gd name="T22" fmla="*/ 329712 w 936"/>
                <a:gd name="T23" fmla="*/ 657224 h 517"/>
                <a:gd name="T24" fmla="*/ 367812 w 936"/>
                <a:gd name="T25" fmla="*/ 701674 h 517"/>
                <a:gd name="T26" fmla="*/ 441081 w 936"/>
                <a:gd name="T27" fmla="*/ 754062 h 517"/>
                <a:gd name="T28" fmla="*/ 495300 w 936"/>
                <a:gd name="T29" fmla="*/ 774699 h 517"/>
                <a:gd name="T30" fmla="*/ 603738 w 936"/>
                <a:gd name="T31" fmla="*/ 803274 h 517"/>
                <a:gd name="T32" fmla="*/ 684335 w 936"/>
                <a:gd name="T33" fmla="*/ 806449 h 517"/>
                <a:gd name="T34" fmla="*/ 725365 w 936"/>
                <a:gd name="T35" fmla="*/ 774699 h 517"/>
                <a:gd name="T36" fmla="*/ 735623 w 936"/>
                <a:gd name="T37" fmla="*/ 730249 h 517"/>
                <a:gd name="T38" fmla="*/ 808892 w 936"/>
                <a:gd name="T39" fmla="*/ 636587 h 517"/>
                <a:gd name="T40" fmla="*/ 851389 w 936"/>
                <a:gd name="T41" fmla="*/ 549275 h 517"/>
                <a:gd name="T42" fmla="*/ 886558 w 936"/>
                <a:gd name="T43" fmla="*/ 515937 h 517"/>
                <a:gd name="T44" fmla="*/ 914400 w 936"/>
                <a:gd name="T45" fmla="*/ 481012 h 517"/>
                <a:gd name="T46" fmla="*/ 965689 w 936"/>
                <a:gd name="T47" fmla="*/ 522287 h 517"/>
                <a:gd name="T48" fmla="*/ 1022839 w 936"/>
                <a:gd name="T49" fmla="*/ 481012 h 517"/>
                <a:gd name="T50" fmla="*/ 1099039 w 936"/>
                <a:gd name="T51" fmla="*/ 473075 h 517"/>
                <a:gd name="T52" fmla="*/ 1150327 w 936"/>
                <a:gd name="T53" fmla="*/ 422275 h 517"/>
                <a:gd name="T54" fmla="*/ 1279281 w 936"/>
                <a:gd name="T55" fmla="*/ 398462 h 517"/>
                <a:gd name="T56" fmla="*/ 1349619 w 936"/>
                <a:gd name="T57" fmla="*/ 369887 h 517"/>
                <a:gd name="T58" fmla="*/ 1371600 w 936"/>
                <a:gd name="T59" fmla="*/ 252412 h 517"/>
                <a:gd name="T60" fmla="*/ 1282212 w 936"/>
                <a:gd name="T61" fmla="*/ 263525 h 517"/>
                <a:gd name="T62" fmla="*/ 1192823 w 936"/>
                <a:gd name="T63" fmla="*/ 296862 h 517"/>
                <a:gd name="T64" fmla="*/ 1131277 w 936"/>
                <a:gd name="T65" fmla="*/ 314325 h 517"/>
                <a:gd name="T66" fmla="*/ 833804 w 936"/>
                <a:gd name="T67" fmla="*/ 96837 h 517"/>
                <a:gd name="T68" fmla="*/ 763466 w 936"/>
                <a:gd name="T69" fmla="*/ 23812 h 517"/>
                <a:gd name="T70" fmla="*/ 633046 w 936"/>
                <a:gd name="T71" fmla="*/ 6350 h 517"/>
                <a:gd name="T72" fmla="*/ 540727 w 936"/>
                <a:gd name="T73" fmla="*/ 41275 h 517"/>
                <a:gd name="T74" fmla="*/ 502627 w 936"/>
                <a:gd name="T75" fmla="*/ 161925 h 517"/>
                <a:gd name="T76" fmla="*/ 492369 w 936"/>
                <a:gd name="T77" fmla="*/ 203200 h 517"/>
                <a:gd name="T78" fmla="*/ 460131 w 936"/>
                <a:gd name="T79" fmla="*/ 179387 h 517"/>
                <a:gd name="T80" fmla="*/ 383931 w 936"/>
                <a:gd name="T81" fmla="*/ 152400 h 517"/>
                <a:gd name="T82" fmla="*/ 370742 w 936"/>
                <a:gd name="T83" fmla="*/ 111125 h 517"/>
                <a:gd name="T84" fmla="*/ 297473 w 936"/>
                <a:gd name="T85" fmla="*/ 41275 h 517"/>
                <a:gd name="T86" fmla="*/ 265235 w 936"/>
                <a:gd name="T87" fmla="*/ 26987 h 517"/>
                <a:gd name="T88" fmla="*/ 278423 w 936"/>
                <a:gd name="T89" fmla="*/ 79375 h 517"/>
                <a:gd name="T90" fmla="*/ 297473 w 936"/>
                <a:gd name="T91" fmla="*/ 134937 h 517"/>
                <a:gd name="T92" fmla="*/ 237392 w 936"/>
                <a:gd name="T93" fmla="*/ 234950 h 517"/>
                <a:gd name="T94" fmla="*/ 211015 w 936"/>
                <a:gd name="T95" fmla="*/ 260350 h 517"/>
                <a:gd name="T96" fmla="*/ 186104 w 936"/>
                <a:gd name="T97" fmla="*/ 284162 h 517"/>
                <a:gd name="T98" fmla="*/ 202223 w 936"/>
                <a:gd name="T99" fmla="*/ 307975 h 517"/>
                <a:gd name="T100" fmla="*/ 265235 w 936"/>
                <a:gd name="T101" fmla="*/ 311150 h 517"/>
                <a:gd name="T102" fmla="*/ 310662 w 936"/>
                <a:gd name="T103" fmla="*/ 360362 h 517"/>
                <a:gd name="T104" fmla="*/ 211015 w 936"/>
                <a:gd name="T105" fmla="*/ 415925 h 517"/>
                <a:gd name="T106" fmla="*/ 213946 w 936"/>
                <a:gd name="T107" fmla="*/ 442912 h 517"/>
                <a:gd name="T108" fmla="*/ 159727 w 936"/>
                <a:gd name="T109" fmla="*/ 477837 h 517"/>
                <a:gd name="T110" fmla="*/ 96715 w 936"/>
                <a:gd name="T111" fmla="*/ 466725 h 51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36"/>
                <a:gd name="T169" fmla="*/ 0 h 517"/>
                <a:gd name="T170" fmla="*/ 936 w 936"/>
                <a:gd name="T171" fmla="*/ 517 h 51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36" h="517">
                  <a:moveTo>
                    <a:pt x="66" y="294"/>
                  </a:moveTo>
                  <a:lnTo>
                    <a:pt x="61" y="305"/>
                  </a:lnTo>
                  <a:lnTo>
                    <a:pt x="55" y="312"/>
                  </a:lnTo>
                  <a:lnTo>
                    <a:pt x="51" y="325"/>
                  </a:lnTo>
                  <a:lnTo>
                    <a:pt x="48" y="338"/>
                  </a:lnTo>
                  <a:lnTo>
                    <a:pt x="35" y="344"/>
                  </a:lnTo>
                  <a:lnTo>
                    <a:pt x="20" y="349"/>
                  </a:lnTo>
                  <a:lnTo>
                    <a:pt x="18" y="355"/>
                  </a:lnTo>
                  <a:lnTo>
                    <a:pt x="16" y="360"/>
                  </a:lnTo>
                  <a:lnTo>
                    <a:pt x="7" y="366"/>
                  </a:lnTo>
                  <a:lnTo>
                    <a:pt x="0" y="373"/>
                  </a:lnTo>
                  <a:lnTo>
                    <a:pt x="9" y="386"/>
                  </a:lnTo>
                  <a:lnTo>
                    <a:pt x="18" y="399"/>
                  </a:lnTo>
                  <a:lnTo>
                    <a:pt x="16" y="405"/>
                  </a:lnTo>
                  <a:lnTo>
                    <a:pt x="11" y="412"/>
                  </a:lnTo>
                  <a:lnTo>
                    <a:pt x="9" y="416"/>
                  </a:lnTo>
                  <a:lnTo>
                    <a:pt x="9" y="421"/>
                  </a:lnTo>
                  <a:lnTo>
                    <a:pt x="13" y="427"/>
                  </a:lnTo>
                  <a:lnTo>
                    <a:pt x="18" y="434"/>
                  </a:lnTo>
                  <a:lnTo>
                    <a:pt x="24" y="436"/>
                  </a:lnTo>
                  <a:lnTo>
                    <a:pt x="29" y="436"/>
                  </a:lnTo>
                  <a:lnTo>
                    <a:pt x="31" y="434"/>
                  </a:lnTo>
                  <a:lnTo>
                    <a:pt x="33" y="431"/>
                  </a:lnTo>
                  <a:lnTo>
                    <a:pt x="37" y="421"/>
                  </a:lnTo>
                  <a:lnTo>
                    <a:pt x="38" y="414"/>
                  </a:lnTo>
                  <a:lnTo>
                    <a:pt x="46" y="414"/>
                  </a:lnTo>
                  <a:lnTo>
                    <a:pt x="55" y="416"/>
                  </a:lnTo>
                  <a:lnTo>
                    <a:pt x="68" y="418"/>
                  </a:lnTo>
                  <a:lnTo>
                    <a:pt x="79" y="421"/>
                  </a:lnTo>
                  <a:lnTo>
                    <a:pt x="94" y="423"/>
                  </a:lnTo>
                  <a:lnTo>
                    <a:pt x="107" y="427"/>
                  </a:lnTo>
                  <a:lnTo>
                    <a:pt x="110" y="432"/>
                  </a:lnTo>
                  <a:lnTo>
                    <a:pt x="109" y="438"/>
                  </a:lnTo>
                  <a:lnTo>
                    <a:pt x="109" y="440"/>
                  </a:lnTo>
                  <a:lnTo>
                    <a:pt x="110" y="442"/>
                  </a:lnTo>
                  <a:lnTo>
                    <a:pt x="112" y="445"/>
                  </a:lnTo>
                  <a:lnTo>
                    <a:pt x="116" y="445"/>
                  </a:lnTo>
                  <a:lnTo>
                    <a:pt x="129" y="438"/>
                  </a:lnTo>
                  <a:lnTo>
                    <a:pt x="142" y="429"/>
                  </a:lnTo>
                  <a:lnTo>
                    <a:pt x="155" y="434"/>
                  </a:lnTo>
                  <a:lnTo>
                    <a:pt x="162" y="440"/>
                  </a:lnTo>
                  <a:lnTo>
                    <a:pt x="166" y="438"/>
                  </a:lnTo>
                  <a:lnTo>
                    <a:pt x="168" y="434"/>
                  </a:lnTo>
                  <a:lnTo>
                    <a:pt x="168" y="431"/>
                  </a:lnTo>
                  <a:lnTo>
                    <a:pt x="168" y="427"/>
                  </a:lnTo>
                  <a:lnTo>
                    <a:pt x="164" y="419"/>
                  </a:lnTo>
                  <a:lnTo>
                    <a:pt x="162" y="412"/>
                  </a:lnTo>
                  <a:lnTo>
                    <a:pt x="164" y="407"/>
                  </a:lnTo>
                  <a:lnTo>
                    <a:pt x="170" y="401"/>
                  </a:lnTo>
                  <a:lnTo>
                    <a:pt x="175" y="397"/>
                  </a:lnTo>
                  <a:lnTo>
                    <a:pt x="181" y="395"/>
                  </a:lnTo>
                  <a:lnTo>
                    <a:pt x="184" y="399"/>
                  </a:lnTo>
                  <a:lnTo>
                    <a:pt x="190" y="405"/>
                  </a:lnTo>
                  <a:lnTo>
                    <a:pt x="192" y="403"/>
                  </a:lnTo>
                  <a:lnTo>
                    <a:pt x="195" y="401"/>
                  </a:lnTo>
                  <a:lnTo>
                    <a:pt x="197" y="403"/>
                  </a:lnTo>
                  <a:lnTo>
                    <a:pt x="199" y="405"/>
                  </a:lnTo>
                  <a:lnTo>
                    <a:pt x="205" y="407"/>
                  </a:lnTo>
                  <a:lnTo>
                    <a:pt x="214" y="405"/>
                  </a:lnTo>
                  <a:lnTo>
                    <a:pt x="225" y="414"/>
                  </a:lnTo>
                  <a:lnTo>
                    <a:pt x="234" y="429"/>
                  </a:lnTo>
                  <a:lnTo>
                    <a:pt x="232" y="434"/>
                  </a:lnTo>
                  <a:lnTo>
                    <a:pt x="232" y="442"/>
                  </a:lnTo>
                  <a:lnTo>
                    <a:pt x="242" y="442"/>
                  </a:lnTo>
                  <a:lnTo>
                    <a:pt x="251" y="442"/>
                  </a:lnTo>
                  <a:lnTo>
                    <a:pt x="262" y="456"/>
                  </a:lnTo>
                  <a:lnTo>
                    <a:pt x="271" y="473"/>
                  </a:lnTo>
                  <a:lnTo>
                    <a:pt x="280" y="471"/>
                  </a:lnTo>
                  <a:lnTo>
                    <a:pt x="291" y="469"/>
                  </a:lnTo>
                  <a:lnTo>
                    <a:pt x="301" y="475"/>
                  </a:lnTo>
                  <a:lnTo>
                    <a:pt x="310" y="480"/>
                  </a:lnTo>
                  <a:lnTo>
                    <a:pt x="315" y="480"/>
                  </a:lnTo>
                  <a:lnTo>
                    <a:pt x="321" y="480"/>
                  </a:lnTo>
                  <a:lnTo>
                    <a:pt x="328" y="484"/>
                  </a:lnTo>
                  <a:lnTo>
                    <a:pt x="338" y="488"/>
                  </a:lnTo>
                  <a:lnTo>
                    <a:pt x="352" y="484"/>
                  </a:lnTo>
                  <a:lnTo>
                    <a:pt x="367" y="480"/>
                  </a:lnTo>
                  <a:lnTo>
                    <a:pt x="386" y="490"/>
                  </a:lnTo>
                  <a:lnTo>
                    <a:pt x="402" y="501"/>
                  </a:lnTo>
                  <a:lnTo>
                    <a:pt x="412" y="506"/>
                  </a:lnTo>
                  <a:lnTo>
                    <a:pt x="421" y="510"/>
                  </a:lnTo>
                  <a:lnTo>
                    <a:pt x="430" y="516"/>
                  </a:lnTo>
                  <a:lnTo>
                    <a:pt x="439" y="517"/>
                  </a:lnTo>
                  <a:lnTo>
                    <a:pt x="452" y="514"/>
                  </a:lnTo>
                  <a:lnTo>
                    <a:pt x="467" y="508"/>
                  </a:lnTo>
                  <a:lnTo>
                    <a:pt x="478" y="503"/>
                  </a:lnTo>
                  <a:lnTo>
                    <a:pt x="487" y="497"/>
                  </a:lnTo>
                  <a:lnTo>
                    <a:pt x="493" y="492"/>
                  </a:lnTo>
                  <a:lnTo>
                    <a:pt x="495" y="488"/>
                  </a:lnTo>
                  <a:lnTo>
                    <a:pt x="498" y="482"/>
                  </a:lnTo>
                  <a:lnTo>
                    <a:pt x="498" y="477"/>
                  </a:lnTo>
                  <a:lnTo>
                    <a:pt x="498" y="471"/>
                  </a:lnTo>
                  <a:lnTo>
                    <a:pt x="498" y="466"/>
                  </a:lnTo>
                  <a:lnTo>
                    <a:pt x="502" y="460"/>
                  </a:lnTo>
                  <a:lnTo>
                    <a:pt x="506" y="455"/>
                  </a:lnTo>
                  <a:lnTo>
                    <a:pt x="515" y="442"/>
                  </a:lnTo>
                  <a:lnTo>
                    <a:pt x="526" y="421"/>
                  </a:lnTo>
                  <a:lnTo>
                    <a:pt x="539" y="410"/>
                  </a:lnTo>
                  <a:lnTo>
                    <a:pt x="552" y="401"/>
                  </a:lnTo>
                  <a:lnTo>
                    <a:pt x="563" y="390"/>
                  </a:lnTo>
                  <a:lnTo>
                    <a:pt x="572" y="379"/>
                  </a:lnTo>
                  <a:lnTo>
                    <a:pt x="578" y="368"/>
                  </a:lnTo>
                  <a:lnTo>
                    <a:pt x="580" y="359"/>
                  </a:lnTo>
                  <a:lnTo>
                    <a:pt x="581" y="346"/>
                  </a:lnTo>
                  <a:lnTo>
                    <a:pt x="581" y="336"/>
                  </a:lnTo>
                  <a:lnTo>
                    <a:pt x="593" y="333"/>
                  </a:lnTo>
                  <a:lnTo>
                    <a:pt x="600" y="331"/>
                  </a:lnTo>
                  <a:lnTo>
                    <a:pt x="604" y="329"/>
                  </a:lnTo>
                  <a:lnTo>
                    <a:pt x="605" y="325"/>
                  </a:lnTo>
                  <a:lnTo>
                    <a:pt x="607" y="322"/>
                  </a:lnTo>
                  <a:lnTo>
                    <a:pt x="607" y="318"/>
                  </a:lnTo>
                  <a:lnTo>
                    <a:pt x="613" y="312"/>
                  </a:lnTo>
                  <a:lnTo>
                    <a:pt x="618" y="307"/>
                  </a:lnTo>
                  <a:lnTo>
                    <a:pt x="624" y="303"/>
                  </a:lnTo>
                  <a:lnTo>
                    <a:pt x="630" y="303"/>
                  </a:lnTo>
                  <a:lnTo>
                    <a:pt x="635" y="316"/>
                  </a:lnTo>
                  <a:lnTo>
                    <a:pt x="639" y="336"/>
                  </a:lnTo>
                  <a:lnTo>
                    <a:pt x="650" y="333"/>
                  </a:lnTo>
                  <a:lnTo>
                    <a:pt x="659" y="329"/>
                  </a:lnTo>
                  <a:lnTo>
                    <a:pt x="666" y="323"/>
                  </a:lnTo>
                  <a:lnTo>
                    <a:pt x="674" y="318"/>
                  </a:lnTo>
                  <a:lnTo>
                    <a:pt x="681" y="312"/>
                  </a:lnTo>
                  <a:lnTo>
                    <a:pt x="689" y="307"/>
                  </a:lnTo>
                  <a:lnTo>
                    <a:pt x="698" y="303"/>
                  </a:lnTo>
                  <a:lnTo>
                    <a:pt x="707" y="298"/>
                  </a:lnTo>
                  <a:lnTo>
                    <a:pt x="714" y="298"/>
                  </a:lnTo>
                  <a:lnTo>
                    <a:pt x="722" y="298"/>
                  </a:lnTo>
                  <a:lnTo>
                    <a:pt x="737" y="298"/>
                  </a:lnTo>
                  <a:lnTo>
                    <a:pt x="750" y="298"/>
                  </a:lnTo>
                  <a:lnTo>
                    <a:pt x="759" y="288"/>
                  </a:lnTo>
                  <a:lnTo>
                    <a:pt x="768" y="279"/>
                  </a:lnTo>
                  <a:lnTo>
                    <a:pt x="772" y="274"/>
                  </a:lnTo>
                  <a:lnTo>
                    <a:pt x="777" y="270"/>
                  </a:lnTo>
                  <a:lnTo>
                    <a:pt x="785" y="266"/>
                  </a:lnTo>
                  <a:lnTo>
                    <a:pt x="794" y="262"/>
                  </a:lnTo>
                  <a:lnTo>
                    <a:pt x="822" y="266"/>
                  </a:lnTo>
                  <a:lnTo>
                    <a:pt x="844" y="272"/>
                  </a:lnTo>
                  <a:lnTo>
                    <a:pt x="860" y="262"/>
                  </a:lnTo>
                  <a:lnTo>
                    <a:pt x="873" y="251"/>
                  </a:lnTo>
                  <a:lnTo>
                    <a:pt x="897" y="249"/>
                  </a:lnTo>
                  <a:lnTo>
                    <a:pt x="912" y="246"/>
                  </a:lnTo>
                  <a:lnTo>
                    <a:pt x="914" y="238"/>
                  </a:lnTo>
                  <a:lnTo>
                    <a:pt x="916" y="233"/>
                  </a:lnTo>
                  <a:lnTo>
                    <a:pt x="921" y="233"/>
                  </a:lnTo>
                  <a:lnTo>
                    <a:pt x="931" y="231"/>
                  </a:lnTo>
                  <a:lnTo>
                    <a:pt x="923" y="205"/>
                  </a:lnTo>
                  <a:lnTo>
                    <a:pt x="914" y="183"/>
                  </a:lnTo>
                  <a:lnTo>
                    <a:pt x="923" y="170"/>
                  </a:lnTo>
                  <a:lnTo>
                    <a:pt x="936" y="159"/>
                  </a:lnTo>
                  <a:lnTo>
                    <a:pt x="923" y="155"/>
                  </a:lnTo>
                  <a:lnTo>
                    <a:pt x="910" y="153"/>
                  </a:lnTo>
                  <a:lnTo>
                    <a:pt x="894" y="157"/>
                  </a:lnTo>
                  <a:lnTo>
                    <a:pt x="883" y="161"/>
                  </a:lnTo>
                  <a:lnTo>
                    <a:pt x="875" y="166"/>
                  </a:lnTo>
                  <a:lnTo>
                    <a:pt x="870" y="168"/>
                  </a:lnTo>
                  <a:lnTo>
                    <a:pt x="853" y="164"/>
                  </a:lnTo>
                  <a:lnTo>
                    <a:pt x="838" y="163"/>
                  </a:lnTo>
                  <a:lnTo>
                    <a:pt x="827" y="172"/>
                  </a:lnTo>
                  <a:lnTo>
                    <a:pt x="814" y="187"/>
                  </a:lnTo>
                  <a:lnTo>
                    <a:pt x="807" y="194"/>
                  </a:lnTo>
                  <a:lnTo>
                    <a:pt x="796" y="198"/>
                  </a:lnTo>
                  <a:lnTo>
                    <a:pt x="788" y="200"/>
                  </a:lnTo>
                  <a:lnTo>
                    <a:pt x="781" y="200"/>
                  </a:lnTo>
                  <a:lnTo>
                    <a:pt x="772" y="198"/>
                  </a:lnTo>
                  <a:lnTo>
                    <a:pt x="761" y="196"/>
                  </a:lnTo>
                  <a:lnTo>
                    <a:pt x="711" y="163"/>
                  </a:lnTo>
                  <a:lnTo>
                    <a:pt x="637" y="115"/>
                  </a:lnTo>
                  <a:lnTo>
                    <a:pt x="602" y="89"/>
                  </a:lnTo>
                  <a:lnTo>
                    <a:pt x="569" y="61"/>
                  </a:lnTo>
                  <a:lnTo>
                    <a:pt x="556" y="48"/>
                  </a:lnTo>
                  <a:lnTo>
                    <a:pt x="545" y="35"/>
                  </a:lnTo>
                  <a:lnTo>
                    <a:pt x="537" y="24"/>
                  </a:lnTo>
                  <a:lnTo>
                    <a:pt x="533" y="13"/>
                  </a:lnTo>
                  <a:lnTo>
                    <a:pt x="521" y="15"/>
                  </a:lnTo>
                  <a:lnTo>
                    <a:pt x="506" y="17"/>
                  </a:lnTo>
                  <a:lnTo>
                    <a:pt x="489" y="15"/>
                  </a:lnTo>
                  <a:lnTo>
                    <a:pt x="471" y="11"/>
                  </a:lnTo>
                  <a:lnTo>
                    <a:pt x="450" y="7"/>
                  </a:lnTo>
                  <a:lnTo>
                    <a:pt x="432" y="4"/>
                  </a:lnTo>
                  <a:lnTo>
                    <a:pt x="413" y="0"/>
                  </a:lnTo>
                  <a:lnTo>
                    <a:pt x="397" y="0"/>
                  </a:lnTo>
                  <a:lnTo>
                    <a:pt x="369" y="26"/>
                  </a:lnTo>
                  <a:lnTo>
                    <a:pt x="343" y="52"/>
                  </a:lnTo>
                  <a:lnTo>
                    <a:pt x="345" y="63"/>
                  </a:lnTo>
                  <a:lnTo>
                    <a:pt x="352" y="74"/>
                  </a:lnTo>
                  <a:lnTo>
                    <a:pt x="347" y="85"/>
                  </a:lnTo>
                  <a:lnTo>
                    <a:pt x="343" y="102"/>
                  </a:lnTo>
                  <a:lnTo>
                    <a:pt x="349" y="111"/>
                  </a:lnTo>
                  <a:lnTo>
                    <a:pt x="354" y="120"/>
                  </a:lnTo>
                  <a:lnTo>
                    <a:pt x="349" y="124"/>
                  </a:lnTo>
                  <a:lnTo>
                    <a:pt x="343" y="126"/>
                  </a:lnTo>
                  <a:lnTo>
                    <a:pt x="336" y="128"/>
                  </a:lnTo>
                  <a:lnTo>
                    <a:pt x="328" y="128"/>
                  </a:lnTo>
                  <a:lnTo>
                    <a:pt x="327" y="120"/>
                  </a:lnTo>
                  <a:lnTo>
                    <a:pt x="323" y="113"/>
                  </a:lnTo>
                  <a:lnTo>
                    <a:pt x="317" y="113"/>
                  </a:lnTo>
                  <a:lnTo>
                    <a:pt x="314" y="113"/>
                  </a:lnTo>
                  <a:lnTo>
                    <a:pt x="301" y="107"/>
                  </a:lnTo>
                  <a:lnTo>
                    <a:pt x="290" y="102"/>
                  </a:lnTo>
                  <a:lnTo>
                    <a:pt x="275" y="100"/>
                  </a:lnTo>
                  <a:lnTo>
                    <a:pt x="264" y="100"/>
                  </a:lnTo>
                  <a:lnTo>
                    <a:pt x="262" y="96"/>
                  </a:lnTo>
                  <a:lnTo>
                    <a:pt x="264" y="89"/>
                  </a:lnTo>
                  <a:lnTo>
                    <a:pt x="262" y="85"/>
                  </a:lnTo>
                  <a:lnTo>
                    <a:pt x="262" y="79"/>
                  </a:lnTo>
                  <a:lnTo>
                    <a:pt x="258" y="76"/>
                  </a:lnTo>
                  <a:lnTo>
                    <a:pt x="253" y="70"/>
                  </a:lnTo>
                  <a:lnTo>
                    <a:pt x="234" y="61"/>
                  </a:lnTo>
                  <a:lnTo>
                    <a:pt x="219" y="50"/>
                  </a:lnTo>
                  <a:lnTo>
                    <a:pt x="212" y="39"/>
                  </a:lnTo>
                  <a:lnTo>
                    <a:pt x="206" y="30"/>
                  </a:lnTo>
                  <a:lnTo>
                    <a:pt x="203" y="26"/>
                  </a:lnTo>
                  <a:lnTo>
                    <a:pt x="199" y="22"/>
                  </a:lnTo>
                  <a:lnTo>
                    <a:pt x="192" y="19"/>
                  </a:lnTo>
                  <a:lnTo>
                    <a:pt x="184" y="15"/>
                  </a:lnTo>
                  <a:lnTo>
                    <a:pt x="182" y="15"/>
                  </a:lnTo>
                  <a:lnTo>
                    <a:pt x="181" y="17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79" y="31"/>
                  </a:lnTo>
                  <a:lnTo>
                    <a:pt x="181" y="37"/>
                  </a:lnTo>
                  <a:lnTo>
                    <a:pt x="190" y="50"/>
                  </a:lnTo>
                  <a:lnTo>
                    <a:pt x="197" y="61"/>
                  </a:lnTo>
                  <a:lnTo>
                    <a:pt x="201" y="67"/>
                  </a:lnTo>
                  <a:lnTo>
                    <a:pt x="203" y="74"/>
                  </a:lnTo>
                  <a:lnTo>
                    <a:pt x="203" y="79"/>
                  </a:lnTo>
                  <a:lnTo>
                    <a:pt x="203" y="85"/>
                  </a:lnTo>
                  <a:lnTo>
                    <a:pt x="186" y="98"/>
                  </a:lnTo>
                  <a:lnTo>
                    <a:pt x="171" y="109"/>
                  </a:lnTo>
                  <a:lnTo>
                    <a:pt x="175" y="129"/>
                  </a:lnTo>
                  <a:lnTo>
                    <a:pt x="177" y="146"/>
                  </a:lnTo>
                  <a:lnTo>
                    <a:pt x="162" y="148"/>
                  </a:lnTo>
                  <a:lnTo>
                    <a:pt x="151" y="148"/>
                  </a:lnTo>
                  <a:lnTo>
                    <a:pt x="147" y="150"/>
                  </a:lnTo>
                  <a:lnTo>
                    <a:pt x="146" y="153"/>
                  </a:lnTo>
                  <a:lnTo>
                    <a:pt x="144" y="159"/>
                  </a:lnTo>
                  <a:lnTo>
                    <a:pt x="144" y="164"/>
                  </a:lnTo>
                  <a:lnTo>
                    <a:pt x="142" y="168"/>
                  </a:lnTo>
                  <a:lnTo>
                    <a:pt x="138" y="170"/>
                  </a:lnTo>
                  <a:lnTo>
                    <a:pt x="134" y="172"/>
                  </a:lnTo>
                  <a:lnTo>
                    <a:pt x="127" y="172"/>
                  </a:lnTo>
                  <a:lnTo>
                    <a:pt x="127" y="179"/>
                  </a:lnTo>
                  <a:lnTo>
                    <a:pt x="125" y="187"/>
                  </a:lnTo>
                  <a:lnTo>
                    <a:pt x="123" y="192"/>
                  </a:lnTo>
                  <a:lnTo>
                    <a:pt x="120" y="196"/>
                  </a:lnTo>
                  <a:lnTo>
                    <a:pt x="127" y="198"/>
                  </a:lnTo>
                  <a:lnTo>
                    <a:pt x="138" y="194"/>
                  </a:lnTo>
                  <a:lnTo>
                    <a:pt x="144" y="201"/>
                  </a:lnTo>
                  <a:lnTo>
                    <a:pt x="151" y="205"/>
                  </a:lnTo>
                  <a:lnTo>
                    <a:pt x="170" y="196"/>
                  </a:lnTo>
                  <a:lnTo>
                    <a:pt x="181" y="192"/>
                  </a:lnTo>
                  <a:lnTo>
                    <a:pt x="181" y="196"/>
                  </a:lnTo>
                  <a:lnTo>
                    <a:pt x="184" y="198"/>
                  </a:lnTo>
                  <a:lnTo>
                    <a:pt x="192" y="194"/>
                  </a:lnTo>
                  <a:lnTo>
                    <a:pt x="201" y="190"/>
                  </a:lnTo>
                  <a:lnTo>
                    <a:pt x="206" y="209"/>
                  </a:lnTo>
                  <a:lnTo>
                    <a:pt x="212" y="227"/>
                  </a:lnTo>
                  <a:lnTo>
                    <a:pt x="195" y="233"/>
                  </a:lnTo>
                  <a:lnTo>
                    <a:pt x="179" y="242"/>
                  </a:lnTo>
                  <a:lnTo>
                    <a:pt x="162" y="251"/>
                  </a:lnTo>
                  <a:lnTo>
                    <a:pt x="147" y="257"/>
                  </a:lnTo>
                  <a:lnTo>
                    <a:pt x="144" y="262"/>
                  </a:lnTo>
                  <a:lnTo>
                    <a:pt x="140" y="266"/>
                  </a:lnTo>
                  <a:lnTo>
                    <a:pt x="140" y="268"/>
                  </a:lnTo>
                  <a:lnTo>
                    <a:pt x="142" y="272"/>
                  </a:lnTo>
                  <a:lnTo>
                    <a:pt x="146" y="275"/>
                  </a:lnTo>
                  <a:lnTo>
                    <a:pt x="146" y="279"/>
                  </a:lnTo>
                  <a:lnTo>
                    <a:pt x="142" y="286"/>
                  </a:lnTo>
                  <a:lnTo>
                    <a:pt x="136" y="294"/>
                  </a:lnTo>
                  <a:lnTo>
                    <a:pt x="129" y="299"/>
                  </a:lnTo>
                  <a:lnTo>
                    <a:pt x="120" y="301"/>
                  </a:lnTo>
                  <a:lnTo>
                    <a:pt x="109" y="301"/>
                  </a:lnTo>
                  <a:lnTo>
                    <a:pt x="103" y="298"/>
                  </a:lnTo>
                  <a:lnTo>
                    <a:pt x="97" y="292"/>
                  </a:lnTo>
                  <a:lnTo>
                    <a:pt x="94" y="290"/>
                  </a:lnTo>
                  <a:lnTo>
                    <a:pt x="81" y="292"/>
                  </a:lnTo>
                  <a:lnTo>
                    <a:pt x="66" y="294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68" name="Freeform 66"/>
            <p:cNvSpPr>
              <a:spLocks/>
            </p:cNvSpPr>
            <p:nvPr/>
          </p:nvSpPr>
          <p:spPr bwMode="auto">
            <a:xfrm>
              <a:off x="1920464" y="2312402"/>
              <a:ext cx="366982" cy="519420"/>
            </a:xfrm>
            <a:custGeom>
              <a:avLst/>
              <a:gdLst>
                <a:gd name="T0" fmla="*/ 280221 w 211"/>
                <a:gd name="T1" fmla="*/ 9525 h 276"/>
                <a:gd name="T2" fmla="*/ 258214 w 211"/>
                <a:gd name="T3" fmla="*/ 23812 h 276"/>
                <a:gd name="T4" fmla="*/ 230338 w 211"/>
                <a:gd name="T5" fmla="*/ 34925 h 276"/>
                <a:gd name="T6" fmla="*/ 214200 w 211"/>
                <a:gd name="T7" fmla="*/ 50800 h 276"/>
                <a:gd name="T8" fmla="*/ 198062 w 211"/>
                <a:gd name="T9" fmla="*/ 88900 h 276"/>
                <a:gd name="T10" fmla="*/ 176055 w 211"/>
                <a:gd name="T11" fmla="*/ 103188 h 276"/>
                <a:gd name="T12" fmla="*/ 178989 w 211"/>
                <a:gd name="T13" fmla="*/ 82550 h 276"/>
                <a:gd name="T14" fmla="*/ 190726 w 211"/>
                <a:gd name="T15" fmla="*/ 55562 h 276"/>
                <a:gd name="T16" fmla="*/ 156982 w 211"/>
                <a:gd name="T17" fmla="*/ 55562 h 276"/>
                <a:gd name="T18" fmla="*/ 130574 w 211"/>
                <a:gd name="T19" fmla="*/ 68262 h 276"/>
                <a:gd name="T20" fmla="*/ 124705 w 211"/>
                <a:gd name="T21" fmla="*/ 76200 h 276"/>
                <a:gd name="T22" fmla="*/ 117370 w 211"/>
                <a:gd name="T23" fmla="*/ 93662 h 276"/>
                <a:gd name="T24" fmla="*/ 102699 w 211"/>
                <a:gd name="T25" fmla="*/ 109538 h 276"/>
                <a:gd name="T26" fmla="*/ 85093 w 211"/>
                <a:gd name="T27" fmla="*/ 111125 h 276"/>
                <a:gd name="T28" fmla="*/ 70422 w 211"/>
                <a:gd name="T29" fmla="*/ 114300 h 276"/>
                <a:gd name="T30" fmla="*/ 63086 w 211"/>
                <a:gd name="T31" fmla="*/ 130175 h 276"/>
                <a:gd name="T32" fmla="*/ 44014 w 211"/>
                <a:gd name="T33" fmla="*/ 173037 h 276"/>
                <a:gd name="T34" fmla="*/ 19073 w 211"/>
                <a:gd name="T35" fmla="*/ 190500 h 276"/>
                <a:gd name="T36" fmla="*/ 0 w 211"/>
                <a:gd name="T37" fmla="*/ 203200 h 276"/>
                <a:gd name="T38" fmla="*/ 0 w 211"/>
                <a:gd name="T39" fmla="*/ 227012 h 276"/>
                <a:gd name="T40" fmla="*/ 11737 w 211"/>
                <a:gd name="T41" fmla="*/ 261937 h 276"/>
                <a:gd name="T42" fmla="*/ 24941 w 211"/>
                <a:gd name="T43" fmla="*/ 287337 h 276"/>
                <a:gd name="T44" fmla="*/ 19073 w 211"/>
                <a:gd name="T45" fmla="*/ 300037 h 276"/>
                <a:gd name="T46" fmla="*/ 13204 w 211"/>
                <a:gd name="T47" fmla="*/ 304800 h 276"/>
                <a:gd name="T48" fmla="*/ 11737 w 211"/>
                <a:gd name="T49" fmla="*/ 317500 h 276"/>
                <a:gd name="T50" fmla="*/ 19073 w 211"/>
                <a:gd name="T51" fmla="*/ 331787 h 276"/>
                <a:gd name="T52" fmla="*/ 32277 w 211"/>
                <a:gd name="T53" fmla="*/ 346075 h 276"/>
                <a:gd name="T54" fmla="*/ 41079 w 211"/>
                <a:gd name="T55" fmla="*/ 373062 h 276"/>
                <a:gd name="T56" fmla="*/ 41079 w 211"/>
                <a:gd name="T57" fmla="*/ 396875 h 276"/>
                <a:gd name="T58" fmla="*/ 49882 w 211"/>
                <a:gd name="T59" fmla="*/ 411163 h 276"/>
                <a:gd name="T60" fmla="*/ 66021 w 211"/>
                <a:gd name="T61" fmla="*/ 425450 h 276"/>
                <a:gd name="T62" fmla="*/ 73356 w 211"/>
                <a:gd name="T63" fmla="*/ 438150 h 276"/>
                <a:gd name="T64" fmla="*/ 86560 w 211"/>
                <a:gd name="T65" fmla="*/ 431800 h 276"/>
                <a:gd name="T66" fmla="*/ 111501 w 211"/>
                <a:gd name="T67" fmla="*/ 419100 h 276"/>
                <a:gd name="T68" fmla="*/ 124705 w 211"/>
                <a:gd name="T69" fmla="*/ 401637 h 276"/>
                <a:gd name="T70" fmla="*/ 130574 w 211"/>
                <a:gd name="T71" fmla="*/ 387350 h 276"/>
                <a:gd name="T72" fmla="*/ 127640 w 211"/>
                <a:gd name="T73" fmla="*/ 369887 h 276"/>
                <a:gd name="T74" fmla="*/ 124705 w 211"/>
                <a:gd name="T75" fmla="*/ 349250 h 276"/>
                <a:gd name="T76" fmla="*/ 140844 w 211"/>
                <a:gd name="T77" fmla="*/ 328612 h 276"/>
                <a:gd name="T78" fmla="*/ 159916 w 211"/>
                <a:gd name="T79" fmla="*/ 307975 h 276"/>
                <a:gd name="T80" fmla="*/ 168719 w 211"/>
                <a:gd name="T81" fmla="*/ 293687 h 276"/>
                <a:gd name="T82" fmla="*/ 181923 w 211"/>
                <a:gd name="T83" fmla="*/ 279400 h 276"/>
                <a:gd name="T84" fmla="*/ 184858 w 211"/>
                <a:gd name="T85" fmla="*/ 261937 h 276"/>
                <a:gd name="T86" fmla="*/ 200996 w 211"/>
                <a:gd name="T87" fmla="*/ 252412 h 276"/>
                <a:gd name="T88" fmla="*/ 223003 w 211"/>
                <a:gd name="T89" fmla="*/ 238125 h 276"/>
                <a:gd name="T90" fmla="*/ 245010 w 211"/>
                <a:gd name="T91" fmla="*/ 169862 h 276"/>
                <a:gd name="T92" fmla="*/ 252345 w 211"/>
                <a:gd name="T93" fmla="*/ 130175 h 276"/>
                <a:gd name="T94" fmla="*/ 262615 w 211"/>
                <a:gd name="T95" fmla="*/ 127000 h 276"/>
                <a:gd name="T96" fmla="*/ 281688 w 211"/>
                <a:gd name="T97" fmla="*/ 130175 h 276"/>
                <a:gd name="T98" fmla="*/ 296359 w 211"/>
                <a:gd name="T99" fmla="*/ 109538 h 276"/>
                <a:gd name="T100" fmla="*/ 303695 w 211"/>
                <a:gd name="T101" fmla="*/ 79375 h 276"/>
                <a:gd name="T102" fmla="*/ 306629 w 211"/>
                <a:gd name="T103" fmla="*/ 41275 h 276"/>
                <a:gd name="T104" fmla="*/ 293425 w 211"/>
                <a:gd name="T105" fmla="*/ 3175 h 27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11"/>
                <a:gd name="T160" fmla="*/ 0 h 276"/>
                <a:gd name="T161" fmla="*/ 211 w 211"/>
                <a:gd name="T162" fmla="*/ 276 h 27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11" h="276">
                  <a:moveTo>
                    <a:pt x="198" y="0"/>
                  </a:moveTo>
                  <a:lnTo>
                    <a:pt x="191" y="6"/>
                  </a:lnTo>
                  <a:lnTo>
                    <a:pt x="183" y="9"/>
                  </a:lnTo>
                  <a:lnTo>
                    <a:pt x="176" y="15"/>
                  </a:lnTo>
                  <a:lnTo>
                    <a:pt x="168" y="22"/>
                  </a:lnTo>
                  <a:lnTo>
                    <a:pt x="157" y="22"/>
                  </a:lnTo>
                  <a:lnTo>
                    <a:pt x="150" y="26"/>
                  </a:lnTo>
                  <a:lnTo>
                    <a:pt x="146" y="32"/>
                  </a:lnTo>
                  <a:lnTo>
                    <a:pt x="144" y="43"/>
                  </a:lnTo>
                  <a:lnTo>
                    <a:pt x="135" y="56"/>
                  </a:lnTo>
                  <a:lnTo>
                    <a:pt x="126" y="65"/>
                  </a:lnTo>
                  <a:lnTo>
                    <a:pt x="120" y="65"/>
                  </a:lnTo>
                  <a:lnTo>
                    <a:pt x="115" y="65"/>
                  </a:lnTo>
                  <a:lnTo>
                    <a:pt x="122" y="52"/>
                  </a:lnTo>
                  <a:lnTo>
                    <a:pt x="128" y="43"/>
                  </a:lnTo>
                  <a:lnTo>
                    <a:pt x="130" y="35"/>
                  </a:lnTo>
                  <a:lnTo>
                    <a:pt x="128" y="30"/>
                  </a:lnTo>
                  <a:lnTo>
                    <a:pt x="107" y="35"/>
                  </a:lnTo>
                  <a:lnTo>
                    <a:pt x="94" y="41"/>
                  </a:lnTo>
                  <a:lnTo>
                    <a:pt x="89" y="43"/>
                  </a:lnTo>
                  <a:lnTo>
                    <a:pt x="87" y="45"/>
                  </a:lnTo>
                  <a:lnTo>
                    <a:pt x="85" y="48"/>
                  </a:lnTo>
                  <a:lnTo>
                    <a:pt x="83" y="52"/>
                  </a:lnTo>
                  <a:lnTo>
                    <a:pt x="80" y="59"/>
                  </a:lnTo>
                  <a:lnTo>
                    <a:pt x="76" y="63"/>
                  </a:lnTo>
                  <a:lnTo>
                    <a:pt x="70" y="69"/>
                  </a:lnTo>
                  <a:lnTo>
                    <a:pt x="65" y="70"/>
                  </a:lnTo>
                  <a:lnTo>
                    <a:pt x="58" y="70"/>
                  </a:lnTo>
                  <a:lnTo>
                    <a:pt x="52" y="70"/>
                  </a:lnTo>
                  <a:lnTo>
                    <a:pt x="48" y="72"/>
                  </a:lnTo>
                  <a:lnTo>
                    <a:pt x="45" y="74"/>
                  </a:lnTo>
                  <a:lnTo>
                    <a:pt x="43" y="82"/>
                  </a:lnTo>
                  <a:lnTo>
                    <a:pt x="37" y="96"/>
                  </a:lnTo>
                  <a:lnTo>
                    <a:pt x="30" y="109"/>
                  </a:lnTo>
                  <a:lnTo>
                    <a:pt x="22" y="117"/>
                  </a:lnTo>
                  <a:lnTo>
                    <a:pt x="13" y="120"/>
                  </a:lnTo>
                  <a:lnTo>
                    <a:pt x="4" y="122"/>
                  </a:lnTo>
                  <a:lnTo>
                    <a:pt x="0" y="128"/>
                  </a:lnTo>
                  <a:lnTo>
                    <a:pt x="0" y="135"/>
                  </a:lnTo>
                  <a:lnTo>
                    <a:pt x="0" y="143"/>
                  </a:lnTo>
                  <a:lnTo>
                    <a:pt x="2" y="150"/>
                  </a:lnTo>
                  <a:lnTo>
                    <a:pt x="8" y="165"/>
                  </a:lnTo>
                  <a:lnTo>
                    <a:pt x="17" y="178"/>
                  </a:lnTo>
                  <a:lnTo>
                    <a:pt x="17" y="181"/>
                  </a:lnTo>
                  <a:lnTo>
                    <a:pt x="15" y="185"/>
                  </a:lnTo>
                  <a:lnTo>
                    <a:pt x="13" y="189"/>
                  </a:lnTo>
                  <a:lnTo>
                    <a:pt x="11" y="191"/>
                  </a:lnTo>
                  <a:lnTo>
                    <a:pt x="9" y="192"/>
                  </a:lnTo>
                  <a:lnTo>
                    <a:pt x="8" y="196"/>
                  </a:lnTo>
                  <a:lnTo>
                    <a:pt x="8" y="200"/>
                  </a:lnTo>
                  <a:lnTo>
                    <a:pt x="9" y="205"/>
                  </a:lnTo>
                  <a:lnTo>
                    <a:pt x="13" y="209"/>
                  </a:lnTo>
                  <a:lnTo>
                    <a:pt x="19" y="213"/>
                  </a:lnTo>
                  <a:lnTo>
                    <a:pt x="22" y="218"/>
                  </a:lnTo>
                  <a:lnTo>
                    <a:pt x="26" y="228"/>
                  </a:lnTo>
                  <a:lnTo>
                    <a:pt x="28" y="235"/>
                  </a:lnTo>
                  <a:lnTo>
                    <a:pt x="30" y="242"/>
                  </a:lnTo>
                  <a:lnTo>
                    <a:pt x="28" y="250"/>
                  </a:lnTo>
                  <a:lnTo>
                    <a:pt x="26" y="253"/>
                  </a:lnTo>
                  <a:lnTo>
                    <a:pt x="34" y="259"/>
                  </a:lnTo>
                  <a:lnTo>
                    <a:pt x="39" y="263"/>
                  </a:lnTo>
                  <a:lnTo>
                    <a:pt x="45" y="268"/>
                  </a:lnTo>
                  <a:lnTo>
                    <a:pt x="50" y="274"/>
                  </a:lnTo>
                  <a:lnTo>
                    <a:pt x="50" y="276"/>
                  </a:lnTo>
                  <a:lnTo>
                    <a:pt x="59" y="272"/>
                  </a:lnTo>
                  <a:lnTo>
                    <a:pt x="69" y="268"/>
                  </a:lnTo>
                  <a:lnTo>
                    <a:pt x="76" y="264"/>
                  </a:lnTo>
                  <a:lnTo>
                    <a:pt x="82" y="259"/>
                  </a:lnTo>
                  <a:lnTo>
                    <a:pt x="85" y="253"/>
                  </a:lnTo>
                  <a:lnTo>
                    <a:pt x="89" y="248"/>
                  </a:lnTo>
                  <a:lnTo>
                    <a:pt x="89" y="244"/>
                  </a:lnTo>
                  <a:lnTo>
                    <a:pt x="89" y="240"/>
                  </a:lnTo>
                  <a:lnTo>
                    <a:pt x="87" y="233"/>
                  </a:lnTo>
                  <a:lnTo>
                    <a:pt x="85" y="226"/>
                  </a:lnTo>
                  <a:lnTo>
                    <a:pt x="85" y="220"/>
                  </a:lnTo>
                  <a:lnTo>
                    <a:pt x="89" y="213"/>
                  </a:lnTo>
                  <a:lnTo>
                    <a:pt x="96" y="207"/>
                  </a:lnTo>
                  <a:lnTo>
                    <a:pt x="107" y="200"/>
                  </a:lnTo>
                  <a:lnTo>
                    <a:pt x="109" y="194"/>
                  </a:lnTo>
                  <a:lnTo>
                    <a:pt x="111" y="189"/>
                  </a:lnTo>
                  <a:lnTo>
                    <a:pt x="115" y="185"/>
                  </a:lnTo>
                  <a:lnTo>
                    <a:pt x="120" y="179"/>
                  </a:lnTo>
                  <a:lnTo>
                    <a:pt x="124" y="176"/>
                  </a:lnTo>
                  <a:lnTo>
                    <a:pt x="126" y="170"/>
                  </a:lnTo>
                  <a:lnTo>
                    <a:pt x="126" y="165"/>
                  </a:lnTo>
                  <a:lnTo>
                    <a:pt x="128" y="161"/>
                  </a:lnTo>
                  <a:lnTo>
                    <a:pt x="137" y="159"/>
                  </a:lnTo>
                  <a:lnTo>
                    <a:pt x="144" y="159"/>
                  </a:lnTo>
                  <a:lnTo>
                    <a:pt x="152" y="150"/>
                  </a:lnTo>
                  <a:lnTo>
                    <a:pt x="165" y="137"/>
                  </a:lnTo>
                  <a:lnTo>
                    <a:pt x="167" y="107"/>
                  </a:lnTo>
                  <a:lnTo>
                    <a:pt x="170" y="83"/>
                  </a:lnTo>
                  <a:lnTo>
                    <a:pt x="172" y="82"/>
                  </a:lnTo>
                  <a:lnTo>
                    <a:pt x="176" y="80"/>
                  </a:lnTo>
                  <a:lnTo>
                    <a:pt x="179" y="80"/>
                  </a:lnTo>
                  <a:lnTo>
                    <a:pt x="183" y="80"/>
                  </a:lnTo>
                  <a:lnTo>
                    <a:pt x="192" y="82"/>
                  </a:lnTo>
                  <a:lnTo>
                    <a:pt x="200" y="82"/>
                  </a:lnTo>
                  <a:lnTo>
                    <a:pt x="202" y="69"/>
                  </a:lnTo>
                  <a:lnTo>
                    <a:pt x="202" y="58"/>
                  </a:lnTo>
                  <a:lnTo>
                    <a:pt x="207" y="50"/>
                  </a:lnTo>
                  <a:lnTo>
                    <a:pt x="211" y="39"/>
                  </a:lnTo>
                  <a:lnTo>
                    <a:pt x="209" y="26"/>
                  </a:lnTo>
                  <a:lnTo>
                    <a:pt x="200" y="4"/>
                  </a:lnTo>
                  <a:lnTo>
                    <a:pt x="200" y="2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69" name="Freeform 67"/>
            <p:cNvSpPr>
              <a:spLocks/>
            </p:cNvSpPr>
            <p:nvPr/>
          </p:nvSpPr>
          <p:spPr bwMode="auto">
            <a:xfrm>
              <a:off x="2264863" y="2197604"/>
              <a:ext cx="583407" cy="590934"/>
            </a:xfrm>
            <a:custGeom>
              <a:avLst/>
              <a:gdLst>
                <a:gd name="T0" fmla="*/ 227022 w 336"/>
                <a:gd name="T1" fmla="*/ 9525 h 314"/>
                <a:gd name="T2" fmla="*/ 175759 w 336"/>
                <a:gd name="T3" fmla="*/ 12700 h 314"/>
                <a:gd name="T4" fmla="*/ 205052 w 336"/>
                <a:gd name="T5" fmla="*/ 26988 h 314"/>
                <a:gd name="T6" fmla="*/ 188941 w 336"/>
                <a:gd name="T7" fmla="*/ 38100 h 314"/>
                <a:gd name="T8" fmla="*/ 172830 w 336"/>
                <a:gd name="T9" fmla="*/ 53975 h 314"/>
                <a:gd name="T10" fmla="*/ 172830 w 336"/>
                <a:gd name="T11" fmla="*/ 76200 h 314"/>
                <a:gd name="T12" fmla="*/ 178688 w 336"/>
                <a:gd name="T13" fmla="*/ 96837 h 314"/>
                <a:gd name="T14" fmla="*/ 188941 w 336"/>
                <a:gd name="T15" fmla="*/ 111125 h 314"/>
                <a:gd name="T16" fmla="*/ 191870 w 336"/>
                <a:gd name="T17" fmla="*/ 147637 h 314"/>
                <a:gd name="T18" fmla="*/ 169900 w 336"/>
                <a:gd name="T19" fmla="*/ 165100 h 314"/>
                <a:gd name="T20" fmla="*/ 159648 w 336"/>
                <a:gd name="T21" fmla="*/ 147637 h 314"/>
                <a:gd name="T22" fmla="*/ 153789 w 336"/>
                <a:gd name="T23" fmla="*/ 111125 h 314"/>
                <a:gd name="T24" fmla="*/ 124496 w 336"/>
                <a:gd name="T25" fmla="*/ 103188 h 314"/>
                <a:gd name="T26" fmla="*/ 111314 w 336"/>
                <a:gd name="T27" fmla="*/ 79375 h 314"/>
                <a:gd name="T28" fmla="*/ 96667 w 336"/>
                <a:gd name="T29" fmla="*/ 68262 h 314"/>
                <a:gd name="T30" fmla="*/ 76162 w 336"/>
                <a:gd name="T31" fmla="*/ 61913 h 314"/>
                <a:gd name="T32" fmla="*/ 35152 w 336"/>
                <a:gd name="T33" fmla="*/ 88900 h 314"/>
                <a:gd name="T34" fmla="*/ 2929 w 336"/>
                <a:gd name="T35" fmla="*/ 96837 h 314"/>
                <a:gd name="T36" fmla="*/ 2929 w 336"/>
                <a:gd name="T37" fmla="*/ 103188 h 314"/>
                <a:gd name="T38" fmla="*/ 13182 w 336"/>
                <a:gd name="T39" fmla="*/ 176212 h 314"/>
                <a:gd name="T40" fmla="*/ 2929 w 336"/>
                <a:gd name="T41" fmla="*/ 227013 h 314"/>
                <a:gd name="T42" fmla="*/ 7323 w 336"/>
                <a:gd name="T43" fmla="*/ 234950 h 314"/>
                <a:gd name="T44" fmla="*/ 26364 w 336"/>
                <a:gd name="T45" fmla="*/ 241300 h 314"/>
                <a:gd name="T46" fmla="*/ 60051 w 336"/>
                <a:gd name="T47" fmla="*/ 249238 h 314"/>
                <a:gd name="T48" fmla="*/ 89344 w 336"/>
                <a:gd name="T49" fmla="*/ 261937 h 314"/>
                <a:gd name="T50" fmla="*/ 124496 w 336"/>
                <a:gd name="T51" fmla="*/ 269875 h 314"/>
                <a:gd name="T52" fmla="*/ 172830 w 336"/>
                <a:gd name="T53" fmla="*/ 273050 h 314"/>
                <a:gd name="T54" fmla="*/ 175759 w 336"/>
                <a:gd name="T55" fmla="*/ 328612 h 314"/>
                <a:gd name="T56" fmla="*/ 202123 w 336"/>
                <a:gd name="T57" fmla="*/ 349250 h 314"/>
                <a:gd name="T58" fmla="*/ 221163 w 336"/>
                <a:gd name="T59" fmla="*/ 400050 h 314"/>
                <a:gd name="T60" fmla="*/ 227022 w 336"/>
                <a:gd name="T61" fmla="*/ 449263 h 314"/>
                <a:gd name="T62" fmla="*/ 232881 w 336"/>
                <a:gd name="T63" fmla="*/ 469900 h 314"/>
                <a:gd name="T64" fmla="*/ 268032 w 336"/>
                <a:gd name="T65" fmla="*/ 473075 h 314"/>
                <a:gd name="T66" fmla="*/ 278285 w 336"/>
                <a:gd name="T67" fmla="*/ 493713 h 314"/>
                <a:gd name="T68" fmla="*/ 291467 w 336"/>
                <a:gd name="T69" fmla="*/ 498475 h 314"/>
                <a:gd name="T70" fmla="*/ 316366 w 336"/>
                <a:gd name="T71" fmla="*/ 477838 h 314"/>
                <a:gd name="T72" fmla="*/ 326619 w 336"/>
                <a:gd name="T73" fmla="*/ 446088 h 314"/>
                <a:gd name="T74" fmla="*/ 354447 w 336"/>
                <a:gd name="T75" fmla="*/ 401637 h 314"/>
                <a:gd name="T76" fmla="*/ 399852 w 336"/>
                <a:gd name="T77" fmla="*/ 387350 h 314"/>
                <a:gd name="T78" fmla="*/ 415963 w 336"/>
                <a:gd name="T79" fmla="*/ 384175 h 314"/>
                <a:gd name="T80" fmla="*/ 424751 w 336"/>
                <a:gd name="T81" fmla="*/ 366712 h 314"/>
                <a:gd name="T82" fmla="*/ 459903 w 336"/>
                <a:gd name="T83" fmla="*/ 379412 h 314"/>
                <a:gd name="T84" fmla="*/ 489196 w 336"/>
                <a:gd name="T85" fmla="*/ 376237 h 314"/>
                <a:gd name="T86" fmla="*/ 486266 w 336"/>
                <a:gd name="T87" fmla="*/ 369887 h 314"/>
                <a:gd name="T88" fmla="*/ 478943 w 336"/>
                <a:gd name="T89" fmla="*/ 331787 h 314"/>
                <a:gd name="T90" fmla="*/ 456973 w 336"/>
                <a:gd name="T91" fmla="*/ 307975 h 314"/>
                <a:gd name="T92" fmla="*/ 435003 w 336"/>
                <a:gd name="T93" fmla="*/ 287337 h 314"/>
                <a:gd name="T94" fmla="*/ 424751 w 336"/>
                <a:gd name="T95" fmla="*/ 246063 h 314"/>
                <a:gd name="T96" fmla="*/ 411569 w 336"/>
                <a:gd name="T97" fmla="*/ 241300 h 314"/>
                <a:gd name="T98" fmla="*/ 415963 w 336"/>
                <a:gd name="T99" fmla="*/ 265112 h 314"/>
                <a:gd name="T100" fmla="*/ 408640 w 336"/>
                <a:gd name="T101" fmla="*/ 276225 h 314"/>
                <a:gd name="T102" fmla="*/ 364700 w 336"/>
                <a:gd name="T103" fmla="*/ 249238 h 314"/>
                <a:gd name="T104" fmla="*/ 357376 w 336"/>
                <a:gd name="T105" fmla="*/ 261937 h 314"/>
                <a:gd name="T106" fmla="*/ 345659 w 336"/>
                <a:gd name="T107" fmla="*/ 265112 h 314"/>
                <a:gd name="T108" fmla="*/ 319295 w 336"/>
                <a:gd name="T109" fmla="*/ 261937 h 314"/>
                <a:gd name="T110" fmla="*/ 287073 w 336"/>
                <a:gd name="T111" fmla="*/ 273050 h 314"/>
                <a:gd name="T112" fmla="*/ 262174 w 336"/>
                <a:gd name="T113" fmla="*/ 234950 h 314"/>
                <a:gd name="T114" fmla="*/ 224093 w 336"/>
                <a:gd name="T115" fmla="*/ 211138 h 314"/>
                <a:gd name="T116" fmla="*/ 235810 w 336"/>
                <a:gd name="T117" fmla="*/ 190500 h 314"/>
                <a:gd name="T118" fmla="*/ 259244 w 336"/>
                <a:gd name="T119" fmla="*/ 158750 h 314"/>
                <a:gd name="T120" fmla="*/ 290002 w 336"/>
                <a:gd name="T121" fmla="*/ 127000 h 314"/>
                <a:gd name="T122" fmla="*/ 300255 w 336"/>
                <a:gd name="T123" fmla="*/ 53975 h 31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6"/>
                <a:gd name="T187" fmla="*/ 0 h 314"/>
                <a:gd name="T188" fmla="*/ 336 w 336"/>
                <a:gd name="T189" fmla="*/ 314 h 31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6" h="314">
                  <a:moveTo>
                    <a:pt x="194" y="13"/>
                  </a:moveTo>
                  <a:lnTo>
                    <a:pt x="174" y="10"/>
                  </a:lnTo>
                  <a:lnTo>
                    <a:pt x="155" y="6"/>
                  </a:lnTo>
                  <a:lnTo>
                    <a:pt x="135" y="2"/>
                  </a:lnTo>
                  <a:lnTo>
                    <a:pt x="116" y="0"/>
                  </a:lnTo>
                  <a:lnTo>
                    <a:pt x="120" y="8"/>
                  </a:lnTo>
                  <a:lnTo>
                    <a:pt x="126" y="11"/>
                  </a:lnTo>
                  <a:lnTo>
                    <a:pt x="131" y="15"/>
                  </a:lnTo>
                  <a:lnTo>
                    <a:pt x="140" y="17"/>
                  </a:lnTo>
                  <a:lnTo>
                    <a:pt x="140" y="21"/>
                  </a:lnTo>
                  <a:lnTo>
                    <a:pt x="137" y="22"/>
                  </a:lnTo>
                  <a:lnTo>
                    <a:pt x="129" y="24"/>
                  </a:lnTo>
                  <a:lnTo>
                    <a:pt x="122" y="26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8" y="37"/>
                  </a:lnTo>
                  <a:lnTo>
                    <a:pt x="120" y="43"/>
                  </a:lnTo>
                  <a:lnTo>
                    <a:pt x="118" y="48"/>
                  </a:lnTo>
                  <a:lnTo>
                    <a:pt x="118" y="54"/>
                  </a:lnTo>
                  <a:lnTo>
                    <a:pt x="118" y="58"/>
                  </a:lnTo>
                  <a:lnTo>
                    <a:pt x="122" y="61"/>
                  </a:lnTo>
                  <a:lnTo>
                    <a:pt x="126" y="63"/>
                  </a:lnTo>
                  <a:lnTo>
                    <a:pt x="127" y="67"/>
                  </a:lnTo>
                  <a:lnTo>
                    <a:pt x="129" y="70"/>
                  </a:lnTo>
                  <a:lnTo>
                    <a:pt x="129" y="76"/>
                  </a:lnTo>
                  <a:lnTo>
                    <a:pt x="131" y="85"/>
                  </a:lnTo>
                  <a:lnTo>
                    <a:pt x="131" y="93"/>
                  </a:lnTo>
                  <a:lnTo>
                    <a:pt x="129" y="100"/>
                  </a:lnTo>
                  <a:lnTo>
                    <a:pt x="126" y="104"/>
                  </a:lnTo>
                  <a:lnTo>
                    <a:pt x="116" y="104"/>
                  </a:lnTo>
                  <a:lnTo>
                    <a:pt x="113" y="100"/>
                  </a:lnTo>
                  <a:lnTo>
                    <a:pt x="109" y="98"/>
                  </a:lnTo>
                  <a:lnTo>
                    <a:pt x="109" y="93"/>
                  </a:lnTo>
                  <a:lnTo>
                    <a:pt x="109" y="83"/>
                  </a:lnTo>
                  <a:lnTo>
                    <a:pt x="109" y="76"/>
                  </a:lnTo>
                  <a:lnTo>
                    <a:pt x="105" y="70"/>
                  </a:lnTo>
                  <a:lnTo>
                    <a:pt x="100" y="67"/>
                  </a:lnTo>
                  <a:lnTo>
                    <a:pt x="94" y="65"/>
                  </a:lnTo>
                  <a:lnTo>
                    <a:pt x="85" y="65"/>
                  </a:lnTo>
                  <a:lnTo>
                    <a:pt x="83" y="58"/>
                  </a:lnTo>
                  <a:lnTo>
                    <a:pt x="83" y="50"/>
                  </a:lnTo>
                  <a:lnTo>
                    <a:pt x="76" y="50"/>
                  </a:lnTo>
                  <a:lnTo>
                    <a:pt x="65" y="50"/>
                  </a:lnTo>
                  <a:lnTo>
                    <a:pt x="66" y="46"/>
                  </a:lnTo>
                  <a:lnTo>
                    <a:pt x="66" y="43"/>
                  </a:lnTo>
                  <a:lnTo>
                    <a:pt x="65" y="41"/>
                  </a:lnTo>
                  <a:lnTo>
                    <a:pt x="63" y="39"/>
                  </a:lnTo>
                  <a:lnTo>
                    <a:pt x="52" y="39"/>
                  </a:lnTo>
                  <a:lnTo>
                    <a:pt x="39" y="45"/>
                  </a:lnTo>
                  <a:lnTo>
                    <a:pt x="31" y="52"/>
                  </a:lnTo>
                  <a:lnTo>
                    <a:pt x="24" y="56"/>
                  </a:lnTo>
                  <a:lnTo>
                    <a:pt x="15" y="58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0" y="61"/>
                  </a:lnTo>
                  <a:lnTo>
                    <a:pt x="2" y="63"/>
                  </a:lnTo>
                  <a:lnTo>
                    <a:pt x="2" y="65"/>
                  </a:lnTo>
                  <a:lnTo>
                    <a:pt x="11" y="87"/>
                  </a:lnTo>
                  <a:lnTo>
                    <a:pt x="13" y="100"/>
                  </a:lnTo>
                  <a:lnTo>
                    <a:pt x="9" y="111"/>
                  </a:lnTo>
                  <a:lnTo>
                    <a:pt x="4" y="119"/>
                  </a:lnTo>
                  <a:lnTo>
                    <a:pt x="4" y="130"/>
                  </a:lnTo>
                  <a:lnTo>
                    <a:pt x="2" y="143"/>
                  </a:lnTo>
                  <a:lnTo>
                    <a:pt x="0" y="143"/>
                  </a:lnTo>
                  <a:lnTo>
                    <a:pt x="5" y="148"/>
                  </a:lnTo>
                  <a:lnTo>
                    <a:pt x="9" y="152"/>
                  </a:lnTo>
                  <a:lnTo>
                    <a:pt x="15" y="154"/>
                  </a:lnTo>
                  <a:lnTo>
                    <a:pt x="18" y="152"/>
                  </a:lnTo>
                  <a:lnTo>
                    <a:pt x="26" y="152"/>
                  </a:lnTo>
                  <a:lnTo>
                    <a:pt x="33" y="152"/>
                  </a:lnTo>
                  <a:lnTo>
                    <a:pt x="41" y="157"/>
                  </a:lnTo>
                  <a:lnTo>
                    <a:pt x="48" y="161"/>
                  </a:lnTo>
                  <a:lnTo>
                    <a:pt x="53" y="165"/>
                  </a:lnTo>
                  <a:lnTo>
                    <a:pt x="61" y="165"/>
                  </a:lnTo>
                  <a:lnTo>
                    <a:pt x="72" y="163"/>
                  </a:lnTo>
                  <a:lnTo>
                    <a:pt x="83" y="159"/>
                  </a:lnTo>
                  <a:lnTo>
                    <a:pt x="85" y="170"/>
                  </a:lnTo>
                  <a:lnTo>
                    <a:pt x="85" y="178"/>
                  </a:lnTo>
                  <a:lnTo>
                    <a:pt x="98" y="176"/>
                  </a:lnTo>
                  <a:lnTo>
                    <a:pt x="118" y="172"/>
                  </a:lnTo>
                  <a:lnTo>
                    <a:pt x="122" y="189"/>
                  </a:lnTo>
                  <a:lnTo>
                    <a:pt x="122" y="200"/>
                  </a:lnTo>
                  <a:lnTo>
                    <a:pt x="120" y="207"/>
                  </a:lnTo>
                  <a:lnTo>
                    <a:pt x="120" y="216"/>
                  </a:lnTo>
                  <a:lnTo>
                    <a:pt x="127" y="220"/>
                  </a:lnTo>
                  <a:lnTo>
                    <a:pt x="138" y="220"/>
                  </a:lnTo>
                  <a:lnTo>
                    <a:pt x="140" y="231"/>
                  </a:lnTo>
                  <a:lnTo>
                    <a:pt x="142" y="242"/>
                  </a:lnTo>
                  <a:lnTo>
                    <a:pt x="151" y="252"/>
                  </a:lnTo>
                  <a:lnTo>
                    <a:pt x="157" y="263"/>
                  </a:lnTo>
                  <a:lnTo>
                    <a:pt x="155" y="272"/>
                  </a:lnTo>
                  <a:lnTo>
                    <a:pt x="155" y="283"/>
                  </a:lnTo>
                  <a:lnTo>
                    <a:pt x="155" y="287"/>
                  </a:lnTo>
                  <a:lnTo>
                    <a:pt x="157" y="292"/>
                  </a:lnTo>
                  <a:lnTo>
                    <a:pt x="159" y="296"/>
                  </a:lnTo>
                  <a:lnTo>
                    <a:pt x="162" y="301"/>
                  </a:lnTo>
                  <a:lnTo>
                    <a:pt x="172" y="298"/>
                  </a:lnTo>
                  <a:lnTo>
                    <a:pt x="183" y="298"/>
                  </a:lnTo>
                  <a:lnTo>
                    <a:pt x="186" y="301"/>
                  </a:lnTo>
                  <a:lnTo>
                    <a:pt x="188" y="307"/>
                  </a:lnTo>
                  <a:lnTo>
                    <a:pt x="190" y="311"/>
                  </a:lnTo>
                  <a:lnTo>
                    <a:pt x="194" y="313"/>
                  </a:lnTo>
                  <a:lnTo>
                    <a:pt x="196" y="314"/>
                  </a:lnTo>
                  <a:lnTo>
                    <a:pt x="199" y="314"/>
                  </a:lnTo>
                  <a:lnTo>
                    <a:pt x="203" y="307"/>
                  </a:lnTo>
                  <a:lnTo>
                    <a:pt x="207" y="298"/>
                  </a:lnTo>
                  <a:lnTo>
                    <a:pt x="216" y="301"/>
                  </a:lnTo>
                  <a:lnTo>
                    <a:pt x="225" y="305"/>
                  </a:lnTo>
                  <a:lnTo>
                    <a:pt x="225" y="292"/>
                  </a:lnTo>
                  <a:lnTo>
                    <a:pt x="223" y="281"/>
                  </a:lnTo>
                  <a:lnTo>
                    <a:pt x="229" y="272"/>
                  </a:lnTo>
                  <a:lnTo>
                    <a:pt x="236" y="263"/>
                  </a:lnTo>
                  <a:lnTo>
                    <a:pt x="242" y="253"/>
                  </a:lnTo>
                  <a:lnTo>
                    <a:pt x="251" y="248"/>
                  </a:lnTo>
                  <a:lnTo>
                    <a:pt x="260" y="246"/>
                  </a:lnTo>
                  <a:lnTo>
                    <a:pt x="273" y="244"/>
                  </a:lnTo>
                  <a:lnTo>
                    <a:pt x="279" y="244"/>
                  </a:lnTo>
                  <a:lnTo>
                    <a:pt x="281" y="244"/>
                  </a:lnTo>
                  <a:lnTo>
                    <a:pt x="284" y="242"/>
                  </a:lnTo>
                  <a:lnTo>
                    <a:pt x="284" y="239"/>
                  </a:lnTo>
                  <a:lnTo>
                    <a:pt x="286" y="235"/>
                  </a:lnTo>
                  <a:lnTo>
                    <a:pt x="290" y="231"/>
                  </a:lnTo>
                  <a:lnTo>
                    <a:pt x="299" y="235"/>
                  </a:lnTo>
                  <a:lnTo>
                    <a:pt x="307" y="237"/>
                  </a:lnTo>
                  <a:lnTo>
                    <a:pt x="314" y="239"/>
                  </a:lnTo>
                  <a:lnTo>
                    <a:pt x="321" y="239"/>
                  </a:lnTo>
                  <a:lnTo>
                    <a:pt x="329" y="239"/>
                  </a:lnTo>
                  <a:lnTo>
                    <a:pt x="334" y="237"/>
                  </a:lnTo>
                  <a:lnTo>
                    <a:pt x="334" y="235"/>
                  </a:lnTo>
                  <a:lnTo>
                    <a:pt x="336" y="231"/>
                  </a:lnTo>
                  <a:lnTo>
                    <a:pt x="332" y="233"/>
                  </a:lnTo>
                  <a:lnTo>
                    <a:pt x="329" y="235"/>
                  </a:lnTo>
                  <a:lnTo>
                    <a:pt x="329" y="220"/>
                  </a:lnTo>
                  <a:lnTo>
                    <a:pt x="327" y="209"/>
                  </a:lnTo>
                  <a:lnTo>
                    <a:pt x="325" y="202"/>
                  </a:lnTo>
                  <a:lnTo>
                    <a:pt x="321" y="196"/>
                  </a:lnTo>
                  <a:lnTo>
                    <a:pt x="312" y="194"/>
                  </a:lnTo>
                  <a:lnTo>
                    <a:pt x="305" y="192"/>
                  </a:lnTo>
                  <a:lnTo>
                    <a:pt x="299" y="189"/>
                  </a:lnTo>
                  <a:lnTo>
                    <a:pt x="297" y="181"/>
                  </a:lnTo>
                  <a:lnTo>
                    <a:pt x="295" y="170"/>
                  </a:lnTo>
                  <a:lnTo>
                    <a:pt x="294" y="161"/>
                  </a:lnTo>
                  <a:lnTo>
                    <a:pt x="290" y="155"/>
                  </a:lnTo>
                  <a:lnTo>
                    <a:pt x="288" y="154"/>
                  </a:lnTo>
                  <a:lnTo>
                    <a:pt x="284" y="152"/>
                  </a:lnTo>
                  <a:lnTo>
                    <a:pt x="281" y="152"/>
                  </a:lnTo>
                  <a:lnTo>
                    <a:pt x="281" y="157"/>
                  </a:lnTo>
                  <a:lnTo>
                    <a:pt x="283" y="163"/>
                  </a:lnTo>
                  <a:lnTo>
                    <a:pt x="284" y="167"/>
                  </a:lnTo>
                  <a:lnTo>
                    <a:pt x="284" y="170"/>
                  </a:lnTo>
                  <a:lnTo>
                    <a:pt x="283" y="172"/>
                  </a:lnTo>
                  <a:lnTo>
                    <a:pt x="279" y="174"/>
                  </a:lnTo>
                  <a:lnTo>
                    <a:pt x="268" y="168"/>
                  </a:lnTo>
                  <a:lnTo>
                    <a:pt x="255" y="155"/>
                  </a:lnTo>
                  <a:lnTo>
                    <a:pt x="249" y="157"/>
                  </a:lnTo>
                  <a:lnTo>
                    <a:pt x="247" y="159"/>
                  </a:lnTo>
                  <a:lnTo>
                    <a:pt x="246" y="163"/>
                  </a:lnTo>
                  <a:lnTo>
                    <a:pt x="244" y="165"/>
                  </a:lnTo>
                  <a:lnTo>
                    <a:pt x="240" y="165"/>
                  </a:lnTo>
                  <a:lnTo>
                    <a:pt x="236" y="165"/>
                  </a:lnTo>
                  <a:lnTo>
                    <a:pt x="236" y="167"/>
                  </a:lnTo>
                  <a:lnTo>
                    <a:pt x="235" y="167"/>
                  </a:lnTo>
                  <a:lnTo>
                    <a:pt x="225" y="167"/>
                  </a:lnTo>
                  <a:lnTo>
                    <a:pt x="218" y="165"/>
                  </a:lnTo>
                  <a:lnTo>
                    <a:pt x="211" y="167"/>
                  </a:lnTo>
                  <a:lnTo>
                    <a:pt x="203" y="170"/>
                  </a:lnTo>
                  <a:lnTo>
                    <a:pt x="196" y="172"/>
                  </a:lnTo>
                  <a:lnTo>
                    <a:pt x="188" y="172"/>
                  </a:lnTo>
                  <a:lnTo>
                    <a:pt x="185" y="161"/>
                  </a:lnTo>
                  <a:lnTo>
                    <a:pt x="179" y="148"/>
                  </a:lnTo>
                  <a:lnTo>
                    <a:pt x="164" y="144"/>
                  </a:lnTo>
                  <a:lnTo>
                    <a:pt x="153" y="139"/>
                  </a:lnTo>
                  <a:lnTo>
                    <a:pt x="153" y="133"/>
                  </a:lnTo>
                  <a:lnTo>
                    <a:pt x="153" y="128"/>
                  </a:lnTo>
                  <a:lnTo>
                    <a:pt x="157" y="124"/>
                  </a:lnTo>
                  <a:lnTo>
                    <a:pt x="161" y="120"/>
                  </a:lnTo>
                  <a:lnTo>
                    <a:pt x="168" y="115"/>
                  </a:lnTo>
                  <a:lnTo>
                    <a:pt x="175" y="111"/>
                  </a:lnTo>
                  <a:lnTo>
                    <a:pt x="177" y="100"/>
                  </a:lnTo>
                  <a:lnTo>
                    <a:pt x="181" y="91"/>
                  </a:lnTo>
                  <a:lnTo>
                    <a:pt x="190" y="85"/>
                  </a:lnTo>
                  <a:lnTo>
                    <a:pt x="198" y="80"/>
                  </a:lnTo>
                  <a:lnTo>
                    <a:pt x="201" y="67"/>
                  </a:lnTo>
                  <a:lnTo>
                    <a:pt x="205" y="54"/>
                  </a:lnTo>
                  <a:lnTo>
                    <a:pt x="205" y="34"/>
                  </a:lnTo>
                  <a:lnTo>
                    <a:pt x="205" y="15"/>
                  </a:lnTo>
                  <a:lnTo>
                    <a:pt x="194" y="13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70" name="Freeform 68"/>
            <p:cNvSpPr>
              <a:spLocks/>
            </p:cNvSpPr>
            <p:nvPr/>
          </p:nvSpPr>
          <p:spPr bwMode="auto">
            <a:xfrm>
              <a:off x="2526454" y="2632335"/>
              <a:ext cx="794186" cy="828061"/>
            </a:xfrm>
            <a:custGeom>
              <a:avLst/>
              <a:gdLst>
                <a:gd name="T0" fmla="*/ 0 w 457"/>
                <a:gd name="T1" fmla="*/ 141288 h 440"/>
                <a:gd name="T2" fmla="*/ 11727 w 457"/>
                <a:gd name="T3" fmla="*/ 165100 h 440"/>
                <a:gd name="T4" fmla="*/ 24921 w 457"/>
                <a:gd name="T5" fmla="*/ 241300 h 440"/>
                <a:gd name="T6" fmla="*/ 63035 w 457"/>
                <a:gd name="T7" fmla="*/ 249238 h 440"/>
                <a:gd name="T8" fmla="*/ 73296 w 457"/>
                <a:gd name="T9" fmla="*/ 307975 h 440"/>
                <a:gd name="T10" fmla="*/ 127535 w 457"/>
                <a:gd name="T11" fmla="*/ 338138 h 440"/>
                <a:gd name="T12" fmla="*/ 178842 w 457"/>
                <a:gd name="T13" fmla="*/ 349250 h 440"/>
                <a:gd name="T14" fmla="*/ 187638 w 457"/>
                <a:gd name="T15" fmla="*/ 393700 h 440"/>
                <a:gd name="T16" fmla="*/ 187638 w 457"/>
                <a:gd name="T17" fmla="*/ 446088 h 440"/>
                <a:gd name="T18" fmla="*/ 200831 w 457"/>
                <a:gd name="T19" fmla="*/ 469900 h 440"/>
                <a:gd name="T20" fmla="*/ 249206 w 457"/>
                <a:gd name="T21" fmla="*/ 446088 h 440"/>
                <a:gd name="T22" fmla="*/ 274127 w 457"/>
                <a:gd name="T23" fmla="*/ 458788 h 440"/>
                <a:gd name="T24" fmla="*/ 299047 w 457"/>
                <a:gd name="T25" fmla="*/ 473075 h 440"/>
                <a:gd name="T26" fmla="*/ 322502 w 457"/>
                <a:gd name="T27" fmla="*/ 469900 h 440"/>
                <a:gd name="T28" fmla="*/ 331298 w 457"/>
                <a:gd name="T29" fmla="*/ 477838 h 440"/>
                <a:gd name="T30" fmla="*/ 357684 w 457"/>
                <a:gd name="T31" fmla="*/ 514350 h 440"/>
                <a:gd name="T32" fmla="*/ 395798 w 457"/>
                <a:gd name="T33" fmla="*/ 598488 h 440"/>
                <a:gd name="T34" fmla="*/ 425117 w 457"/>
                <a:gd name="T35" fmla="*/ 628650 h 440"/>
                <a:gd name="T36" fmla="*/ 460299 w 457"/>
                <a:gd name="T37" fmla="*/ 666750 h 440"/>
                <a:gd name="T38" fmla="*/ 485219 w 457"/>
                <a:gd name="T39" fmla="*/ 681038 h 440"/>
                <a:gd name="T40" fmla="*/ 517469 w 457"/>
                <a:gd name="T41" fmla="*/ 669925 h 440"/>
                <a:gd name="T42" fmla="*/ 533595 w 457"/>
                <a:gd name="T43" fmla="*/ 650875 h 440"/>
                <a:gd name="T44" fmla="*/ 548254 w 457"/>
                <a:gd name="T45" fmla="*/ 681038 h 440"/>
                <a:gd name="T46" fmla="*/ 564379 w 457"/>
                <a:gd name="T47" fmla="*/ 695325 h 440"/>
                <a:gd name="T48" fmla="*/ 571708 w 457"/>
                <a:gd name="T49" fmla="*/ 674688 h 440"/>
                <a:gd name="T50" fmla="*/ 571708 w 457"/>
                <a:gd name="T51" fmla="*/ 657225 h 440"/>
                <a:gd name="T52" fmla="*/ 565845 w 457"/>
                <a:gd name="T53" fmla="*/ 633413 h 440"/>
                <a:gd name="T54" fmla="*/ 558515 w 457"/>
                <a:gd name="T55" fmla="*/ 615950 h 440"/>
                <a:gd name="T56" fmla="*/ 568777 w 457"/>
                <a:gd name="T57" fmla="*/ 601663 h 440"/>
                <a:gd name="T58" fmla="*/ 593697 w 457"/>
                <a:gd name="T59" fmla="*/ 608013 h 440"/>
                <a:gd name="T60" fmla="*/ 645004 w 457"/>
                <a:gd name="T61" fmla="*/ 593725 h 440"/>
                <a:gd name="T62" fmla="*/ 666993 w 457"/>
                <a:gd name="T63" fmla="*/ 574675 h 440"/>
                <a:gd name="T64" fmla="*/ 634743 w 457"/>
                <a:gd name="T65" fmla="*/ 536575 h 440"/>
                <a:gd name="T66" fmla="*/ 623016 w 457"/>
                <a:gd name="T67" fmla="*/ 515938 h 440"/>
                <a:gd name="T68" fmla="*/ 639141 w 457"/>
                <a:gd name="T69" fmla="*/ 496888 h 440"/>
                <a:gd name="T70" fmla="*/ 609822 w 457"/>
                <a:gd name="T71" fmla="*/ 477838 h 440"/>
                <a:gd name="T72" fmla="*/ 558515 w 457"/>
                <a:gd name="T73" fmla="*/ 460375 h 440"/>
                <a:gd name="T74" fmla="*/ 530663 w 457"/>
                <a:gd name="T75" fmla="*/ 414338 h 440"/>
                <a:gd name="T76" fmla="*/ 485219 w 457"/>
                <a:gd name="T77" fmla="*/ 369887 h 440"/>
                <a:gd name="T78" fmla="*/ 458833 w 457"/>
                <a:gd name="T79" fmla="*/ 341313 h 440"/>
                <a:gd name="T80" fmla="*/ 408991 w 457"/>
                <a:gd name="T81" fmla="*/ 314325 h 440"/>
                <a:gd name="T82" fmla="*/ 379673 w 457"/>
                <a:gd name="T83" fmla="*/ 273050 h 440"/>
                <a:gd name="T84" fmla="*/ 357684 w 457"/>
                <a:gd name="T85" fmla="*/ 234950 h 440"/>
                <a:gd name="T86" fmla="*/ 328366 w 457"/>
                <a:gd name="T87" fmla="*/ 200025 h 440"/>
                <a:gd name="T88" fmla="*/ 322502 w 457"/>
                <a:gd name="T89" fmla="*/ 165100 h 440"/>
                <a:gd name="T90" fmla="*/ 341559 w 457"/>
                <a:gd name="T91" fmla="*/ 127000 h 440"/>
                <a:gd name="T92" fmla="*/ 354752 w 457"/>
                <a:gd name="T93" fmla="*/ 79375 h 440"/>
                <a:gd name="T94" fmla="*/ 354752 w 457"/>
                <a:gd name="T95" fmla="*/ 71438 h 440"/>
                <a:gd name="T96" fmla="*/ 344491 w 457"/>
                <a:gd name="T97" fmla="*/ 41275 h 440"/>
                <a:gd name="T98" fmla="*/ 322502 w 457"/>
                <a:gd name="T99" fmla="*/ 20638 h 440"/>
                <a:gd name="T100" fmla="*/ 293184 w 457"/>
                <a:gd name="T101" fmla="*/ 38100 h 440"/>
                <a:gd name="T102" fmla="*/ 258002 w 457"/>
                <a:gd name="T103" fmla="*/ 38100 h 440"/>
                <a:gd name="T104" fmla="*/ 244809 w 457"/>
                <a:gd name="T105" fmla="*/ 12700 h 440"/>
                <a:gd name="T106" fmla="*/ 197899 w 457"/>
                <a:gd name="T107" fmla="*/ 6350 h 440"/>
                <a:gd name="T108" fmla="*/ 190570 w 457"/>
                <a:gd name="T109" fmla="*/ 20638 h 440"/>
                <a:gd name="T110" fmla="*/ 159785 w 457"/>
                <a:gd name="T111" fmla="*/ 23812 h 440"/>
                <a:gd name="T112" fmla="*/ 124603 w 457"/>
                <a:gd name="T113" fmla="*/ 50800 h 440"/>
                <a:gd name="T114" fmla="*/ 108478 w 457"/>
                <a:gd name="T115" fmla="*/ 96837 h 440"/>
                <a:gd name="T116" fmla="*/ 82091 w 457"/>
                <a:gd name="T117" fmla="*/ 106363 h 440"/>
                <a:gd name="T118" fmla="*/ 65966 w 457"/>
                <a:gd name="T119" fmla="*/ 131763 h 440"/>
                <a:gd name="T120" fmla="*/ 54239 w 457"/>
                <a:gd name="T121" fmla="*/ 120650 h 440"/>
                <a:gd name="T122" fmla="*/ 30784 w 457"/>
                <a:gd name="T123" fmla="*/ 106363 h 440"/>
                <a:gd name="T124" fmla="*/ 14659 w 457"/>
                <a:gd name="T125" fmla="*/ 109538 h 4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57"/>
                <a:gd name="T190" fmla="*/ 0 h 440"/>
                <a:gd name="T191" fmla="*/ 457 w 457"/>
                <a:gd name="T192" fmla="*/ 440 h 4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57" h="440">
                  <a:moveTo>
                    <a:pt x="10" y="69"/>
                  </a:moveTo>
                  <a:lnTo>
                    <a:pt x="4" y="80"/>
                  </a:lnTo>
                  <a:lnTo>
                    <a:pt x="0" y="89"/>
                  </a:lnTo>
                  <a:lnTo>
                    <a:pt x="2" y="94"/>
                  </a:lnTo>
                  <a:lnTo>
                    <a:pt x="4" y="100"/>
                  </a:lnTo>
                  <a:lnTo>
                    <a:pt x="8" y="104"/>
                  </a:lnTo>
                  <a:lnTo>
                    <a:pt x="15" y="111"/>
                  </a:lnTo>
                  <a:lnTo>
                    <a:pt x="17" y="130"/>
                  </a:lnTo>
                  <a:lnTo>
                    <a:pt x="17" y="152"/>
                  </a:lnTo>
                  <a:lnTo>
                    <a:pt x="28" y="152"/>
                  </a:lnTo>
                  <a:lnTo>
                    <a:pt x="37" y="154"/>
                  </a:lnTo>
                  <a:lnTo>
                    <a:pt x="43" y="157"/>
                  </a:lnTo>
                  <a:lnTo>
                    <a:pt x="48" y="165"/>
                  </a:lnTo>
                  <a:lnTo>
                    <a:pt x="50" y="179"/>
                  </a:lnTo>
                  <a:lnTo>
                    <a:pt x="50" y="194"/>
                  </a:lnTo>
                  <a:lnTo>
                    <a:pt x="65" y="198"/>
                  </a:lnTo>
                  <a:lnTo>
                    <a:pt x="78" y="200"/>
                  </a:lnTo>
                  <a:lnTo>
                    <a:pt x="87" y="213"/>
                  </a:lnTo>
                  <a:lnTo>
                    <a:pt x="100" y="224"/>
                  </a:lnTo>
                  <a:lnTo>
                    <a:pt x="113" y="222"/>
                  </a:lnTo>
                  <a:lnTo>
                    <a:pt x="122" y="220"/>
                  </a:lnTo>
                  <a:lnTo>
                    <a:pt x="128" y="228"/>
                  </a:lnTo>
                  <a:lnTo>
                    <a:pt x="128" y="237"/>
                  </a:lnTo>
                  <a:lnTo>
                    <a:pt x="128" y="248"/>
                  </a:lnTo>
                  <a:lnTo>
                    <a:pt x="126" y="259"/>
                  </a:lnTo>
                  <a:lnTo>
                    <a:pt x="126" y="270"/>
                  </a:lnTo>
                  <a:lnTo>
                    <a:pt x="128" y="281"/>
                  </a:lnTo>
                  <a:lnTo>
                    <a:pt x="130" y="287"/>
                  </a:lnTo>
                  <a:lnTo>
                    <a:pt x="133" y="292"/>
                  </a:lnTo>
                  <a:lnTo>
                    <a:pt x="137" y="296"/>
                  </a:lnTo>
                  <a:lnTo>
                    <a:pt x="143" y="301"/>
                  </a:lnTo>
                  <a:lnTo>
                    <a:pt x="156" y="292"/>
                  </a:lnTo>
                  <a:lnTo>
                    <a:pt x="170" y="281"/>
                  </a:lnTo>
                  <a:lnTo>
                    <a:pt x="176" y="283"/>
                  </a:lnTo>
                  <a:lnTo>
                    <a:pt x="181" y="285"/>
                  </a:lnTo>
                  <a:lnTo>
                    <a:pt x="187" y="289"/>
                  </a:lnTo>
                  <a:lnTo>
                    <a:pt x="193" y="292"/>
                  </a:lnTo>
                  <a:lnTo>
                    <a:pt x="198" y="296"/>
                  </a:lnTo>
                  <a:lnTo>
                    <a:pt x="204" y="298"/>
                  </a:lnTo>
                  <a:lnTo>
                    <a:pt x="209" y="298"/>
                  </a:lnTo>
                  <a:lnTo>
                    <a:pt x="218" y="296"/>
                  </a:lnTo>
                  <a:lnTo>
                    <a:pt x="220" y="296"/>
                  </a:lnTo>
                  <a:lnTo>
                    <a:pt x="222" y="296"/>
                  </a:lnTo>
                  <a:lnTo>
                    <a:pt x="224" y="298"/>
                  </a:lnTo>
                  <a:lnTo>
                    <a:pt x="226" y="301"/>
                  </a:lnTo>
                  <a:lnTo>
                    <a:pt x="229" y="309"/>
                  </a:lnTo>
                  <a:lnTo>
                    <a:pt x="235" y="314"/>
                  </a:lnTo>
                  <a:lnTo>
                    <a:pt x="244" y="324"/>
                  </a:lnTo>
                  <a:lnTo>
                    <a:pt x="253" y="335"/>
                  </a:lnTo>
                  <a:lnTo>
                    <a:pt x="261" y="351"/>
                  </a:lnTo>
                  <a:lnTo>
                    <a:pt x="270" y="377"/>
                  </a:lnTo>
                  <a:lnTo>
                    <a:pt x="274" y="383"/>
                  </a:lnTo>
                  <a:lnTo>
                    <a:pt x="281" y="390"/>
                  </a:lnTo>
                  <a:lnTo>
                    <a:pt x="290" y="396"/>
                  </a:lnTo>
                  <a:lnTo>
                    <a:pt x="300" y="401"/>
                  </a:lnTo>
                  <a:lnTo>
                    <a:pt x="307" y="410"/>
                  </a:lnTo>
                  <a:lnTo>
                    <a:pt x="314" y="420"/>
                  </a:lnTo>
                  <a:lnTo>
                    <a:pt x="320" y="423"/>
                  </a:lnTo>
                  <a:lnTo>
                    <a:pt x="326" y="427"/>
                  </a:lnTo>
                  <a:lnTo>
                    <a:pt x="331" y="429"/>
                  </a:lnTo>
                  <a:lnTo>
                    <a:pt x="340" y="429"/>
                  </a:lnTo>
                  <a:lnTo>
                    <a:pt x="348" y="427"/>
                  </a:lnTo>
                  <a:lnTo>
                    <a:pt x="353" y="422"/>
                  </a:lnTo>
                  <a:lnTo>
                    <a:pt x="357" y="416"/>
                  </a:lnTo>
                  <a:lnTo>
                    <a:pt x="361" y="409"/>
                  </a:lnTo>
                  <a:lnTo>
                    <a:pt x="364" y="410"/>
                  </a:lnTo>
                  <a:lnTo>
                    <a:pt x="368" y="414"/>
                  </a:lnTo>
                  <a:lnTo>
                    <a:pt x="372" y="422"/>
                  </a:lnTo>
                  <a:lnTo>
                    <a:pt x="374" y="429"/>
                  </a:lnTo>
                  <a:lnTo>
                    <a:pt x="377" y="434"/>
                  </a:lnTo>
                  <a:lnTo>
                    <a:pt x="383" y="440"/>
                  </a:lnTo>
                  <a:lnTo>
                    <a:pt x="385" y="438"/>
                  </a:lnTo>
                  <a:lnTo>
                    <a:pt x="388" y="436"/>
                  </a:lnTo>
                  <a:lnTo>
                    <a:pt x="390" y="431"/>
                  </a:lnTo>
                  <a:lnTo>
                    <a:pt x="390" y="425"/>
                  </a:lnTo>
                  <a:lnTo>
                    <a:pt x="388" y="422"/>
                  </a:lnTo>
                  <a:lnTo>
                    <a:pt x="386" y="418"/>
                  </a:lnTo>
                  <a:lnTo>
                    <a:pt x="390" y="414"/>
                  </a:lnTo>
                  <a:lnTo>
                    <a:pt x="394" y="410"/>
                  </a:lnTo>
                  <a:lnTo>
                    <a:pt x="390" y="405"/>
                  </a:lnTo>
                  <a:lnTo>
                    <a:pt x="386" y="399"/>
                  </a:lnTo>
                  <a:lnTo>
                    <a:pt x="385" y="398"/>
                  </a:lnTo>
                  <a:lnTo>
                    <a:pt x="383" y="394"/>
                  </a:lnTo>
                  <a:lnTo>
                    <a:pt x="381" y="388"/>
                  </a:lnTo>
                  <a:lnTo>
                    <a:pt x="383" y="383"/>
                  </a:lnTo>
                  <a:lnTo>
                    <a:pt x="386" y="379"/>
                  </a:lnTo>
                  <a:lnTo>
                    <a:pt x="388" y="379"/>
                  </a:lnTo>
                  <a:lnTo>
                    <a:pt x="394" y="381"/>
                  </a:lnTo>
                  <a:lnTo>
                    <a:pt x="399" y="381"/>
                  </a:lnTo>
                  <a:lnTo>
                    <a:pt x="405" y="383"/>
                  </a:lnTo>
                  <a:lnTo>
                    <a:pt x="414" y="381"/>
                  </a:lnTo>
                  <a:lnTo>
                    <a:pt x="425" y="379"/>
                  </a:lnTo>
                  <a:lnTo>
                    <a:pt x="440" y="374"/>
                  </a:lnTo>
                  <a:lnTo>
                    <a:pt x="446" y="370"/>
                  </a:lnTo>
                  <a:lnTo>
                    <a:pt x="451" y="366"/>
                  </a:lnTo>
                  <a:lnTo>
                    <a:pt x="455" y="362"/>
                  </a:lnTo>
                  <a:lnTo>
                    <a:pt x="457" y="357"/>
                  </a:lnTo>
                  <a:lnTo>
                    <a:pt x="444" y="348"/>
                  </a:lnTo>
                  <a:lnTo>
                    <a:pt x="433" y="338"/>
                  </a:lnTo>
                  <a:lnTo>
                    <a:pt x="427" y="333"/>
                  </a:lnTo>
                  <a:lnTo>
                    <a:pt x="425" y="329"/>
                  </a:lnTo>
                  <a:lnTo>
                    <a:pt x="425" y="325"/>
                  </a:lnTo>
                  <a:lnTo>
                    <a:pt x="427" y="322"/>
                  </a:lnTo>
                  <a:lnTo>
                    <a:pt x="433" y="318"/>
                  </a:lnTo>
                  <a:lnTo>
                    <a:pt x="436" y="313"/>
                  </a:lnTo>
                  <a:lnTo>
                    <a:pt x="433" y="305"/>
                  </a:lnTo>
                  <a:lnTo>
                    <a:pt x="427" y="301"/>
                  </a:lnTo>
                  <a:lnTo>
                    <a:pt x="416" y="301"/>
                  </a:lnTo>
                  <a:lnTo>
                    <a:pt x="405" y="305"/>
                  </a:lnTo>
                  <a:lnTo>
                    <a:pt x="392" y="298"/>
                  </a:lnTo>
                  <a:lnTo>
                    <a:pt x="381" y="290"/>
                  </a:lnTo>
                  <a:lnTo>
                    <a:pt x="377" y="276"/>
                  </a:lnTo>
                  <a:lnTo>
                    <a:pt x="375" y="264"/>
                  </a:lnTo>
                  <a:lnTo>
                    <a:pt x="362" y="261"/>
                  </a:lnTo>
                  <a:lnTo>
                    <a:pt x="344" y="255"/>
                  </a:lnTo>
                  <a:lnTo>
                    <a:pt x="335" y="242"/>
                  </a:lnTo>
                  <a:lnTo>
                    <a:pt x="331" y="233"/>
                  </a:lnTo>
                  <a:lnTo>
                    <a:pt x="324" y="229"/>
                  </a:lnTo>
                  <a:lnTo>
                    <a:pt x="316" y="228"/>
                  </a:lnTo>
                  <a:lnTo>
                    <a:pt x="313" y="215"/>
                  </a:lnTo>
                  <a:lnTo>
                    <a:pt x="309" y="202"/>
                  </a:lnTo>
                  <a:lnTo>
                    <a:pt x="294" y="198"/>
                  </a:lnTo>
                  <a:lnTo>
                    <a:pt x="279" y="198"/>
                  </a:lnTo>
                  <a:lnTo>
                    <a:pt x="274" y="189"/>
                  </a:lnTo>
                  <a:lnTo>
                    <a:pt x="268" y="179"/>
                  </a:lnTo>
                  <a:lnTo>
                    <a:pt x="259" y="172"/>
                  </a:lnTo>
                  <a:lnTo>
                    <a:pt x="252" y="167"/>
                  </a:lnTo>
                  <a:lnTo>
                    <a:pt x="248" y="155"/>
                  </a:lnTo>
                  <a:lnTo>
                    <a:pt x="244" y="148"/>
                  </a:lnTo>
                  <a:lnTo>
                    <a:pt x="237" y="135"/>
                  </a:lnTo>
                  <a:lnTo>
                    <a:pt x="228" y="130"/>
                  </a:lnTo>
                  <a:lnTo>
                    <a:pt x="224" y="126"/>
                  </a:lnTo>
                  <a:lnTo>
                    <a:pt x="222" y="120"/>
                  </a:lnTo>
                  <a:lnTo>
                    <a:pt x="220" y="113"/>
                  </a:lnTo>
                  <a:lnTo>
                    <a:pt x="220" y="104"/>
                  </a:lnTo>
                  <a:lnTo>
                    <a:pt x="224" y="94"/>
                  </a:lnTo>
                  <a:lnTo>
                    <a:pt x="229" y="85"/>
                  </a:lnTo>
                  <a:lnTo>
                    <a:pt x="233" y="80"/>
                  </a:lnTo>
                  <a:lnTo>
                    <a:pt x="237" y="72"/>
                  </a:lnTo>
                  <a:lnTo>
                    <a:pt x="241" y="61"/>
                  </a:lnTo>
                  <a:lnTo>
                    <a:pt x="242" y="50"/>
                  </a:lnTo>
                  <a:lnTo>
                    <a:pt x="242" y="45"/>
                  </a:lnTo>
                  <a:lnTo>
                    <a:pt x="241" y="39"/>
                  </a:lnTo>
                  <a:lnTo>
                    <a:pt x="239" y="34"/>
                  </a:lnTo>
                  <a:lnTo>
                    <a:pt x="235" y="26"/>
                  </a:lnTo>
                  <a:lnTo>
                    <a:pt x="231" y="21"/>
                  </a:lnTo>
                  <a:lnTo>
                    <a:pt x="226" y="17"/>
                  </a:lnTo>
                  <a:lnTo>
                    <a:pt x="220" y="13"/>
                  </a:lnTo>
                  <a:lnTo>
                    <a:pt x="217" y="13"/>
                  </a:lnTo>
                  <a:lnTo>
                    <a:pt x="207" y="21"/>
                  </a:lnTo>
                  <a:lnTo>
                    <a:pt x="200" y="24"/>
                  </a:lnTo>
                  <a:lnTo>
                    <a:pt x="191" y="26"/>
                  </a:lnTo>
                  <a:lnTo>
                    <a:pt x="183" y="26"/>
                  </a:lnTo>
                  <a:lnTo>
                    <a:pt x="176" y="24"/>
                  </a:lnTo>
                  <a:lnTo>
                    <a:pt x="170" y="21"/>
                  </a:lnTo>
                  <a:lnTo>
                    <a:pt x="167" y="15"/>
                  </a:lnTo>
                  <a:lnTo>
                    <a:pt x="167" y="8"/>
                  </a:lnTo>
                  <a:lnTo>
                    <a:pt x="154" y="6"/>
                  </a:lnTo>
                  <a:lnTo>
                    <a:pt x="139" y="0"/>
                  </a:lnTo>
                  <a:lnTo>
                    <a:pt x="135" y="4"/>
                  </a:lnTo>
                  <a:lnTo>
                    <a:pt x="133" y="8"/>
                  </a:lnTo>
                  <a:lnTo>
                    <a:pt x="133" y="11"/>
                  </a:lnTo>
                  <a:lnTo>
                    <a:pt x="130" y="13"/>
                  </a:lnTo>
                  <a:lnTo>
                    <a:pt x="128" y="13"/>
                  </a:lnTo>
                  <a:lnTo>
                    <a:pt x="122" y="13"/>
                  </a:lnTo>
                  <a:lnTo>
                    <a:pt x="109" y="15"/>
                  </a:lnTo>
                  <a:lnTo>
                    <a:pt x="100" y="17"/>
                  </a:lnTo>
                  <a:lnTo>
                    <a:pt x="91" y="22"/>
                  </a:lnTo>
                  <a:lnTo>
                    <a:pt x="85" y="32"/>
                  </a:lnTo>
                  <a:lnTo>
                    <a:pt x="78" y="41"/>
                  </a:lnTo>
                  <a:lnTo>
                    <a:pt x="72" y="50"/>
                  </a:lnTo>
                  <a:lnTo>
                    <a:pt x="74" y="61"/>
                  </a:lnTo>
                  <a:lnTo>
                    <a:pt x="74" y="74"/>
                  </a:lnTo>
                  <a:lnTo>
                    <a:pt x="65" y="70"/>
                  </a:lnTo>
                  <a:lnTo>
                    <a:pt x="56" y="67"/>
                  </a:lnTo>
                  <a:lnTo>
                    <a:pt x="52" y="76"/>
                  </a:lnTo>
                  <a:lnTo>
                    <a:pt x="48" y="83"/>
                  </a:lnTo>
                  <a:lnTo>
                    <a:pt x="45" y="83"/>
                  </a:lnTo>
                  <a:lnTo>
                    <a:pt x="43" y="82"/>
                  </a:lnTo>
                  <a:lnTo>
                    <a:pt x="39" y="80"/>
                  </a:lnTo>
                  <a:lnTo>
                    <a:pt x="37" y="76"/>
                  </a:lnTo>
                  <a:lnTo>
                    <a:pt x="35" y="70"/>
                  </a:lnTo>
                  <a:lnTo>
                    <a:pt x="32" y="67"/>
                  </a:lnTo>
                  <a:lnTo>
                    <a:pt x="21" y="67"/>
                  </a:lnTo>
                  <a:lnTo>
                    <a:pt x="11" y="70"/>
                  </a:lnTo>
                  <a:lnTo>
                    <a:pt x="10" y="69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71" name="Freeform 69"/>
            <p:cNvSpPr>
              <a:spLocks/>
            </p:cNvSpPr>
            <p:nvPr/>
          </p:nvSpPr>
          <p:spPr bwMode="auto">
            <a:xfrm>
              <a:off x="2097367" y="2462959"/>
              <a:ext cx="459197" cy="459197"/>
            </a:xfrm>
            <a:custGeom>
              <a:avLst/>
              <a:gdLst>
                <a:gd name="T0" fmla="*/ 7336 w 264"/>
                <a:gd name="T1" fmla="*/ 196850 h 244"/>
                <a:gd name="T2" fmla="*/ 26410 w 264"/>
                <a:gd name="T3" fmla="*/ 207963 h 244"/>
                <a:gd name="T4" fmla="*/ 54288 w 264"/>
                <a:gd name="T5" fmla="*/ 228600 h 244"/>
                <a:gd name="T6" fmla="*/ 92436 w 264"/>
                <a:gd name="T7" fmla="*/ 242888 h 244"/>
                <a:gd name="T8" fmla="*/ 132051 w 264"/>
                <a:gd name="T9" fmla="*/ 252413 h 244"/>
                <a:gd name="T10" fmla="*/ 167265 w 264"/>
                <a:gd name="T11" fmla="*/ 266700 h 244"/>
                <a:gd name="T12" fmla="*/ 195142 w 264"/>
                <a:gd name="T13" fmla="*/ 277813 h 244"/>
                <a:gd name="T14" fmla="*/ 214216 w 264"/>
                <a:gd name="T15" fmla="*/ 273050 h 244"/>
                <a:gd name="T16" fmla="*/ 224487 w 264"/>
                <a:gd name="T17" fmla="*/ 263525 h 244"/>
                <a:gd name="T18" fmla="*/ 227421 w 264"/>
                <a:gd name="T19" fmla="*/ 254000 h 244"/>
                <a:gd name="T20" fmla="*/ 224487 w 264"/>
                <a:gd name="T21" fmla="*/ 239713 h 244"/>
                <a:gd name="T22" fmla="*/ 243561 w 264"/>
                <a:gd name="T23" fmla="*/ 246063 h 244"/>
                <a:gd name="T24" fmla="*/ 271438 w 264"/>
                <a:gd name="T25" fmla="*/ 266700 h 244"/>
                <a:gd name="T26" fmla="*/ 278775 w 264"/>
                <a:gd name="T27" fmla="*/ 280988 h 244"/>
                <a:gd name="T28" fmla="*/ 275840 w 264"/>
                <a:gd name="T29" fmla="*/ 307975 h 244"/>
                <a:gd name="T30" fmla="*/ 287578 w 264"/>
                <a:gd name="T31" fmla="*/ 322263 h 244"/>
                <a:gd name="T32" fmla="*/ 303718 w 264"/>
                <a:gd name="T33" fmla="*/ 328613 h 244"/>
                <a:gd name="T34" fmla="*/ 327193 w 264"/>
                <a:gd name="T35" fmla="*/ 333375 h 244"/>
                <a:gd name="T36" fmla="*/ 360940 w 264"/>
                <a:gd name="T37" fmla="*/ 360363 h 244"/>
                <a:gd name="T38" fmla="*/ 378547 w 264"/>
                <a:gd name="T39" fmla="*/ 387350 h 244"/>
                <a:gd name="T40" fmla="*/ 387350 w 264"/>
                <a:gd name="T41" fmla="*/ 349250 h 244"/>
                <a:gd name="T42" fmla="*/ 374145 w 264"/>
                <a:gd name="T43" fmla="*/ 307975 h 244"/>
                <a:gd name="T44" fmla="*/ 365341 w 264"/>
                <a:gd name="T45" fmla="*/ 292100 h 244"/>
                <a:gd name="T46" fmla="*/ 368276 w 264"/>
                <a:gd name="T47" fmla="*/ 269875 h 244"/>
                <a:gd name="T48" fmla="*/ 368276 w 264"/>
                <a:gd name="T49" fmla="*/ 236538 h 244"/>
                <a:gd name="T50" fmla="*/ 368276 w 264"/>
                <a:gd name="T51" fmla="*/ 207963 h 244"/>
                <a:gd name="T52" fmla="*/ 362407 w 264"/>
                <a:gd name="T53" fmla="*/ 176213 h 244"/>
                <a:gd name="T54" fmla="*/ 346267 w 264"/>
                <a:gd name="T55" fmla="*/ 142875 h 244"/>
                <a:gd name="T56" fmla="*/ 327193 w 264"/>
                <a:gd name="T57" fmla="*/ 125413 h 244"/>
                <a:gd name="T58" fmla="*/ 316923 w 264"/>
                <a:gd name="T59" fmla="*/ 104775 h 244"/>
                <a:gd name="T60" fmla="*/ 319857 w 264"/>
                <a:gd name="T61" fmla="*/ 76200 h 244"/>
                <a:gd name="T62" fmla="*/ 284644 w 264"/>
                <a:gd name="T63" fmla="*/ 55563 h 244"/>
                <a:gd name="T64" fmla="*/ 265569 w 264"/>
                <a:gd name="T65" fmla="*/ 46038 h 244"/>
                <a:gd name="T66" fmla="*/ 246495 w 264"/>
                <a:gd name="T67" fmla="*/ 34925 h 244"/>
                <a:gd name="T68" fmla="*/ 218618 w 264"/>
                <a:gd name="T69" fmla="*/ 38100 h 244"/>
                <a:gd name="T70" fmla="*/ 201011 w 264"/>
                <a:gd name="T71" fmla="*/ 25400 h 244"/>
                <a:gd name="T72" fmla="*/ 179003 w 264"/>
                <a:gd name="T73" fmla="*/ 17463 h 244"/>
                <a:gd name="T74" fmla="*/ 162863 w 264"/>
                <a:gd name="T75" fmla="*/ 20638 h 244"/>
                <a:gd name="T76" fmla="*/ 148191 w 264"/>
                <a:gd name="T77" fmla="*/ 11113 h 244"/>
                <a:gd name="T78" fmla="*/ 130584 w 264"/>
                <a:gd name="T79" fmla="*/ 3175 h 244"/>
                <a:gd name="T80" fmla="*/ 112977 w 264"/>
                <a:gd name="T81" fmla="*/ 0 h 244"/>
                <a:gd name="T82" fmla="*/ 102706 w 264"/>
                <a:gd name="T83" fmla="*/ 3175 h 244"/>
                <a:gd name="T84" fmla="*/ 95370 w 264"/>
                <a:gd name="T85" fmla="*/ 42863 h 244"/>
                <a:gd name="T86" fmla="*/ 73362 w 264"/>
                <a:gd name="T87" fmla="*/ 111125 h 244"/>
                <a:gd name="T88" fmla="*/ 51353 w 264"/>
                <a:gd name="T89" fmla="*/ 125413 h 244"/>
                <a:gd name="T90" fmla="*/ 35214 w 264"/>
                <a:gd name="T91" fmla="*/ 134938 h 244"/>
                <a:gd name="T92" fmla="*/ 32279 w 264"/>
                <a:gd name="T93" fmla="*/ 152400 h 244"/>
                <a:gd name="T94" fmla="*/ 19074 w 264"/>
                <a:gd name="T95" fmla="*/ 166688 h 244"/>
                <a:gd name="T96" fmla="*/ 10271 w 264"/>
                <a:gd name="T97" fmla="*/ 180975 h 244"/>
                <a:gd name="T98" fmla="*/ 5869 w 264"/>
                <a:gd name="T99" fmla="*/ 193675 h 24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64"/>
                <a:gd name="T151" fmla="*/ 0 h 244"/>
                <a:gd name="T152" fmla="*/ 264 w 264"/>
                <a:gd name="T153" fmla="*/ 244 h 24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64" h="244">
                  <a:moveTo>
                    <a:pt x="0" y="124"/>
                  </a:moveTo>
                  <a:lnTo>
                    <a:pt x="5" y="124"/>
                  </a:lnTo>
                  <a:lnTo>
                    <a:pt x="11" y="125"/>
                  </a:lnTo>
                  <a:lnTo>
                    <a:pt x="18" y="131"/>
                  </a:lnTo>
                  <a:lnTo>
                    <a:pt x="26" y="138"/>
                  </a:lnTo>
                  <a:lnTo>
                    <a:pt x="37" y="144"/>
                  </a:lnTo>
                  <a:lnTo>
                    <a:pt x="50" y="144"/>
                  </a:lnTo>
                  <a:lnTo>
                    <a:pt x="63" y="153"/>
                  </a:lnTo>
                  <a:lnTo>
                    <a:pt x="76" y="160"/>
                  </a:lnTo>
                  <a:lnTo>
                    <a:pt x="90" y="159"/>
                  </a:lnTo>
                  <a:lnTo>
                    <a:pt x="103" y="159"/>
                  </a:lnTo>
                  <a:lnTo>
                    <a:pt x="114" y="168"/>
                  </a:lnTo>
                  <a:lnTo>
                    <a:pt x="125" y="175"/>
                  </a:lnTo>
                  <a:lnTo>
                    <a:pt x="133" y="175"/>
                  </a:lnTo>
                  <a:lnTo>
                    <a:pt x="140" y="173"/>
                  </a:lnTo>
                  <a:lnTo>
                    <a:pt x="146" y="172"/>
                  </a:lnTo>
                  <a:lnTo>
                    <a:pt x="149" y="168"/>
                  </a:lnTo>
                  <a:lnTo>
                    <a:pt x="153" y="166"/>
                  </a:lnTo>
                  <a:lnTo>
                    <a:pt x="155" y="162"/>
                  </a:lnTo>
                  <a:lnTo>
                    <a:pt x="155" y="160"/>
                  </a:lnTo>
                  <a:lnTo>
                    <a:pt x="155" y="157"/>
                  </a:lnTo>
                  <a:lnTo>
                    <a:pt x="153" y="151"/>
                  </a:lnTo>
                  <a:lnTo>
                    <a:pt x="155" y="148"/>
                  </a:lnTo>
                  <a:lnTo>
                    <a:pt x="166" y="155"/>
                  </a:lnTo>
                  <a:lnTo>
                    <a:pt x="179" y="168"/>
                  </a:lnTo>
                  <a:lnTo>
                    <a:pt x="185" y="168"/>
                  </a:lnTo>
                  <a:lnTo>
                    <a:pt x="192" y="170"/>
                  </a:lnTo>
                  <a:lnTo>
                    <a:pt x="190" y="177"/>
                  </a:lnTo>
                  <a:lnTo>
                    <a:pt x="188" y="186"/>
                  </a:lnTo>
                  <a:lnTo>
                    <a:pt x="188" y="194"/>
                  </a:lnTo>
                  <a:lnTo>
                    <a:pt x="190" y="203"/>
                  </a:lnTo>
                  <a:lnTo>
                    <a:pt x="196" y="203"/>
                  </a:lnTo>
                  <a:lnTo>
                    <a:pt x="203" y="203"/>
                  </a:lnTo>
                  <a:lnTo>
                    <a:pt x="207" y="207"/>
                  </a:lnTo>
                  <a:lnTo>
                    <a:pt x="216" y="212"/>
                  </a:lnTo>
                  <a:lnTo>
                    <a:pt x="223" y="210"/>
                  </a:lnTo>
                  <a:lnTo>
                    <a:pt x="236" y="214"/>
                  </a:lnTo>
                  <a:lnTo>
                    <a:pt x="246" y="227"/>
                  </a:lnTo>
                  <a:lnTo>
                    <a:pt x="253" y="242"/>
                  </a:lnTo>
                  <a:lnTo>
                    <a:pt x="258" y="244"/>
                  </a:lnTo>
                  <a:lnTo>
                    <a:pt x="264" y="242"/>
                  </a:lnTo>
                  <a:lnTo>
                    <a:pt x="264" y="220"/>
                  </a:lnTo>
                  <a:lnTo>
                    <a:pt x="262" y="201"/>
                  </a:lnTo>
                  <a:lnTo>
                    <a:pt x="255" y="194"/>
                  </a:lnTo>
                  <a:lnTo>
                    <a:pt x="251" y="190"/>
                  </a:lnTo>
                  <a:lnTo>
                    <a:pt x="249" y="184"/>
                  </a:lnTo>
                  <a:lnTo>
                    <a:pt x="247" y="179"/>
                  </a:lnTo>
                  <a:lnTo>
                    <a:pt x="251" y="170"/>
                  </a:lnTo>
                  <a:lnTo>
                    <a:pt x="257" y="159"/>
                  </a:lnTo>
                  <a:lnTo>
                    <a:pt x="251" y="149"/>
                  </a:lnTo>
                  <a:lnTo>
                    <a:pt x="251" y="140"/>
                  </a:lnTo>
                  <a:lnTo>
                    <a:pt x="251" y="131"/>
                  </a:lnTo>
                  <a:lnTo>
                    <a:pt x="253" y="122"/>
                  </a:lnTo>
                  <a:lnTo>
                    <a:pt x="247" y="111"/>
                  </a:lnTo>
                  <a:lnTo>
                    <a:pt x="238" y="101"/>
                  </a:lnTo>
                  <a:lnTo>
                    <a:pt x="236" y="90"/>
                  </a:lnTo>
                  <a:lnTo>
                    <a:pt x="234" y="79"/>
                  </a:lnTo>
                  <a:lnTo>
                    <a:pt x="223" y="79"/>
                  </a:lnTo>
                  <a:lnTo>
                    <a:pt x="216" y="75"/>
                  </a:lnTo>
                  <a:lnTo>
                    <a:pt x="216" y="66"/>
                  </a:lnTo>
                  <a:lnTo>
                    <a:pt x="218" y="59"/>
                  </a:lnTo>
                  <a:lnTo>
                    <a:pt x="218" y="48"/>
                  </a:lnTo>
                  <a:lnTo>
                    <a:pt x="214" y="31"/>
                  </a:lnTo>
                  <a:lnTo>
                    <a:pt x="194" y="35"/>
                  </a:lnTo>
                  <a:lnTo>
                    <a:pt x="181" y="37"/>
                  </a:lnTo>
                  <a:lnTo>
                    <a:pt x="181" y="29"/>
                  </a:lnTo>
                  <a:lnTo>
                    <a:pt x="179" y="18"/>
                  </a:lnTo>
                  <a:lnTo>
                    <a:pt x="168" y="22"/>
                  </a:lnTo>
                  <a:lnTo>
                    <a:pt x="157" y="24"/>
                  </a:lnTo>
                  <a:lnTo>
                    <a:pt x="149" y="24"/>
                  </a:lnTo>
                  <a:lnTo>
                    <a:pt x="144" y="20"/>
                  </a:lnTo>
                  <a:lnTo>
                    <a:pt x="137" y="16"/>
                  </a:lnTo>
                  <a:lnTo>
                    <a:pt x="129" y="11"/>
                  </a:lnTo>
                  <a:lnTo>
                    <a:pt x="122" y="11"/>
                  </a:lnTo>
                  <a:lnTo>
                    <a:pt x="114" y="11"/>
                  </a:lnTo>
                  <a:lnTo>
                    <a:pt x="111" y="13"/>
                  </a:lnTo>
                  <a:lnTo>
                    <a:pt x="105" y="11"/>
                  </a:lnTo>
                  <a:lnTo>
                    <a:pt x="101" y="7"/>
                  </a:lnTo>
                  <a:lnTo>
                    <a:pt x="96" y="2"/>
                  </a:lnTo>
                  <a:lnTo>
                    <a:pt x="89" y="2"/>
                  </a:lnTo>
                  <a:lnTo>
                    <a:pt x="81" y="0"/>
                  </a:lnTo>
                  <a:lnTo>
                    <a:pt x="77" y="0"/>
                  </a:lnTo>
                  <a:lnTo>
                    <a:pt x="74" y="0"/>
                  </a:lnTo>
                  <a:lnTo>
                    <a:pt x="70" y="2"/>
                  </a:lnTo>
                  <a:lnTo>
                    <a:pt x="68" y="3"/>
                  </a:lnTo>
                  <a:lnTo>
                    <a:pt x="65" y="27"/>
                  </a:lnTo>
                  <a:lnTo>
                    <a:pt x="63" y="57"/>
                  </a:lnTo>
                  <a:lnTo>
                    <a:pt x="50" y="70"/>
                  </a:lnTo>
                  <a:lnTo>
                    <a:pt x="42" y="79"/>
                  </a:lnTo>
                  <a:lnTo>
                    <a:pt x="35" y="79"/>
                  </a:lnTo>
                  <a:lnTo>
                    <a:pt x="26" y="81"/>
                  </a:lnTo>
                  <a:lnTo>
                    <a:pt x="24" y="85"/>
                  </a:lnTo>
                  <a:lnTo>
                    <a:pt x="24" y="90"/>
                  </a:lnTo>
                  <a:lnTo>
                    <a:pt x="22" y="96"/>
                  </a:lnTo>
                  <a:lnTo>
                    <a:pt x="18" y="99"/>
                  </a:lnTo>
                  <a:lnTo>
                    <a:pt x="13" y="105"/>
                  </a:lnTo>
                  <a:lnTo>
                    <a:pt x="9" y="109"/>
                  </a:lnTo>
                  <a:lnTo>
                    <a:pt x="7" y="114"/>
                  </a:lnTo>
                  <a:lnTo>
                    <a:pt x="5" y="120"/>
                  </a:lnTo>
                  <a:lnTo>
                    <a:pt x="4" y="122"/>
                  </a:lnTo>
                  <a:lnTo>
                    <a:pt x="0" y="124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72" name="Freeform 70"/>
            <p:cNvSpPr>
              <a:spLocks/>
            </p:cNvSpPr>
            <p:nvPr/>
          </p:nvSpPr>
          <p:spPr bwMode="auto">
            <a:xfrm>
              <a:off x="1401043" y="1975531"/>
              <a:ext cx="167495" cy="257829"/>
            </a:xfrm>
            <a:custGeom>
              <a:avLst/>
              <a:gdLst>
                <a:gd name="T0" fmla="*/ 8831 w 96"/>
                <a:gd name="T1" fmla="*/ 11113 h 137"/>
                <a:gd name="T2" fmla="*/ 2944 w 96"/>
                <a:gd name="T3" fmla="*/ 26988 h 137"/>
                <a:gd name="T4" fmla="*/ 0 w 96"/>
                <a:gd name="T5" fmla="*/ 41275 h 137"/>
                <a:gd name="T6" fmla="*/ 10302 w 96"/>
                <a:gd name="T7" fmla="*/ 73025 h 137"/>
                <a:gd name="T8" fmla="*/ 22076 w 96"/>
                <a:gd name="T9" fmla="*/ 106363 h 137"/>
                <a:gd name="T10" fmla="*/ 32379 w 96"/>
                <a:gd name="T11" fmla="*/ 141288 h 137"/>
                <a:gd name="T12" fmla="*/ 44152 w 96"/>
                <a:gd name="T13" fmla="*/ 173038 h 137"/>
                <a:gd name="T14" fmla="*/ 48568 w 96"/>
                <a:gd name="T15" fmla="*/ 187325 h 137"/>
                <a:gd name="T16" fmla="*/ 54455 w 96"/>
                <a:gd name="T17" fmla="*/ 196850 h 137"/>
                <a:gd name="T18" fmla="*/ 61814 w 96"/>
                <a:gd name="T19" fmla="*/ 207963 h 137"/>
                <a:gd name="T20" fmla="*/ 70644 w 96"/>
                <a:gd name="T21" fmla="*/ 217488 h 137"/>
                <a:gd name="T22" fmla="*/ 95664 w 96"/>
                <a:gd name="T23" fmla="*/ 217488 h 137"/>
                <a:gd name="T24" fmla="*/ 125099 w 96"/>
                <a:gd name="T25" fmla="*/ 211138 h 137"/>
                <a:gd name="T26" fmla="*/ 135401 w 96"/>
                <a:gd name="T27" fmla="*/ 196850 h 137"/>
                <a:gd name="T28" fmla="*/ 141288 w 96"/>
                <a:gd name="T29" fmla="*/ 176213 h 137"/>
                <a:gd name="T30" fmla="*/ 135401 w 96"/>
                <a:gd name="T31" fmla="*/ 144463 h 137"/>
                <a:gd name="T32" fmla="*/ 135401 w 96"/>
                <a:gd name="T33" fmla="*/ 111125 h 137"/>
                <a:gd name="T34" fmla="*/ 133929 w 96"/>
                <a:gd name="T35" fmla="*/ 107950 h 137"/>
                <a:gd name="T36" fmla="*/ 125099 w 96"/>
                <a:gd name="T37" fmla="*/ 106363 h 137"/>
                <a:gd name="T38" fmla="*/ 122155 w 96"/>
                <a:gd name="T39" fmla="*/ 103188 h 137"/>
                <a:gd name="T40" fmla="*/ 119212 w 96"/>
                <a:gd name="T41" fmla="*/ 96838 h 137"/>
                <a:gd name="T42" fmla="*/ 119212 w 96"/>
                <a:gd name="T43" fmla="*/ 90488 h 137"/>
                <a:gd name="T44" fmla="*/ 122155 w 96"/>
                <a:gd name="T45" fmla="*/ 79375 h 137"/>
                <a:gd name="T46" fmla="*/ 111853 w 96"/>
                <a:gd name="T47" fmla="*/ 85725 h 137"/>
                <a:gd name="T48" fmla="*/ 103023 w 96"/>
                <a:gd name="T49" fmla="*/ 85725 h 137"/>
                <a:gd name="T50" fmla="*/ 95664 w 96"/>
                <a:gd name="T51" fmla="*/ 85725 h 137"/>
                <a:gd name="T52" fmla="*/ 89777 w 96"/>
                <a:gd name="T53" fmla="*/ 79375 h 137"/>
                <a:gd name="T54" fmla="*/ 86833 w 96"/>
                <a:gd name="T55" fmla="*/ 52388 h 137"/>
                <a:gd name="T56" fmla="*/ 80946 w 96"/>
                <a:gd name="T57" fmla="*/ 31750 h 137"/>
                <a:gd name="T58" fmla="*/ 76531 w 96"/>
                <a:gd name="T59" fmla="*/ 20638 h 137"/>
                <a:gd name="T60" fmla="*/ 70644 w 96"/>
                <a:gd name="T61" fmla="*/ 14288 h 137"/>
                <a:gd name="T62" fmla="*/ 61814 w 96"/>
                <a:gd name="T63" fmla="*/ 6350 h 137"/>
                <a:gd name="T64" fmla="*/ 54455 w 96"/>
                <a:gd name="T65" fmla="*/ 3175 h 137"/>
                <a:gd name="T66" fmla="*/ 51511 w 96"/>
                <a:gd name="T67" fmla="*/ 0 h 137"/>
                <a:gd name="T68" fmla="*/ 48568 w 96"/>
                <a:gd name="T69" fmla="*/ 3175 h 137"/>
                <a:gd name="T70" fmla="*/ 45624 w 96"/>
                <a:gd name="T71" fmla="*/ 6350 h 137"/>
                <a:gd name="T72" fmla="*/ 44152 w 96"/>
                <a:gd name="T73" fmla="*/ 11113 h 137"/>
                <a:gd name="T74" fmla="*/ 38265 w 96"/>
                <a:gd name="T75" fmla="*/ 26988 h 137"/>
                <a:gd name="T76" fmla="*/ 29435 w 96"/>
                <a:gd name="T77" fmla="*/ 41275 h 137"/>
                <a:gd name="T78" fmla="*/ 22076 w 96"/>
                <a:gd name="T79" fmla="*/ 34925 h 137"/>
                <a:gd name="T80" fmla="*/ 13246 w 96"/>
                <a:gd name="T81" fmla="*/ 28575 h 137"/>
                <a:gd name="T82" fmla="*/ 10302 w 96"/>
                <a:gd name="T83" fmla="*/ 20638 h 137"/>
                <a:gd name="T84" fmla="*/ 8831 w 96"/>
                <a:gd name="T85" fmla="*/ 11113 h 13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6"/>
                <a:gd name="T130" fmla="*/ 0 h 137"/>
                <a:gd name="T131" fmla="*/ 96 w 96"/>
                <a:gd name="T132" fmla="*/ 137 h 13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6" h="137">
                  <a:moveTo>
                    <a:pt x="6" y="7"/>
                  </a:moveTo>
                  <a:lnTo>
                    <a:pt x="2" y="17"/>
                  </a:lnTo>
                  <a:lnTo>
                    <a:pt x="0" y="26"/>
                  </a:lnTo>
                  <a:lnTo>
                    <a:pt x="7" y="46"/>
                  </a:lnTo>
                  <a:lnTo>
                    <a:pt x="15" y="67"/>
                  </a:lnTo>
                  <a:lnTo>
                    <a:pt x="22" y="89"/>
                  </a:lnTo>
                  <a:lnTo>
                    <a:pt x="30" y="109"/>
                  </a:lnTo>
                  <a:lnTo>
                    <a:pt x="33" y="118"/>
                  </a:lnTo>
                  <a:lnTo>
                    <a:pt x="37" y="124"/>
                  </a:lnTo>
                  <a:lnTo>
                    <a:pt x="42" y="131"/>
                  </a:lnTo>
                  <a:lnTo>
                    <a:pt x="48" y="137"/>
                  </a:lnTo>
                  <a:lnTo>
                    <a:pt x="65" y="137"/>
                  </a:lnTo>
                  <a:lnTo>
                    <a:pt x="85" y="133"/>
                  </a:lnTo>
                  <a:lnTo>
                    <a:pt x="92" y="124"/>
                  </a:lnTo>
                  <a:lnTo>
                    <a:pt x="96" y="111"/>
                  </a:lnTo>
                  <a:lnTo>
                    <a:pt x="92" y="91"/>
                  </a:lnTo>
                  <a:lnTo>
                    <a:pt x="92" y="70"/>
                  </a:lnTo>
                  <a:lnTo>
                    <a:pt x="91" y="68"/>
                  </a:lnTo>
                  <a:lnTo>
                    <a:pt x="85" y="67"/>
                  </a:lnTo>
                  <a:lnTo>
                    <a:pt x="83" y="65"/>
                  </a:lnTo>
                  <a:lnTo>
                    <a:pt x="81" y="61"/>
                  </a:lnTo>
                  <a:lnTo>
                    <a:pt x="81" y="57"/>
                  </a:lnTo>
                  <a:lnTo>
                    <a:pt x="83" y="50"/>
                  </a:lnTo>
                  <a:lnTo>
                    <a:pt x="76" y="54"/>
                  </a:lnTo>
                  <a:lnTo>
                    <a:pt x="70" y="54"/>
                  </a:lnTo>
                  <a:lnTo>
                    <a:pt x="65" y="54"/>
                  </a:lnTo>
                  <a:lnTo>
                    <a:pt x="61" y="50"/>
                  </a:lnTo>
                  <a:lnTo>
                    <a:pt x="59" y="33"/>
                  </a:lnTo>
                  <a:lnTo>
                    <a:pt x="55" y="20"/>
                  </a:lnTo>
                  <a:lnTo>
                    <a:pt x="52" y="13"/>
                  </a:lnTo>
                  <a:lnTo>
                    <a:pt x="48" y="9"/>
                  </a:lnTo>
                  <a:lnTo>
                    <a:pt x="42" y="4"/>
                  </a:lnTo>
                  <a:lnTo>
                    <a:pt x="37" y="2"/>
                  </a:lnTo>
                  <a:lnTo>
                    <a:pt x="35" y="0"/>
                  </a:lnTo>
                  <a:lnTo>
                    <a:pt x="33" y="2"/>
                  </a:lnTo>
                  <a:lnTo>
                    <a:pt x="31" y="4"/>
                  </a:lnTo>
                  <a:lnTo>
                    <a:pt x="30" y="7"/>
                  </a:lnTo>
                  <a:lnTo>
                    <a:pt x="26" y="17"/>
                  </a:lnTo>
                  <a:lnTo>
                    <a:pt x="20" y="26"/>
                  </a:lnTo>
                  <a:lnTo>
                    <a:pt x="15" y="22"/>
                  </a:lnTo>
                  <a:lnTo>
                    <a:pt x="9" y="18"/>
                  </a:lnTo>
                  <a:lnTo>
                    <a:pt x="7" y="13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73" name="Freeform 71"/>
            <p:cNvSpPr>
              <a:spLocks/>
            </p:cNvSpPr>
            <p:nvPr/>
          </p:nvSpPr>
          <p:spPr bwMode="auto">
            <a:xfrm>
              <a:off x="3294291" y="3703169"/>
              <a:ext cx="760311" cy="688796"/>
            </a:xfrm>
            <a:custGeom>
              <a:avLst/>
              <a:gdLst>
                <a:gd name="T0" fmla="*/ 137641 w 438"/>
                <a:gd name="T1" fmla="*/ 193675 h 366"/>
                <a:gd name="T2" fmla="*/ 115677 w 438"/>
                <a:gd name="T3" fmla="*/ 227013 h 366"/>
                <a:gd name="T4" fmla="*/ 102499 w 438"/>
                <a:gd name="T5" fmla="*/ 258763 h 366"/>
                <a:gd name="T6" fmla="*/ 57107 w 438"/>
                <a:gd name="T7" fmla="*/ 323850 h 366"/>
                <a:gd name="T8" fmla="*/ 48321 w 438"/>
                <a:gd name="T9" fmla="*/ 365125 h 366"/>
                <a:gd name="T10" fmla="*/ 41000 w 438"/>
                <a:gd name="T11" fmla="*/ 382587 h 366"/>
                <a:gd name="T12" fmla="*/ 2929 w 438"/>
                <a:gd name="T13" fmla="*/ 404812 h 366"/>
                <a:gd name="T14" fmla="*/ 0 w 438"/>
                <a:gd name="T15" fmla="*/ 449263 h 366"/>
                <a:gd name="T16" fmla="*/ 35142 w 438"/>
                <a:gd name="T17" fmla="*/ 501650 h 366"/>
                <a:gd name="T18" fmla="*/ 80535 w 438"/>
                <a:gd name="T19" fmla="*/ 522288 h 366"/>
                <a:gd name="T20" fmla="*/ 105427 w 438"/>
                <a:gd name="T21" fmla="*/ 546100 h 366"/>
                <a:gd name="T22" fmla="*/ 121534 w 438"/>
                <a:gd name="T23" fmla="*/ 581025 h 366"/>
                <a:gd name="T24" fmla="*/ 140570 w 438"/>
                <a:gd name="T25" fmla="*/ 577850 h 366"/>
                <a:gd name="T26" fmla="*/ 165462 w 438"/>
                <a:gd name="T27" fmla="*/ 546100 h 366"/>
                <a:gd name="T28" fmla="*/ 194748 w 438"/>
                <a:gd name="T29" fmla="*/ 519113 h 366"/>
                <a:gd name="T30" fmla="*/ 207926 w 438"/>
                <a:gd name="T31" fmla="*/ 534988 h 366"/>
                <a:gd name="T32" fmla="*/ 232819 w 438"/>
                <a:gd name="T33" fmla="*/ 542925 h 366"/>
                <a:gd name="T34" fmla="*/ 251854 w 438"/>
                <a:gd name="T35" fmla="*/ 517525 h 366"/>
                <a:gd name="T36" fmla="*/ 259176 w 438"/>
                <a:gd name="T37" fmla="*/ 479425 h 366"/>
                <a:gd name="T38" fmla="*/ 272354 w 438"/>
                <a:gd name="T39" fmla="*/ 466725 h 366"/>
                <a:gd name="T40" fmla="*/ 291390 w 438"/>
                <a:gd name="T41" fmla="*/ 473075 h 366"/>
                <a:gd name="T42" fmla="*/ 307497 w 438"/>
                <a:gd name="T43" fmla="*/ 493713 h 366"/>
                <a:gd name="T44" fmla="*/ 338246 w 438"/>
                <a:gd name="T45" fmla="*/ 490538 h 366"/>
                <a:gd name="T46" fmla="*/ 380710 w 438"/>
                <a:gd name="T47" fmla="*/ 438150 h 366"/>
                <a:gd name="T48" fmla="*/ 424638 w 438"/>
                <a:gd name="T49" fmla="*/ 411163 h 366"/>
                <a:gd name="T50" fmla="*/ 421710 w 438"/>
                <a:gd name="T51" fmla="*/ 387350 h 366"/>
                <a:gd name="T52" fmla="*/ 440745 w 438"/>
                <a:gd name="T53" fmla="*/ 352425 h 366"/>
                <a:gd name="T54" fmla="*/ 434888 w 438"/>
                <a:gd name="T55" fmla="*/ 331787 h 366"/>
                <a:gd name="T56" fmla="*/ 427567 w 438"/>
                <a:gd name="T57" fmla="*/ 314325 h 366"/>
                <a:gd name="T58" fmla="*/ 449531 w 438"/>
                <a:gd name="T59" fmla="*/ 282575 h 366"/>
                <a:gd name="T60" fmla="*/ 470031 w 438"/>
                <a:gd name="T61" fmla="*/ 268288 h 366"/>
                <a:gd name="T62" fmla="*/ 505173 w 438"/>
                <a:gd name="T63" fmla="*/ 241300 h 366"/>
                <a:gd name="T64" fmla="*/ 573994 w 438"/>
                <a:gd name="T65" fmla="*/ 185737 h 366"/>
                <a:gd name="T66" fmla="*/ 606208 w 438"/>
                <a:gd name="T67" fmla="*/ 120650 h 366"/>
                <a:gd name="T68" fmla="*/ 641350 w 438"/>
                <a:gd name="T69" fmla="*/ 68263 h 366"/>
                <a:gd name="T70" fmla="*/ 625243 w 438"/>
                <a:gd name="T71" fmla="*/ 74612 h 366"/>
                <a:gd name="T72" fmla="*/ 587172 w 438"/>
                <a:gd name="T73" fmla="*/ 65088 h 366"/>
                <a:gd name="T74" fmla="*/ 535923 w 438"/>
                <a:gd name="T75" fmla="*/ 33338 h 366"/>
                <a:gd name="T76" fmla="*/ 465638 w 438"/>
                <a:gd name="T77" fmla="*/ 30163 h 366"/>
                <a:gd name="T78" fmla="*/ 431960 w 438"/>
                <a:gd name="T79" fmla="*/ 17463 h 366"/>
                <a:gd name="T80" fmla="*/ 396817 w 438"/>
                <a:gd name="T81" fmla="*/ 0 h 366"/>
                <a:gd name="T82" fmla="*/ 351425 w 438"/>
                <a:gd name="T83" fmla="*/ 33338 h 366"/>
                <a:gd name="T84" fmla="*/ 329461 w 438"/>
                <a:gd name="T85" fmla="*/ 100012 h 366"/>
                <a:gd name="T86" fmla="*/ 291390 w 438"/>
                <a:gd name="T87" fmla="*/ 158750 h 366"/>
                <a:gd name="T88" fmla="*/ 281140 w 438"/>
                <a:gd name="T89" fmla="*/ 193675 h 366"/>
                <a:gd name="T90" fmla="*/ 303104 w 438"/>
                <a:gd name="T91" fmla="*/ 238125 h 366"/>
                <a:gd name="T92" fmla="*/ 281140 w 438"/>
                <a:gd name="T93" fmla="*/ 249238 h 366"/>
                <a:gd name="T94" fmla="*/ 216712 w 438"/>
                <a:gd name="T95" fmla="*/ 230188 h 366"/>
                <a:gd name="T96" fmla="*/ 185962 w 438"/>
                <a:gd name="T97" fmla="*/ 230188 h 366"/>
                <a:gd name="T98" fmla="*/ 172784 w 438"/>
                <a:gd name="T99" fmla="*/ 234950 h 366"/>
                <a:gd name="T100" fmla="*/ 156677 w 438"/>
                <a:gd name="T101" fmla="*/ 214313 h 36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38"/>
                <a:gd name="T154" fmla="*/ 0 h 366"/>
                <a:gd name="T155" fmla="*/ 438 w 438"/>
                <a:gd name="T156" fmla="*/ 366 h 36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38" h="366">
                  <a:moveTo>
                    <a:pt x="105" y="119"/>
                  </a:moveTo>
                  <a:lnTo>
                    <a:pt x="100" y="120"/>
                  </a:lnTo>
                  <a:lnTo>
                    <a:pt x="94" y="122"/>
                  </a:lnTo>
                  <a:lnTo>
                    <a:pt x="89" y="128"/>
                  </a:lnTo>
                  <a:lnTo>
                    <a:pt x="85" y="137"/>
                  </a:lnTo>
                  <a:lnTo>
                    <a:pt x="79" y="143"/>
                  </a:lnTo>
                  <a:lnTo>
                    <a:pt x="76" y="148"/>
                  </a:lnTo>
                  <a:lnTo>
                    <a:pt x="72" y="154"/>
                  </a:lnTo>
                  <a:lnTo>
                    <a:pt x="70" y="163"/>
                  </a:lnTo>
                  <a:lnTo>
                    <a:pt x="59" y="176"/>
                  </a:lnTo>
                  <a:lnTo>
                    <a:pt x="44" y="194"/>
                  </a:lnTo>
                  <a:lnTo>
                    <a:pt x="39" y="204"/>
                  </a:lnTo>
                  <a:lnTo>
                    <a:pt x="35" y="217"/>
                  </a:lnTo>
                  <a:lnTo>
                    <a:pt x="33" y="222"/>
                  </a:lnTo>
                  <a:lnTo>
                    <a:pt x="33" y="230"/>
                  </a:lnTo>
                  <a:lnTo>
                    <a:pt x="33" y="235"/>
                  </a:lnTo>
                  <a:lnTo>
                    <a:pt x="35" y="241"/>
                  </a:lnTo>
                  <a:lnTo>
                    <a:pt x="28" y="241"/>
                  </a:lnTo>
                  <a:lnTo>
                    <a:pt x="18" y="242"/>
                  </a:lnTo>
                  <a:lnTo>
                    <a:pt x="11" y="248"/>
                  </a:lnTo>
                  <a:lnTo>
                    <a:pt x="2" y="255"/>
                  </a:lnTo>
                  <a:lnTo>
                    <a:pt x="2" y="268"/>
                  </a:lnTo>
                  <a:lnTo>
                    <a:pt x="0" y="283"/>
                  </a:lnTo>
                  <a:lnTo>
                    <a:pt x="2" y="283"/>
                  </a:lnTo>
                  <a:lnTo>
                    <a:pt x="13" y="298"/>
                  </a:lnTo>
                  <a:lnTo>
                    <a:pt x="24" y="316"/>
                  </a:lnTo>
                  <a:lnTo>
                    <a:pt x="39" y="320"/>
                  </a:lnTo>
                  <a:lnTo>
                    <a:pt x="52" y="324"/>
                  </a:lnTo>
                  <a:lnTo>
                    <a:pt x="55" y="329"/>
                  </a:lnTo>
                  <a:lnTo>
                    <a:pt x="57" y="337"/>
                  </a:lnTo>
                  <a:lnTo>
                    <a:pt x="65" y="340"/>
                  </a:lnTo>
                  <a:lnTo>
                    <a:pt x="72" y="344"/>
                  </a:lnTo>
                  <a:lnTo>
                    <a:pt x="76" y="355"/>
                  </a:lnTo>
                  <a:lnTo>
                    <a:pt x="79" y="364"/>
                  </a:lnTo>
                  <a:lnTo>
                    <a:pt x="83" y="366"/>
                  </a:lnTo>
                  <a:lnTo>
                    <a:pt x="87" y="366"/>
                  </a:lnTo>
                  <a:lnTo>
                    <a:pt x="92" y="366"/>
                  </a:lnTo>
                  <a:lnTo>
                    <a:pt x="96" y="364"/>
                  </a:lnTo>
                  <a:lnTo>
                    <a:pt x="113" y="344"/>
                  </a:lnTo>
                  <a:lnTo>
                    <a:pt x="126" y="326"/>
                  </a:lnTo>
                  <a:lnTo>
                    <a:pt x="131" y="326"/>
                  </a:lnTo>
                  <a:lnTo>
                    <a:pt x="133" y="327"/>
                  </a:lnTo>
                  <a:lnTo>
                    <a:pt x="137" y="331"/>
                  </a:lnTo>
                  <a:lnTo>
                    <a:pt x="138" y="335"/>
                  </a:lnTo>
                  <a:lnTo>
                    <a:pt x="142" y="337"/>
                  </a:lnTo>
                  <a:lnTo>
                    <a:pt x="146" y="340"/>
                  </a:lnTo>
                  <a:lnTo>
                    <a:pt x="151" y="342"/>
                  </a:lnTo>
                  <a:lnTo>
                    <a:pt x="159" y="342"/>
                  </a:lnTo>
                  <a:lnTo>
                    <a:pt x="166" y="339"/>
                  </a:lnTo>
                  <a:lnTo>
                    <a:pt x="170" y="333"/>
                  </a:lnTo>
                  <a:lnTo>
                    <a:pt x="172" y="326"/>
                  </a:lnTo>
                  <a:lnTo>
                    <a:pt x="172" y="316"/>
                  </a:lnTo>
                  <a:lnTo>
                    <a:pt x="174" y="309"/>
                  </a:lnTo>
                  <a:lnTo>
                    <a:pt x="177" y="302"/>
                  </a:lnTo>
                  <a:lnTo>
                    <a:pt x="179" y="298"/>
                  </a:lnTo>
                  <a:lnTo>
                    <a:pt x="183" y="296"/>
                  </a:lnTo>
                  <a:lnTo>
                    <a:pt x="186" y="294"/>
                  </a:lnTo>
                  <a:lnTo>
                    <a:pt x="190" y="292"/>
                  </a:lnTo>
                  <a:lnTo>
                    <a:pt x="196" y="294"/>
                  </a:lnTo>
                  <a:lnTo>
                    <a:pt x="199" y="298"/>
                  </a:lnTo>
                  <a:lnTo>
                    <a:pt x="203" y="302"/>
                  </a:lnTo>
                  <a:lnTo>
                    <a:pt x="207" y="307"/>
                  </a:lnTo>
                  <a:lnTo>
                    <a:pt x="210" y="311"/>
                  </a:lnTo>
                  <a:lnTo>
                    <a:pt x="214" y="313"/>
                  </a:lnTo>
                  <a:lnTo>
                    <a:pt x="222" y="313"/>
                  </a:lnTo>
                  <a:lnTo>
                    <a:pt x="231" y="309"/>
                  </a:lnTo>
                  <a:lnTo>
                    <a:pt x="236" y="292"/>
                  </a:lnTo>
                  <a:lnTo>
                    <a:pt x="242" y="278"/>
                  </a:lnTo>
                  <a:lnTo>
                    <a:pt x="260" y="276"/>
                  </a:lnTo>
                  <a:lnTo>
                    <a:pt x="286" y="268"/>
                  </a:lnTo>
                  <a:lnTo>
                    <a:pt x="290" y="265"/>
                  </a:lnTo>
                  <a:lnTo>
                    <a:pt x="290" y="259"/>
                  </a:lnTo>
                  <a:lnTo>
                    <a:pt x="290" y="255"/>
                  </a:lnTo>
                  <a:lnTo>
                    <a:pt x="290" y="252"/>
                  </a:lnTo>
                  <a:lnTo>
                    <a:pt x="288" y="244"/>
                  </a:lnTo>
                  <a:lnTo>
                    <a:pt x="288" y="239"/>
                  </a:lnTo>
                  <a:lnTo>
                    <a:pt x="294" y="230"/>
                  </a:lnTo>
                  <a:lnTo>
                    <a:pt x="301" y="222"/>
                  </a:lnTo>
                  <a:lnTo>
                    <a:pt x="301" y="217"/>
                  </a:lnTo>
                  <a:lnTo>
                    <a:pt x="299" y="213"/>
                  </a:lnTo>
                  <a:lnTo>
                    <a:pt x="297" y="209"/>
                  </a:lnTo>
                  <a:lnTo>
                    <a:pt x="294" y="205"/>
                  </a:lnTo>
                  <a:lnTo>
                    <a:pt x="292" y="202"/>
                  </a:lnTo>
                  <a:lnTo>
                    <a:pt x="292" y="198"/>
                  </a:lnTo>
                  <a:lnTo>
                    <a:pt x="294" y="191"/>
                  </a:lnTo>
                  <a:lnTo>
                    <a:pt x="299" y="183"/>
                  </a:lnTo>
                  <a:lnTo>
                    <a:pt x="307" y="178"/>
                  </a:lnTo>
                  <a:lnTo>
                    <a:pt x="312" y="172"/>
                  </a:lnTo>
                  <a:lnTo>
                    <a:pt x="316" y="170"/>
                  </a:lnTo>
                  <a:lnTo>
                    <a:pt x="321" y="169"/>
                  </a:lnTo>
                  <a:lnTo>
                    <a:pt x="329" y="169"/>
                  </a:lnTo>
                  <a:lnTo>
                    <a:pt x="338" y="163"/>
                  </a:lnTo>
                  <a:lnTo>
                    <a:pt x="345" y="152"/>
                  </a:lnTo>
                  <a:lnTo>
                    <a:pt x="362" y="141"/>
                  </a:lnTo>
                  <a:lnTo>
                    <a:pt x="379" y="128"/>
                  </a:lnTo>
                  <a:lnTo>
                    <a:pt x="392" y="117"/>
                  </a:lnTo>
                  <a:lnTo>
                    <a:pt x="399" y="100"/>
                  </a:lnTo>
                  <a:lnTo>
                    <a:pt x="406" y="84"/>
                  </a:lnTo>
                  <a:lnTo>
                    <a:pt x="414" y="76"/>
                  </a:lnTo>
                  <a:lnTo>
                    <a:pt x="417" y="72"/>
                  </a:lnTo>
                  <a:lnTo>
                    <a:pt x="425" y="63"/>
                  </a:lnTo>
                  <a:lnTo>
                    <a:pt x="438" y="43"/>
                  </a:lnTo>
                  <a:lnTo>
                    <a:pt x="427" y="47"/>
                  </a:lnTo>
                  <a:lnTo>
                    <a:pt x="419" y="48"/>
                  </a:lnTo>
                  <a:lnTo>
                    <a:pt x="410" y="47"/>
                  </a:lnTo>
                  <a:lnTo>
                    <a:pt x="401" y="41"/>
                  </a:lnTo>
                  <a:lnTo>
                    <a:pt x="392" y="37"/>
                  </a:lnTo>
                  <a:lnTo>
                    <a:pt x="382" y="32"/>
                  </a:lnTo>
                  <a:lnTo>
                    <a:pt x="366" y="21"/>
                  </a:lnTo>
                  <a:lnTo>
                    <a:pt x="347" y="11"/>
                  </a:lnTo>
                  <a:lnTo>
                    <a:pt x="332" y="15"/>
                  </a:lnTo>
                  <a:lnTo>
                    <a:pt x="318" y="19"/>
                  </a:lnTo>
                  <a:lnTo>
                    <a:pt x="308" y="15"/>
                  </a:lnTo>
                  <a:lnTo>
                    <a:pt x="301" y="11"/>
                  </a:lnTo>
                  <a:lnTo>
                    <a:pt x="295" y="11"/>
                  </a:lnTo>
                  <a:lnTo>
                    <a:pt x="290" y="11"/>
                  </a:lnTo>
                  <a:lnTo>
                    <a:pt x="281" y="6"/>
                  </a:lnTo>
                  <a:lnTo>
                    <a:pt x="271" y="0"/>
                  </a:lnTo>
                  <a:lnTo>
                    <a:pt x="270" y="0"/>
                  </a:lnTo>
                  <a:lnTo>
                    <a:pt x="268" y="0"/>
                  </a:lnTo>
                  <a:lnTo>
                    <a:pt x="240" y="21"/>
                  </a:lnTo>
                  <a:lnTo>
                    <a:pt x="225" y="32"/>
                  </a:lnTo>
                  <a:lnTo>
                    <a:pt x="225" y="47"/>
                  </a:lnTo>
                  <a:lnTo>
                    <a:pt x="225" y="63"/>
                  </a:lnTo>
                  <a:lnTo>
                    <a:pt x="216" y="76"/>
                  </a:lnTo>
                  <a:lnTo>
                    <a:pt x="205" y="93"/>
                  </a:lnTo>
                  <a:lnTo>
                    <a:pt x="199" y="100"/>
                  </a:lnTo>
                  <a:lnTo>
                    <a:pt x="196" y="108"/>
                  </a:lnTo>
                  <a:lnTo>
                    <a:pt x="192" y="115"/>
                  </a:lnTo>
                  <a:lnTo>
                    <a:pt x="192" y="122"/>
                  </a:lnTo>
                  <a:lnTo>
                    <a:pt x="201" y="135"/>
                  </a:lnTo>
                  <a:lnTo>
                    <a:pt x="209" y="146"/>
                  </a:lnTo>
                  <a:lnTo>
                    <a:pt x="207" y="150"/>
                  </a:lnTo>
                  <a:lnTo>
                    <a:pt x="203" y="154"/>
                  </a:lnTo>
                  <a:lnTo>
                    <a:pt x="199" y="156"/>
                  </a:lnTo>
                  <a:lnTo>
                    <a:pt x="192" y="157"/>
                  </a:lnTo>
                  <a:lnTo>
                    <a:pt x="175" y="154"/>
                  </a:lnTo>
                  <a:lnTo>
                    <a:pt x="161" y="152"/>
                  </a:lnTo>
                  <a:lnTo>
                    <a:pt x="148" y="145"/>
                  </a:lnTo>
                  <a:lnTo>
                    <a:pt x="138" y="137"/>
                  </a:lnTo>
                  <a:lnTo>
                    <a:pt x="133" y="139"/>
                  </a:lnTo>
                  <a:lnTo>
                    <a:pt x="127" y="145"/>
                  </a:lnTo>
                  <a:lnTo>
                    <a:pt x="124" y="146"/>
                  </a:lnTo>
                  <a:lnTo>
                    <a:pt x="122" y="148"/>
                  </a:lnTo>
                  <a:lnTo>
                    <a:pt x="118" y="148"/>
                  </a:lnTo>
                  <a:lnTo>
                    <a:pt x="114" y="146"/>
                  </a:lnTo>
                  <a:lnTo>
                    <a:pt x="111" y="141"/>
                  </a:lnTo>
                  <a:lnTo>
                    <a:pt x="107" y="135"/>
                  </a:lnTo>
                  <a:lnTo>
                    <a:pt x="105" y="128"/>
                  </a:lnTo>
                  <a:lnTo>
                    <a:pt x="105" y="119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74" name="Freeform 72"/>
            <p:cNvSpPr>
              <a:spLocks/>
            </p:cNvSpPr>
            <p:nvPr/>
          </p:nvSpPr>
          <p:spPr bwMode="auto">
            <a:xfrm>
              <a:off x="2631843" y="4375027"/>
              <a:ext cx="713262" cy="948506"/>
            </a:xfrm>
            <a:custGeom>
              <a:avLst/>
              <a:gdLst>
                <a:gd name="T0" fmla="*/ 1464 w 411"/>
                <a:gd name="T1" fmla="*/ 217488 h 504"/>
                <a:gd name="T2" fmla="*/ 4392 w 411"/>
                <a:gd name="T3" fmla="*/ 241300 h 504"/>
                <a:gd name="T4" fmla="*/ 26350 w 411"/>
                <a:gd name="T5" fmla="*/ 242888 h 504"/>
                <a:gd name="T6" fmla="*/ 64412 w 411"/>
                <a:gd name="T7" fmla="*/ 241300 h 504"/>
                <a:gd name="T8" fmla="*/ 80515 w 411"/>
                <a:gd name="T9" fmla="*/ 260350 h 504"/>
                <a:gd name="T10" fmla="*/ 96617 w 411"/>
                <a:gd name="T11" fmla="*/ 319088 h 504"/>
                <a:gd name="T12" fmla="*/ 122968 w 411"/>
                <a:gd name="T13" fmla="*/ 436563 h 504"/>
                <a:gd name="T14" fmla="*/ 112720 w 411"/>
                <a:gd name="T15" fmla="*/ 481013 h 504"/>
                <a:gd name="T16" fmla="*/ 137607 w 411"/>
                <a:gd name="T17" fmla="*/ 490538 h 504"/>
                <a:gd name="T18" fmla="*/ 158101 w 411"/>
                <a:gd name="T19" fmla="*/ 442913 h 504"/>
                <a:gd name="T20" fmla="*/ 175668 w 411"/>
                <a:gd name="T21" fmla="*/ 460375 h 504"/>
                <a:gd name="T22" fmla="*/ 166885 w 411"/>
                <a:gd name="T23" fmla="*/ 522288 h 504"/>
                <a:gd name="T24" fmla="*/ 199090 w 411"/>
                <a:gd name="T25" fmla="*/ 554038 h 504"/>
                <a:gd name="T26" fmla="*/ 297172 w 411"/>
                <a:gd name="T27" fmla="*/ 557213 h 504"/>
                <a:gd name="T28" fmla="*/ 317666 w 411"/>
                <a:gd name="T29" fmla="*/ 601663 h 504"/>
                <a:gd name="T30" fmla="*/ 367439 w 411"/>
                <a:gd name="T31" fmla="*/ 608013 h 504"/>
                <a:gd name="T32" fmla="*/ 390861 w 411"/>
                <a:gd name="T33" fmla="*/ 665163 h 504"/>
                <a:gd name="T34" fmla="*/ 428923 w 411"/>
                <a:gd name="T35" fmla="*/ 739775 h 504"/>
                <a:gd name="T36" fmla="*/ 456737 w 411"/>
                <a:gd name="T37" fmla="*/ 739775 h 504"/>
                <a:gd name="T38" fmla="*/ 510901 w 411"/>
                <a:gd name="T39" fmla="*/ 788988 h 504"/>
                <a:gd name="T40" fmla="*/ 572385 w 411"/>
                <a:gd name="T41" fmla="*/ 795338 h 504"/>
                <a:gd name="T42" fmla="*/ 601663 w 411"/>
                <a:gd name="T43" fmla="*/ 768350 h 504"/>
                <a:gd name="T44" fmla="*/ 572385 w 411"/>
                <a:gd name="T45" fmla="*/ 685800 h 504"/>
                <a:gd name="T46" fmla="*/ 562138 w 411"/>
                <a:gd name="T47" fmla="*/ 601663 h 504"/>
                <a:gd name="T48" fmla="*/ 584096 w 411"/>
                <a:gd name="T49" fmla="*/ 557213 h 504"/>
                <a:gd name="T50" fmla="*/ 553354 w 411"/>
                <a:gd name="T51" fmla="*/ 525463 h 504"/>
                <a:gd name="T52" fmla="*/ 524076 w 411"/>
                <a:gd name="T53" fmla="*/ 533400 h 504"/>
                <a:gd name="T54" fmla="*/ 518221 w 411"/>
                <a:gd name="T55" fmla="*/ 512763 h 504"/>
                <a:gd name="T56" fmla="*/ 477232 w 411"/>
                <a:gd name="T57" fmla="*/ 525463 h 504"/>
                <a:gd name="T58" fmla="*/ 459665 w 411"/>
                <a:gd name="T59" fmla="*/ 549275 h 504"/>
                <a:gd name="T60" fmla="*/ 437706 w 411"/>
                <a:gd name="T61" fmla="*/ 528638 h 504"/>
                <a:gd name="T62" fmla="*/ 409892 w 411"/>
                <a:gd name="T63" fmla="*/ 519113 h 504"/>
                <a:gd name="T64" fmla="*/ 364511 w 411"/>
                <a:gd name="T65" fmla="*/ 490538 h 504"/>
                <a:gd name="T66" fmla="*/ 335233 w 411"/>
                <a:gd name="T67" fmla="*/ 504825 h 504"/>
                <a:gd name="T68" fmla="*/ 361583 w 411"/>
                <a:gd name="T69" fmla="*/ 449263 h 504"/>
                <a:gd name="T70" fmla="*/ 370367 w 411"/>
                <a:gd name="T71" fmla="*/ 390525 h 504"/>
                <a:gd name="T72" fmla="*/ 374759 w 411"/>
                <a:gd name="T73" fmla="*/ 355600 h 504"/>
                <a:gd name="T74" fmla="*/ 320594 w 411"/>
                <a:gd name="T75" fmla="*/ 357188 h 504"/>
                <a:gd name="T76" fmla="*/ 310347 w 411"/>
                <a:gd name="T77" fmla="*/ 322263 h 504"/>
                <a:gd name="T78" fmla="*/ 326450 w 411"/>
                <a:gd name="T79" fmla="*/ 293688 h 504"/>
                <a:gd name="T80" fmla="*/ 335233 w 411"/>
                <a:gd name="T81" fmla="*/ 211138 h 504"/>
                <a:gd name="T82" fmla="*/ 320594 w 411"/>
                <a:gd name="T83" fmla="*/ 107950 h 504"/>
                <a:gd name="T84" fmla="*/ 317666 w 411"/>
                <a:gd name="T85" fmla="*/ 52388 h 504"/>
                <a:gd name="T86" fmla="*/ 310347 w 411"/>
                <a:gd name="T87" fmla="*/ 23813 h 504"/>
                <a:gd name="T88" fmla="*/ 264966 w 411"/>
                <a:gd name="T89" fmla="*/ 34925 h 504"/>
                <a:gd name="T90" fmla="*/ 199090 w 411"/>
                <a:gd name="T91" fmla="*/ 107950 h 504"/>
                <a:gd name="T92" fmla="*/ 118576 w 411"/>
                <a:gd name="T93" fmla="*/ 134938 h 504"/>
                <a:gd name="T94" fmla="*/ 87834 w 411"/>
                <a:gd name="T95" fmla="*/ 141288 h 504"/>
                <a:gd name="T96" fmla="*/ 61484 w 411"/>
                <a:gd name="T97" fmla="*/ 166688 h 5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11"/>
                <a:gd name="T148" fmla="*/ 0 h 504"/>
                <a:gd name="T149" fmla="*/ 411 w 411"/>
                <a:gd name="T150" fmla="*/ 504 h 5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11" h="504">
                  <a:moveTo>
                    <a:pt x="1" y="113"/>
                  </a:moveTo>
                  <a:lnTo>
                    <a:pt x="3" y="120"/>
                  </a:lnTo>
                  <a:lnTo>
                    <a:pt x="3" y="129"/>
                  </a:lnTo>
                  <a:lnTo>
                    <a:pt x="1" y="137"/>
                  </a:lnTo>
                  <a:lnTo>
                    <a:pt x="0" y="144"/>
                  </a:lnTo>
                  <a:lnTo>
                    <a:pt x="0" y="146"/>
                  </a:lnTo>
                  <a:lnTo>
                    <a:pt x="1" y="150"/>
                  </a:lnTo>
                  <a:lnTo>
                    <a:pt x="3" y="152"/>
                  </a:lnTo>
                  <a:lnTo>
                    <a:pt x="7" y="153"/>
                  </a:lnTo>
                  <a:lnTo>
                    <a:pt x="11" y="155"/>
                  </a:lnTo>
                  <a:lnTo>
                    <a:pt x="14" y="155"/>
                  </a:lnTo>
                  <a:lnTo>
                    <a:pt x="18" y="153"/>
                  </a:lnTo>
                  <a:lnTo>
                    <a:pt x="22" y="152"/>
                  </a:lnTo>
                  <a:lnTo>
                    <a:pt x="31" y="150"/>
                  </a:lnTo>
                  <a:lnTo>
                    <a:pt x="38" y="150"/>
                  </a:lnTo>
                  <a:lnTo>
                    <a:pt x="44" y="152"/>
                  </a:lnTo>
                  <a:lnTo>
                    <a:pt x="49" y="153"/>
                  </a:lnTo>
                  <a:lnTo>
                    <a:pt x="53" y="155"/>
                  </a:lnTo>
                  <a:lnTo>
                    <a:pt x="55" y="159"/>
                  </a:lnTo>
                  <a:lnTo>
                    <a:pt x="55" y="164"/>
                  </a:lnTo>
                  <a:lnTo>
                    <a:pt x="53" y="170"/>
                  </a:lnTo>
                  <a:lnTo>
                    <a:pt x="49" y="181"/>
                  </a:lnTo>
                  <a:lnTo>
                    <a:pt x="48" y="190"/>
                  </a:lnTo>
                  <a:lnTo>
                    <a:pt x="66" y="201"/>
                  </a:lnTo>
                  <a:lnTo>
                    <a:pt x="84" y="213"/>
                  </a:lnTo>
                  <a:lnTo>
                    <a:pt x="84" y="238"/>
                  </a:lnTo>
                  <a:lnTo>
                    <a:pt x="86" y="264"/>
                  </a:lnTo>
                  <a:lnTo>
                    <a:pt x="84" y="275"/>
                  </a:lnTo>
                  <a:lnTo>
                    <a:pt x="79" y="285"/>
                  </a:lnTo>
                  <a:lnTo>
                    <a:pt x="77" y="290"/>
                  </a:lnTo>
                  <a:lnTo>
                    <a:pt x="77" y="296"/>
                  </a:lnTo>
                  <a:lnTo>
                    <a:pt x="77" y="303"/>
                  </a:lnTo>
                  <a:lnTo>
                    <a:pt x="83" y="309"/>
                  </a:lnTo>
                  <a:lnTo>
                    <a:pt x="86" y="312"/>
                  </a:lnTo>
                  <a:lnTo>
                    <a:pt x="90" y="312"/>
                  </a:lnTo>
                  <a:lnTo>
                    <a:pt x="94" y="309"/>
                  </a:lnTo>
                  <a:lnTo>
                    <a:pt x="97" y="305"/>
                  </a:lnTo>
                  <a:lnTo>
                    <a:pt x="101" y="292"/>
                  </a:lnTo>
                  <a:lnTo>
                    <a:pt x="105" y="281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2" y="279"/>
                  </a:lnTo>
                  <a:lnTo>
                    <a:pt x="116" y="281"/>
                  </a:lnTo>
                  <a:lnTo>
                    <a:pt x="120" y="290"/>
                  </a:lnTo>
                  <a:lnTo>
                    <a:pt x="120" y="301"/>
                  </a:lnTo>
                  <a:lnTo>
                    <a:pt x="118" y="312"/>
                  </a:lnTo>
                  <a:lnTo>
                    <a:pt x="116" y="322"/>
                  </a:lnTo>
                  <a:lnTo>
                    <a:pt x="114" y="329"/>
                  </a:lnTo>
                  <a:lnTo>
                    <a:pt x="116" y="333"/>
                  </a:lnTo>
                  <a:lnTo>
                    <a:pt x="120" y="338"/>
                  </a:lnTo>
                  <a:lnTo>
                    <a:pt x="123" y="342"/>
                  </a:lnTo>
                  <a:lnTo>
                    <a:pt x="136" y="349"/>
                  </a:lnTo>
                  <a:lnTo>
                    <a:pt x="153" y="353"/>
                  </a:lnTo>
                  <a:lnTo>
                    <a:pt x="173" y="353"/>
                  </a:lnTo>
                  <a:lnTo>
                    <a:pt x="193" y="349"/>
                  </a:lnTo>
                  <a:lnTo>
                    <a:pt x="203" y="351"/>
                  </a:lnTo>
                  <a:lnTo>
                    <a:pt x="208" y="355"/>
                  </a:lnTo>
                  <a:lnTo>
                    <a:pt x="212" y="360"/>
                  </a:lnTo>
                  <a:lnTo>
                    <a:pt x="216" y="368"/>
                  </a:lnTo>
                  <a:lnTo>
                    <a:pt x="217" y="379"/>
                  </a:lnTo>
                  <a:lnTo>
                    <a:pt x="223" y="388"/>
                  </a:lnTo>
                  <a:lnTo>
                    <a:pt x="232" y="388"/>
                  </a:lnTo>
                  <a:lnTo>
                    <a:pt x="245" y="384"/>
                  </a:lnTo>
                  <a:lnTo>
                    <a:pt x="251" y="383"/>
                  </a:lnTo>
                  <a:lnTo>
                    <a:pt x="256" y="384"/>
                  </a:lnTo>
                  <a:lnTo>
                    <a:pt x="262" y="388"/>
                  </a:lnTo>
                  <a:lnTo>
                    <a:pt x="267" y="397"/>
                  </a:lnTo>
                  <a:lnTo>
                    <a:pt x="267" y="419"/>
                  </a:lnTo>
                  <a:lnTo>
                    <a:pt x="271" y="440"/>
                  </a:lnTo>
                  <a:lnTo>
                    <a:pt x="282" y="451"/>
                  </a:lnTo>
                  <a:lnTo>
                    <a:pt x="293" y="460"/>
                  </a:lnTo>
                  <a:lnTo>
                    <a:pt x="293" y="466"/>
                  </a:lnTo>
                  <a:lnTo>
                    <a:pt x="293" y="468"/>
                  </a:lnTo>
                  <a:lnTo>
                    <a:pt x="297" y="469"/>
                  </a:lnTo>
                  <a:lnTo>
                    <a:pt x="301" y="469"/>
                  </a:lnTo>
                  <a:lnTo>
                    <a:pt x="312" y="466"/>
                  </a:lnTo>
                  <a:lnTo>
                    <a:pt x="325" y="460"/>
                  </a:lnTo>
                  <a:lnTo>
                    <a:pt x="332" y="477"/>
                  </a:lnTo>
                  <a:lnTo>
                    <a:pt x="339" y="488"/>
                  </a:lnTo>
                  <a:lnTo>
                    <a:pt x="349" y="497"/>
                  </a:lnTo>
                  <a:lnTo>
                    <a:pt x="358" y="503"/>
                  </a:lnTo>
                  <a:lnTo>
                    <a:pt x="369" y="504"/>
                  </a:lnTo>
                  <a:lnTo>
                    <a:pt x="380" y="504"/>
                  </a:lnTo>
                  <a:lnTo>
                    <a:pt x="391" y="501"/>
                  </a:lnTo>
                  <a:lnTo>
                    <a:pt x="402" y="495"/>
                  </a:lnTo>
                  <a:lnTo>
                    <a:pt x="408" y="492"/>
                  </a:lnTo>
                  <a:lnTo>
                    <a:pt x="410" y="488"/>
                  </a:lnTo>
                  <a:lnTo>
                    <a:pt x="411" y="484"/>
                  </a:lnTo>
                  <a:lnTo>
                    <a:pt x="411" y="480"/>
                  </a:lnTo>
                  <a:lnTo>
                    <a:pt x="406" y="469"/>
                  </a:lnTo>
                  <a:lnTo>
                    <a:pt x="393" y="449"/>
                  </a:lnTo>
                  <a:lnTo>
                    <a:pt x="391" y="432"/>
                  </a:lnTo>
                  <a:lnTo>
                    <a:pt x="389" y="416"/>
                  </a:lnTo>
                  <a:lnTo>
                    <a:pt x="386" y="399"/>
                  </a:lnTo>
                  <a:lnTo>
                    <a:pt x="384" y="383"/>
                  </a:lnTo>
                  <a:lnTo>
                    <a:pt x="384" y="379"/>
                  </a:lnTo>
                  <a:lnTo>
                    <a:pt x="391" y="373"/>
                  </a:lnTo>
                  <a:lnTo>
                    <a:pt x="402" y="364"/>
                  </a:lnTo>
                  <a:lnTo>
                    <a:pt x="402" y="357"/>
                  </a:lnTo>
                  <a:lnTo>
                    <a:pt x="399" y="351"/>
                  </a:lnTo>
                  <a:lnTo>
                    <a:pt x="393" y="346"/>
                  </a:lnTo>
                  <a:lnTo>
                    <a:pt x="389" y="340"/>
                  </a:lnTo>
                  <a:lnTo>
                    <a:pt x="384" y="334"/>
                  </a:lnTo>
                  <a:lnTo>
                    <a:pt x="378" y="331"/>
                  </a:lnTo>
                  <a:lnTo>
                    <a:pt x="373" y="331"/>
                  </a:lnTo>
                  <a:lnTo>
                    <a:pt x="367" y="334"/>
                  </a:lnTo>
                  <a:lnTo>
                    <a:pt x="362" y="336"/>
                  </a:lnTo>
                  <a:lnTo>
                    <a:pt x="358" y="336"/>
                  </a:lnTo>
                  <a:lnTo>
                    <a:pt x="356" y="334"/>
                  </a:lnTo>
                  <a:lnTo>
                    <a:pt x="354" y="327"/>
                  </a:lnTo>
                  <a:lnTo>
                    <a:pt x="354" y="325"/>
                  </a:lnTo>
                  <a:lnTo>
                    <a:pt x="354" y="323"/>
                  </a:lnTo>
                  <a:lnTo>
                    <a:pt x="345" y="322"/>
                  </a:lnTo>
                  <a:lnTo>
                    <a:pt x="334" y="323"/>
                  </a:lnTo>
                  <a:lnTo>
                    <a:pt x="328" y="327"/>
                  </a:lnTo>
                  <a:lnTo>
                    <a:pt x="326" y="331"/>
                  </a:lnTo>
                  <a:lnTo>
                    <a:pt x="323" y="334"/>
                  </a:lnTo>
                  <a:lnTo>
                    <a:pt x="321" y="338"/>
                  </a:lnTo>
                  <a:lnTo>
                    <a:pt x="317" y="342"/>
                  </a:lnTo>
                  <a:lnTo>
                    <a:pt x="314" y="346"/>
                  </a:lnTo>
                  <a:lnTo>
                    <a:pt x="306" y="347"/>
                  </a:lnTo>
                  <a:lnTo>
                    <a:pt x="297" y="347"/>
                  </a:lnTo>
                  <a:lnTo>
                    <a:pt x="297" y="340"/>
                  </a:lnTo>
                  <a:lnTo>
                    <a:pt x="299" y="333"/>
                  </a:lnTo>
                  <a:lnTo>
                    <a:pt x="295" y="331"/>
                  </a:lnTo>
                  <a:lnTo>
                    <a:pt x="291" y="329"/>
                  </a:lnTo>
                  <a:lnTo>
                    <a:pt x="286" y="329"/>
                  </a:lnTo>
                  <a:lnTo>
                    <a:pt x="280" y="327"/>
                  </a:lnTo>
                  <a:lnTo>
                    <a:pt x="267" y="327"/>
                  </a:lnTo>
                  <a:lnTo>
                    <a:pt x="254" y="325"/>
                  </a:lnTo>
                  <a:lnTo>
                    <a:pt x="251" y="314"/>
                  </a:lnTo>
                  <a:lnTo>
                    <a:pt x="249" y="309"/>
                  </a:lnTo>
                  <a:lnTo>
                    <a:pt x="243" y="310"/>
                  </a:lnTo>
                  <a:lnTo>
                    <a:pt x="236" y="314"/>
                  </a:lnTo>
                  <a:lnTo>
                    <a:pt x="232" y="316"/>
                  </a:lnTo>
                  <a:lnTo>
                    <a:pt x="229" y="318"/>
                  </a:lnTo>
                  <a:lnTo>
                    <a:pt x="225" y="316"/>
                  </a:lnTo>
                  <a:lnTo>
                    <a:pt x="221" y="314"/>
                  </a:lnTo>
                  <a:lnTo>
                    <a:pt x="232" y="298"/>
                  </a:lnTo>
                  <a:lnTo>
                    <a:pt x="247" y="283"/>
                  </a:lnTo>
                  <a:lnTo>
                    <a:pt x="242" y="272"/>
                  </a:lnTo>
                  <a:lnTo>
                    <a:pt x="238" y="264"/>
                  </a:lnTo>
                  <a:lnTo>
                    <a:pt x="245" y="253"/>
                  </a:lnTo>
                  <a:lnTo>
                    <a:pt x="253" y="246"/>
                  </a:lnTo>
                  <a:lnTo>
                    <a:pt x="256" y="242"/>
                  </a:lnTo>
                  <a:lnTo>
                    <a:pt x="258" y="237"/>
                  </a:lnTo>
                  <a:lnTo>
                    <a:pt x="258" y="231"/>
                  </a:lnTo>
                  <a:lnTo>
                    <a:pt x="256" y="224"/>
                  </a:lnTo>
                  <a:lnTo>
                    <a:pt x="243" y="225"/>
                  </a:lnTo>
                  <a:lnTo>
                    <a:pt x="227" y="229"/>
                  </a:lnTo>
                  <a:lnTo>
                    <a:pt x="223" y="229"/>
                  </a:lnTo>
                  <a:lnTo>
                    <a:pt x="219" y="225"/>
                  </a:lnTo>
                  <a:lnTo>
                    <a:pt x="216" y="222"/>
                  </a:lnTo>
                  <a:lnTo>
                    <a:pt x="214" y="214"/>
                  </a:lnTo>
                  <a:lnTo>
                    <a:pt x="212" y="209"/>
                  </a:lnTo>
                  <a:lnTo>
                    <a:pt x="212" y="203"/>
                  </a:lnTo>
                  <a:lnTo>
                    <a:pt x="212" y="196"/>
                  </a:lnTo>
                  <a:lnTo>
                    <a:pt x="214" y="192"/>
                  </a:lnTo>
                  <a:lnTo>
                    <a:pt x="221" y="188"/>
                  </a:lnTo>
                  <a:lnTo>
                    <a:pt x="223" y="185"/>
                  </a:lnTo>
                  <a:lnTo>
                    <a:pt x="221" y="181"/>
                  </a:lnTo>
                  <a:lnTo>
                    <a:pt x="219" y="170"/>
                  </a:lnTo>
                  <a:lnTo>
                    <a:pt x="225" y="153"/>
                  </a:lnTo>
                  <a:lnTo>
                    <a:pt x="229" y="133"/>
                  </a:lnTo>
                  <a:lnTo>
                    <a:pt x="221" y="118"/>
                  </a:lnTo>
                  <a:lnTo>
                    <a:pt x="210" y="103"/>
                  </a:lnTo>
                  <a:lnTo>
                    <a:pt x="214" y="85"/>
                  </a:lnTo>
                  <a:lnTo>
                    <a:pt x="219" y="68"/>
                  </a:lnTo>
                  <a:lnTo>
                    <a:pt x="227" y="55"/>
                  </a:lnTo>
                  <a:lnTo>
                    <a:pt x="234" y="41"/>
                  </a:lnTo>
                  <a:lnTo>
                    <a:pt x="225" y="39"/>
                  </a:lnTo>
                  <a:lnTo>
                    <a:pt x="217" y="33"/>
                  </a:lnTo>
                  <a:lnTo>
                    <a:pt x="219" y="28"/>
                  </a:lnTo>
                  <a:lnTo>
                    <a:pt x="225" y="22"/>
                  </a:lnTo>
                  <a:lnTo>
                    <a:pt x="219" y="18"/>
                  </a:lnTo>
                  <a:lnTo>
                    <a:pt x="212" y="15"/>
                  </a:lnTo>
                  <a:lnTo>
                    <a:pt x="205" y="7"/>
                  </a:lnTo>
                  <a:lnTo>
                    <a:pt x="199" y="0"/>
                  </a:lnTo>
                  <a:lnTo>
                    <a:pt x="188" y="11"/>
                  </a:lnTo>
                  <a:lnTo>
                    <a:pt x="181" y="22"/>
                  </a:lnTo>
                  <a:lnTo>
                    <a:pt x="162" y="31"/>
                  </a:lnTo>
                  <a:lnTo>
                    <a:pt x="147" y="39"/>
                  </a:lnTo>
                  <a:lnTo>
                    <a:pt x="144" y="52"/>
                  </a:lnTo>
                  <a:lnTo>
                    <a:pt x="136" y="68"/>
                  </a:lnTo>
                  <a:lnTo>
                    <a:pt x="125" y="67"/>
                  </a:lnTo>
                  <a:lnTo>
                    <a:pt x="108" y="67"/>
                  </a:lnTo>
                  <a:lnTo>
                    <a:pt x="94" y="76"/>
                  </a:lnTo>
                  <a:lnTo>
                    <a:pt x="81" y="85"/>
                  </a:lnTo>
                  <a:lnTo>
                    <a:pt x="70" y="79"/>
                  </a:lnTo>
                  <a:lnTo>
                    <a:pt x="64" y="76"/>
                  </a:lnTo>
                  <a:lnTo>
                    <a:pt x="62" y="81"/>
                  </a:lnTo>
                  <a:lnTo>
                    <a:pt x="60" y="89"/>
                  </a:lnTo>
                  <a:lnTo>
                    <a:pt x="59" y="94"/>
                  </a:lnTo>
                  <a:lnTo>
                    <a:pt x="55" y="100"/>
                  </a:lnTo>
                  <a:lnTo>
                    <a:pt x="49" y="103"/>
                  </a:lnTo>
                  <a:lnTo>
                    <a:pt x="42" y="105"/>
                  </a:lnTo>
                  <a:lnTo>
                    <a:pt x="22" y="111"/>
                  </a:lnTo>
                  <a:lnTo>
                    <a:pt x="1" y="113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75" name="Freeform 73"/>
            <p:cNvSpPr>
              <a:spLocks/>
            </p:cNvSpPr>
            <p:nvPr/>
          </p:nvSpPr>
          <p:spPr bwMode="auto">
            <a:xfrm>
              <a:off x="2996942" y="4238136"/>
              <a:ext cx="572115" cy="792303"/>
            </a:xfrm>
            <a:custGeom>
              <a:avLst/>
              <a:gdLst>
                <a:gd name="T0" fmla="*/ 434193 w 329"/>
                <a:gd name="T1" fmla="*/ 185737 h 421"/>
                <a:gd name="T2" fmla="*/ 406323 w 329"/>
                <a:gd name="T3" fmla="*/ 166687 h 421"/>
                <a:gd name="T4" fmla="*/ 396055 w 329"/>
                <a:gd name="T5" fmla="*/ 128587 h 421"/>
                <a:gd name="T6" fmla="*/ 374052 w 329"/>
                <a:gd name="T7" fmla="*/ 131762 h 421"/>
                <a:gd name="T8" fmla="*/ 357916 w 329"/>
                <a:gd name="T9" fmla="*/ 96837 h 421"/>
                <a:gd name="T10" fmla="*/ 332979 w 329"/>
                <a:gd name="T11" fmla="*/ 73025 h 421"/>
                <a:gd name="T12" fmla="*/ 287506 w 329"/>
                <a:gd name="T13" fmla="*/ 52387 h 421"/>
                <a:gd name="T14" fmla="*/ 246434 w 329"/>
                <a:gd name="T15" fmla="*/ 6350 h 421"/>
                <a:gd name="T16" fmla="*/ 211229 w 329"/>
                <a:gd name="T17" fmla="*/ 30162 h 421"/>
                <a:gd name="T18" fmla="*/ 195094 w 329"/>
                <a:gd name="T19" fmla="*/ 50800 h 421"/>
                <a:gd name="T20" fmla="*/ 195094 w 329"/>
                <a:gd name="T21" fmla="*/ 76200 h 421"/>
                <a:gd name="T22" fmla="*/ 162822 w 329"/>
                <a:gd name="T23" fmla="*/ 79375 h 421"/>
                <a:gd name="T24" fmla="*/ 108548 w 329"/>
                <a:gd name="T25" fmla="*/ 79375 h 421"/>
                <a:gd name="T26" fmla="*/ 92413 w 329"/>
                <a:gd name="T27" fmla="*/ 73025 h 421"/>
                <a:gd name="T28" fmla="*/ 95347 w 329"/>
                <a:gd name="T29" fmla="*/ 123825 h 421"/>
                <a:gd name="T30" fmla="*/ 24937 w 329"/>
                <a:gd name="T31" fmla="*/ 204787 h 421"/>
                <a:gd name="T32" fmla="*/ 0 w 329"/>
                <a:gd name="T33" fmla="*/ 280987 h 421"/>
                <a:gd name="T34" fmla="*/ 22003 w 329"/>
                <a:gd name="T35" fmla="*/ 360362 h 421"/>
                <a:gd name="T36" fmla="*/ 19069 w 329"/>
                <a:gd name="T37" fmla="*/ 411162 h 421"/>
                <a:gd name="T38" fmla="*/ 2934 w 329"/>
                <a:gd name="T39" fmla="*/ 428625 h 421"/>
                <a:gd name="T40" fmla="*/ 5867 w 329"/>
                <a:gd name="T41" fmla="*/ 457200 h 421"/>
                <a:gd name="T42" fmla="*/ 19069 w 329"/>
                <a:gd name="T43" fmla="*/ 481012 h 421"/>
                <a:gd name="T44" fmla="*/ 67476 w 329"/>
                <a:gd name="T45" fmla="*/ 473075 h 421"/>
                <a:gd name="T46" fmla="*/ 67476 w 329"/>
                <a:gd name="T47" fmla="*/ 501650 h 421"/>
                <a:gd name="T48" fmla="*/ 41072 w 329"/>
                <a:gd name="T49" fmla="*/ 536575 h 421"/>
                <a:gd name="T50" fmla="*/ 32271 w 329"/>
                <a:gd name="T51" fmla="*/ 590550 h 421"/>
                <a:gd name="T52" fmla="*/ 27871 w 329"/>
                <a:gd name="T53" fmla="*/ 622300 h 421"/>
                <a:gd name="T54" fmla="*/ 48407 w 329"/>
                <a:gd name="T55" fmla="*/ 609600 h 421"/>
                <a:gd name="T56" fmla="*/ 64542 w 329"/>
                <a:gd name="T57" fmla="*/ 633412 h 421"/>
                <a:gd name="T58" fmla="*/ 111482 w 329"/>
                <a:gd name="T59" fmla="*/ 639762 h 421"/>
                <a:gd name="T60" fmla="*/ 130551 w 329"/>
                <a:gd name="T61" fmla="*/ 646112 h 421"/>
                <a:gd name="T62" fmla="*/ 140819 w 329"/>
                <a:gd name="T63" fmla="*/ 668337 h 421"/>
                <a:gd name="T64" fmla="*/ 162822 w 329"/>
                <a:gd name="T65" fmla="*/ 654050 h 421"/>
                <a:gd name="T66" fmla="*/ 173091 w 329"/>
                <a:gd name="T67" fmla="*/ 636587 h 421"/>
                <a:gd name="T68" fmla="*/ 211229 w 329"/>
                <a:gd name="T69" fmla="*/ 630237 h 421"/>
                <a:gd name="T70" fmla="*/ 220030 w 329"/>
                <a:gd name="T71" fmla="*/ 595312 h 421"/>
                <a:gd name="T72" fmla="*/ 242033 w 329"/>
                <a:gd name="T73" fmla="*/ 569912 h 421"/>
                <a:gd name="T74" fmla="*/ 306576 w 329"/>
                <a:gd name="T75" fmla="*/ 477837 h 421"/>
                <a:gd name="T76" fmla="*/ 338847 w 329"/>
                <a:gd name="T77" fmla="*/ 436562 h 421"/>
                <a:gd name="T78" fmla="*/ 393121 w 329"/>
                <a:gd name="T79" fmla="*/ 457200 h 421"/>
                <a:gd name="T80" fmla="*/ 412190 w 329"/>
                <a:gd name="T81" fmla="*/ 419100 h 421"/>
                <a:gd name="T82" fmla="*/ 434193 w 329"/>
                <a:gd name="T83" fmla="*/ 407987 h 421"/>
                <a:gd name="T84" fmla="*/ 422458 w 329"/>
                <a:gd name="T85" fmla="*/ 387350 h 421"/>
                <a:gd name="T86" fmla="*/ 406323 w 329"/>
                <a:gd name="T87" fmla="*/ 390525 h 421"/>
                <a:gd name="T88" fmla="*/ 371118 w 329"/>
                <a:gd name="T89" fmla="*/ 390525 h 421"/>
                <a:gd name="T90" fmla="*/ 335913 w 329"/>
                <a:gd name="T91" fmla="*/ 384175 h 421"/>
                <a:gd name="T92" fmla="*/ 306576 w 329"/>
                <a:gd name="T93" fmla="*/ 358775 h 421"/>
                <a:gd name="T94" fmla="*/ 274305 w 329"/>
                <a:gd name="T95" fmla="*/ 331787 h 421"/>
                <a:gd name="T96" fmla="*/ 281639 w 329"/>
                <a:gd name="T97" fmla="*/ 279400 h 421"/>
                <a:gd name="T98" fmla="*/ 309509 w 329"/>
                <a:gd name="T99" fmla="*/ 234950 h 421"/>
                <a:gd name="T100" fmla="*/ 330046 w 329"/>
                <a:gd name="T101" fmla="*/ 238125 h 421"/>
                <a:gd name="T102" fmla="*/ 354982 w 329"/>
                <a:gd name="T103" fmla="*/ 263525 h 421"/>
                <a:gd name="T104" fmla="*/ 347648 w 329"/>
                <a:gd name="T105" fmla="*/ 304800 h 421"/>
                <a:gd name="T106" fmla="*/ 393121 w 329"/>
                <a:gd name="T107" fmla="*/ 304800 h 421"/>
                <a:gd name="T108" fmla="*/ 406323 w 329"/>
                <a:gd name="T109" fmla="*/ 322262 h 421"/>
                <a:gd name="T110" fmla="*/ 428326 w 329"/>
                <a:gd name="T111" fmla="*/ 314325 h 421"/>
                <a:gd name="T112" fmla="*/ 444461 w 329"/>
                <a:gd name="T113" fmla="*/ 314325 h 421"/>
                <a:gd name="T114" fmla="*/ 460597 w 329"/>
                <a:gd name="T115" fmla="*/ 320675 h 421"/>
                <a:gd name="T116" fmla="*/ 466464 w 329"/>
                <a:gd name="T117" fmla="*/ 290512 h 421"/>
                <a:gd name="T118" fmla="*/ 482600 w 329"/>
                <a:gd name="T119" fmla="*/ 258762 h 42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29"/>
                <a:gd name="T181" fmla="*/ 0 h 421"/>
                <a:gd name="T182" fmla="*/ 329 w 329"/>
                <a:gd name="T183" fmla="*/ 421 h 42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29" h="421">
                  <a:moveTo>
                    <a:pt x="329" y="148"/>
                  </a:moveTo>
                  <a:lnTo>
                    <a:pt x="310" y="131"/>
                  </a:lnTo>
                  <a:lnTo>
                    <a:pt x="296" y="117"/>
                  </a:lnTo>
                  <a:lnTo>
                    <a:pt x="288" y="113"/>
                  </a:lnTo>
                  <a:lnTo>
                    <a:pt x="281" y="109"/>
                  </a:lnTo>
                  <a:lnTo>
                    <a:pt x="277" y="105"/>
                  </a:lnTo>
                  <a:lnTo>
                    <a:pt x="275" y="100"/>
                  </a:lnTo>
                  <a:lnTo>
                    <a:pt x="272" y="92"/>
                  </a:lnTo>
                  <a:lnTo>
                    <a:pt x="270" y="81"/>
                  </a:lnTo>
                  <a:lnTo>
                    <a:pt x="264" y="83"/>
                  </a:lnTo>
                  <a:lnTo>
                    <a:pt x="261" y="83"/>
                  </a:lnTo>
                  <a:lnTo>
                    <a:pt x="255" y="83"/>
                  </a:lnTo>
                  <a:lnTo>
                    <a:pt x="251" y="81"/>
                  </a:lnTo>
                  <a:lnTo>
                    <a:pt x="248" y="72"/>
                  </a:lnTo>
                  <a:lnTo>
                    <a:pt x="244" y="61"/>
                  </a:lnTo>
                  <a:lnTo>
                    <a:pt x="237" y="57"/>
                  </a:lnTo>
                  <a:lnTo>
                    <a:pt x="229" y="54"/>
                  </a:lnTo>
                  <a:lnTo>
                    <a:pt x="227" y="46"/>
                  </a:lnTo>
                  <a:lnTo>
                    <a:pt x="224" y="41"/>
                  </a:lnTo>
                  <a:lnTo>
                    <a:pt x="211" y="37"/>
                  </a:lnTo>
                  <a:lnTo>
                    <a:pt x="196" y="33"/>
                  </a:lnTo>
                  <a:lnTo>
                    <a:pt x="185" y="15"/>
                  </a:lnTo>
                  <a:lnTo>
                    <a:pt x="174" y="0"/>
                  </a:lnTo>
                  <a:lnTo>
                    <a:pt x="168" y="4"/>
                  </a:lnTo>
                  <a:lnTo>
                    <a:pt x="155" y="9"/>
                  </a:lnTo>
                  <a:lnTo>
                    <a:pt x="150" y="17"/>
                  </a:lnTo>
                  <a:lnTo>
                    <a:pt x="144" y="19"/>
                  </a:lnTo>
                  <a:lnTo>
                    <a:pt x="139" y="19"/>
                  </a:lnTo>
                  <a:lnTo>
                    <a:pt x="129" y="19"/>
                  </a:lnTo>
                  <a:lnTo>
                    <a:pt x="133" y="32"/>
                  </a:lnTo>
                  <a:lnTo>
                    <a:pt x="139" y="48"/>
                  </a:lnTo>
                  <a:lnTo>
                    <a:pt x="135" y="50"/>
                  </a:lnTo>
                  <a:lnTo>
                    <a:pt x="133" y="48"/>
                  </a:lnTo>
                  <a:lnTo>
                    <a:pt x="131" y="46"/>
                  </a:lnTo>
                  <a:lnTo>
                    <a:pt x="128" y="44"/>
                  </a:lnTo>
                  <a:lnTo>
                    <a:pt x="111" y="50"/>
                  </a:lnTo>
                  <a:lnTo>
                    <a:pt x="92" y="56"/>
                  </a:lnTo>
                  <a:lnTo>
                    <a:pt x="83" y="54"/>
                  </a:lnTo>
                  <a:lnTo>
                    <a:pt x="74" y="50"/>
                  </a:lnTo>
                  <a:lnTo>
                    <a:pt x="70" y="48"/>
                  </a:lnTo>
                  <a:lnTo>
                    <a:pt x="67" y="46"/>
                  </a:lnTo>
                  <a:lnTo>
                    <a:pt x="63" y="46"/>
                  </a:lnTo>
                  <a:lnTo>
                    <a:pt x="59" y="48"/>
                  </a:lnTo>
                  <a:lnTo>
                    <a:pt x="63" y="61"/>
                  </a:lnTo>
                  <a:lnTo>
                    <a:pt x="65" y="78"/>
                  </a:lnTo>
                  <a:lnTo>
                    <a:pt x="46" y="96"/>
                  </a:lnTo>
                  <a:lnTo>
                    <a:pt x="24" y="115"/>
                  </a:lnTo>
                  <a:lnTo>
                    <a:pt x="17" y="129"/>
                  </a:lnTo>
                  <a:lnTo>
                    <a:pt x="9" y="142"/>
                  </a:lnTo>
                  <a:lnTo>
                    <a:pt x="4" y="159"/>
                  </a:lnTo>
                  <a:lnTo>
                    <a:pt x="0" y="177"/>
                  </a:lnTo>
                  <a:lnTo>
                    <a:pt x="11" y="192"/>
                  </a:lnTo>
                  <a:lnTo>
                    <a:pt x="19" y="207"/>
                  </a:lnTo>
                  <a:lnTo>
                    <a:pt x="15" y="227"/>
                  </a:lnTo>
                  <a:lnTo>
                    <a:pt x="9" y="244"/>
                  </a:lnTo>
                  <a:lnTo>
                    <a:pt x="11" y="255"/>
                  </a:lnTo>
                  <a:lnTo>
                    <a:pt x="13" y="259"/>
                  </a:lnTo>
                  <a:lnTo>
                    <a:pt x="11" y="262"/>
                  </a:lnTo>
                  <a:lnTo>
                    <a:pt x="4" y="266"/>
                  </a:lnTo>
                  <a:lnTo>
                    <a:pt x="2" y="270"/>
                  </a:lnTo>
                  <a:lnTo>
                    <a:pt x="2" y="277"/>
                  </a:lnTo>
                  <a:lnTo>
                    <a:pt x="2" y="283"/>
                  </a:lnTo>
                  <a:lnTo>
                    <a:pt x="4" y="288"/>
                  </a:lnTo>
                  <a:lnTo>
                    <a:pt x="6" y="296"/>
                  </a:lnTo>
                  <a:lnTo>
                    <a:pt x="9" y="299"/>
                  </a:lnTo>
                  <a:lnTo>
                    <a:pt x="13" y="303"/>
                  </a:lnTo>
                  <a:lnTo>
                    <a:pt x="17" y="303"/>
                  </a:lnTo>
                  <a:lnTo>
                    <a:pt x="33" y="299"/>
                  </a:lnTo>
                  <a:lnTo>
                    <a:pt x="46" y="298"/>
                  </a:lnTo>
                  <a:lnTo>
                    <a:pt x="48" y="305"/>
                  </a:lnTo>
                  <a:lnTo>
                    <a:pt x="48" y="311"/>
                  </a:lnTo>
                  <a:lnTo>
                    <a:pt x="46" y="316"/>
                  </a:lnTo>
                  <a:lnTo>
                    <a:pt x="43" y="320"/>
                  </a:lnTo>
                  <a:lnTo>
                    <a:pt x="35" y="327"/>
                  </a:lnTo>
                  <a:lnTo>
                    <a:pt x="28" y="338"/>
                  </a:lnTo>
                  <a:lnTo>
                    <a:pt x="32" y="346"/>
                  </a:lnTo>
                  <a:lnTo>
                    <a:pt x="37" y="357"/>
                  </a:lnTo>
                  <a:lnTo>
                    <a:pt x="22" y="372"/>
                  </a:lnTo>
                  <a:lnTo>
                    <a:pt x="11" y="388"/>
                  </a:lnTo>
                  <a:lnTo>
                    <a:pt x="15" y="390"/>
                  </a:lnTo>
                  <a:lnTo>
                    <a:pt x="19" y="392"/>
                  </a:lnTo>
                  <a:lnTo>
                    <a:pt x="22" y="390"/>
                  </a:lnTo>
                  <a:lnTo>
                    <a:pt x="26" y="388"/>
                  </a:lnTo>
                  <a:lnTo>
                    <a:pt x="33" y="384"/>
                  </a:lnTo>
                  <a:lnTo>
                    <a:pt x="39" y="383"/>
                  </a:lnTo>
                  <a:lnTo>
                    <a:pt x="41" y="388"/>
                  </a:lnTo>
                  <a:lnTo>
                    <a:pt x="44" y="399"/>
                  </a:lnTo>
                  <a:lnTo>
                    <a:pt x="57" y="401"/>
                  </a:lnTo>
                  <a:lnTo>
                    <a:pt x="70" y="401"/>
                  </a:lnTo>
                  <a:lnTo>
                    <a:pt x="76" y="403"/>
                  </a:lnTo>
                  <a:lnTo>
                    <a:pt x="81" y="403"/>
                  </a:lnTo>
                  <a:lnTo>
                    <a:pt x="85" y="405"/>
                  </a:lnTo>
                  <a:lnTo>
                    <a:pt x="89" y="407"/>
                  </a:lnTo>
                  <a:lnTo>
                    <a:pt x="87" y="414"/>
                  </a:lnTo>
                  <a:lnTo>
                    <a:pt x="87" y="421"/>
                  </a:lnTo>
                  <a:lnTo>
                    <a:pt x="96" y="421"/>
                  </a:lnTo>
                  <a:lnTo>
                    <a:pt x="104" y="420"/>
                  </a:lnTo>
                  <a:lnTo>
                    <a:pt x="107" y="416"/>
                  </a:lnTo>
                  <a:lnTo>
                    <a:pt x="111" y="412"/>
                  </a:lnTo>
                  <a:lnTo>
                    <a:pt x="113" y="408"/>
                  </a:lnTo>
                  <a:lnTo>
                    <a:pt x="116" y="405"/>
                  </a:lnTo>
                  <a:lnTo>
                    <a:pt x="118" y="401"/>
                  </a:lnTo>
                  <a:lnTo>
                    <a:pt x="124" y="397"/>
                  </a:lnTo>
                  <a:lnTo>
                    <a:pt x="135" y="396"/>
                  </a:lnTo>
                  <a:lnTo>
                    <a:pt x="144" y="397"/>
                  </a:lnTo>
                  <a:lnTo>
                    <a:pt x="146" y="384"/>
                  </a:lnTo>
                  <a:lnTo>
                    <a:pt x="150" y="375"/>
                  </a:lnTo>
                  <a:lnTo>
                    <a:pt x="153" y="370"/>
                  </a:lnTo>
                  <a:lnTo>
                    <a:pt x="157" y="364"/>
                  </a:lnTo>
                  <a:lnTo>
                    <a:pt x="165" y="359"/>
                  </a:lnTo>
                  <a:lnTo>
                    <a:pt x="172" y="351"/>
                  </a:lnTo>
                  <a:lnTo>
                    <a:pt x="192" y="323"/>
                  </a:lnTo>
                  <a:lnTo>
                    <a:pt x="209" y="301"/>
                  </a:lnTo>
                  <a:lnTo>
                    <a:pt x="214" y="285"/>
                  </a:lnTo>
                  <a:lnTo>
                    <a:pt x="218" y="275"/>
                  </a:lnTo>
                  <a:lnTo>
                    <a:pt x="231" y="275"/>
                  </a:lnTo>
                  <a:lnTo>
                    <a:pt x="248" y="279"/>
                  </a:lnTo>
                  <a:lnTo>
                    <a:pt x="259" y="285"/>
                  </a:lnTo>
                  <a:lnTo>
                    <a:pt x="268" y="288"/>
                  </a:lnTo>
                  <a:lnTo>
                    <a:pt x="272" y="279"/>
                  </a:lnTo>
                  <a:lnTo>
                    <a:pt x="275" y="268"/>
                  </a:lnTo>
                  <a:lnTo>
                    <a:pt x="281" y="264"/>
                  </a:lnTo>
                  <a:lnTo>
                    <a:pt x="290" y="262"/>
                  </a:lnTo>
                  <a:lnTo>
                    <a:pt x="294" y="261"/>
                  </a:lnTo>
                  <a:lnTo>
                    <a:pt x="296" y="257"/>
                  </a:lnTo>
                  <a:lnTo>
                    <a:pt x="296" y="253"/>
                  </a:lnTo>
                  <a:lnTo>
                    <a:pt x="292" y="246"/>
                  </a:lnTo>
                  <a:lnTo>
                    <a:pt x="288" y="244"/>
                  </a:lnTo>
                  <a:lnTo>
                    <a:pt x="285" y="244"/>
                  </a:lnTo>
                  <a:lnTo>
                    <a:pt x="281" y="244"/>
                  </a:lnTo>
                  <a:lnTo>
                    <a:pt x="277" y="246"/>
                  </a:lnTo>
                  <a:lnTo>
                    <a:pt x="272" y="248"/>
                  </a:lnTo>
                  <a:lnTo>
                    <a:pt x="264" y="250"/>
                  </a:lnTo>
                  <a:lnTo>
                    <a:pt x="253" y="246"/>
                  </a:lnTo>
                  <a:lnTo>
                    <a:pt x="244" y="240"/>
                  </a:lnTo>
                  <a:lnTo>
                    <a:pt x="237" y="242"/>
                  </a:lnTo>
                  <a:lnTo>
                    <a:pt x="229" y="242"/>
                  </a:lnTo>
                  <a:lnTo>
                    <a:pt x="224" y="233"/>
                  </a:lnTo>
                  <a:lnTo>
                    <a:pt x="218" y="224"/>
                  </a:lnTo>
                  <a:lnTo>
                    <a:pt x="209" y="226"/>
                  </a:lnTo>
                  <a:lnTo>
                    <a:pt x="198" y="226"/>
                  </a:lnTo>
                  <a:lnTo>
                    <a:pt x="190" y="218"/>
                  </a:lnTo>
                  <a:lnTo>
                    <a:pt x="187" y="209"/>
                  </a:lnTo>
                  <a:lnTo>
                    <a:pt x="187" y="198"/>
                  </a:lnTo>
                  <a:lnTo>
                    <a:pt x="189" y="187"/>
                  </a:lnTo>
                  <a:lnTo>
                    <a:pt x="192" y="176"/>
                  </a:lnTo>
                  <a:lnTo>
                    <a:pt x="198" y="165"/>
                  </a:lnTo>
                  <a:lnTo>
                    <a:pt x="205" y="153"/>
                  </a:lnTo>
                  <a:lnTo>
                    <a:pt x="211" y="148"/>
                  </a:lnTo>
                  <a:lnTo>
                    <a:pt x="216" y="148"/>
                  </a:lnTo>
                  <a:lnTo>
                    <a:pt x="222" y="148"/>
                  </a:lnTo>
                  <a:lnTo>
                    <a:pt x="225" y="150"/>
                  </a:lnTo>
                  <a:lnTo>
                    <a:pt x="229" y="152"/>
                  </a:lnTo>
                  <a:lnTo>
                    <a:pt x="237" y="157"/>
                  </a:lnTo>
                  <a:lnTo>
                    <a:pt x="242" y="166"/>
                  </a:lnTo>
                  <a:lnTo>
                    <a:pt x="237" y="181"/>
                  </a:lnTo>
                  <a:lnTo>
                    <a:pt x="229" y="190"/>
                  </a:lnTo>
                  <a:lnTo>
                    <a:pt x="237" y="192"/>
                  </a:lnTo>
                  <a:lnTo>
                    <a:pt x="249" y="190"/>
                  </a:lnTo>
                  <a:lnTo>
                    <a:pt x="261" y="190"/>
                  </a:lnTo>
                  <a:lnTo>
                    <a:pt x="268" y="192"/>
                  </a:lnTo>
                  <a:lnTo>
                    <a:pt x="273" y="194"/>
                  </a:lnTo>
                  <a:lnTo>
                    <a:pt x="275" y="198"/>
                  </a:lnTo>
                  <a:lnTo>
                    <a:pt x="277" y="203"/>
                  </a:lnTo>
                  <a:lnTo>
                    <a:pt x="283" y="205"/>
                  </a:lnTo>
                  <a:lnTo>
                    <a:pt x="288" y="203"/>
                  </a:lnTo>
                  <a:lnTo>
                    <a:pt x="292" y="198"/>
                  </a:lnTo>
                  <a:lnTo>
                    <a:pt x="296" y="196"/>
                  </a:lnTo>
                  <a:lnTo>
                    <a:pt x="299" y="196"/>
                  </a:lnTo>
                  <a:lnTo>
                    <a:pt x="303" y="198"/>
                  </a:lnTo>
                  <a:lnTo>
                    <a:pt x="307" y="200"/>
                  </a:lnTo>
                  <a:lnTo>
                    <a:pt x="310" y="202"/>
                  </a:lnTo>
                  <a:lnTo>
                    <a:pt x="314" y="202"/>
                  </a:lnTo>
                  <a:lnTo>
                    <a:pt x="318" y="200"/>
                  </a:lnTo>
                  <a:lnTo>
                    <a:pt x="322" y="196"/>
                  </a:lnTo>
                  <a:lnTo>
                    <a:pt x="318" y="183"/>
                  </a:lnTo>
                  <a:lnTo>
                    <a:pt x="312" y="174"/>
                  </a:lnTo>
                  <a:lnTo>
                    <a:pt x="320" y="166"/>
                  </a:lnTo>
                  <a:lnTo>
                    <a:pt x="329" y="163"/>
                  </a:lnTo>
                  <a:lnTo>
                    <a:pt x="329" y="155"/>
                  </a:lnTo>
                  <a:lnTo>
                    <a:pt x="329" y="148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76" name="Freeform 74"/>
            <p:cNvSpPr>
              <a:spLocks/>
            </p:cNvSpPr>
            <p:nvPr/>
          </p:nvSpPr>
          <p:spPr bwMode="auto">
            <a:xfrm>
              <a:off x="2902844" y="3296665"/>
              <a:ext cx="686915" cy="792304"/>
            </a:xfrm>
            <a:custGeom>
              <a:avLst/>
              <a:gdLst>
                <a:gd name="T0" fmla="*/ 327126 w 395"/>
                <a:gd name="T1" fmla="*/ 33338 h 421"/>
                <a:gd name="T2" fmla="*/ 259647 w 395"/>
                <a:gd name="T3" fmla="*/ 44450 h 421"/>
                <a:gd name="T4" fmla="*/ 243511 w 395"/>
                <a:gd name="T5" fmla="*/ 65088 h 421"/>
                <a:gd name="T6" fmla="*/ 253779 w 395"/>
                <a:gd name="T7" fmla="*/ 96838 h 421"/>
                <a:gd name="T8" fmla="*/ 250845 w 395"/>
                <a:gd name="T9" fmla="*/ 131763 h 421"/>
                <a:gd name="T10" fmla="*/ 218573 w 395"/>
                <a:gd name="T11" fmla="*/ 185738 h 421"/>
                <a:gd name="T12" fmla="*/ 202437 w 395"/>
                <a:gd name="T13" fmla="*/ 207963 h 421"/>
                <a:gd name="T14" fmla="*/ 126156 w 395"/>
                <a:gd name="T15" fmla="*/ 207963 h 421"/>
                <a:gd name="T16" fmla="*/ 86549 w 395"/>
                <a:gd name="T17" fmla="*/ 234950 h 421"/>
                <a:gd name="T18" fmla="*/ 74814 w 395"/>
                <a:gd name="T19" fmla="*/ 328613 h 421"/>
                <a:gd name="T20" fmla="*/ 0 w 395"/>
                <a:gd name="T21" fmla="*/ 360363 h 421"/>
                <a:gd name="T22" fmla="*/ 55743 w 395"/>
                <a:gd name="T23" fmla="*/ 419100 h 421"/>
                <a:gd name="T24" fmla="*/ 107086 w 395"/>
                <a:gd name="T25" fmla="*/ 431800 h 421"/>
                <a:gd name="T26" fmla="*/ 134958 w 395"/>
                <a:gd name="T27" fmla="*/ 452438 h 421"/>
                <a:gd name="T28" fmla="*/ 132024 w 395"/>
                <a:gd name="T29" fmla="*/ 542925 h 421"/>
                <a:gd name="T30" fmla="*/ 132024 w 395"/>
                <a:gd name="T31" fmla="*/ 598488 h 421"/>
                <a:gd name="T32" fmla="*/ 134958 w 395"/>
                <a:gd name="T33" fmla="*/ 657225 h 421"/>
                <a:gd name="T34" fmla="*/ 167230 w 395"/>
                <a:gd name="T35" fmla="*/ 666750 h 421"/>
                <a:gd name="T36" fmla="*/ 170164 w 395"/>
                <a:gd name="T37" fmla="*/ 615950 h 421"/>
                <a:gd name="T38" fmla="*/ 218573 w 395"/>
                <a:gd name="T39" fmla="*/ 612775 h 421"/>
                <a:gd name="T40" fmla="*/ 221507 w 395"/>
                <a:gd name="T41" fmla="*/ 574675 h 421"/>
                <a:gd name="T42" fmla="*/ 243511 w 395"/>
                <a:gd name="T43" fmla="*/ 533400 h 421"/>
                <a:gd name="T44" fmla="*/ 262581 w 395"/>
                <a:gd name="T45" fmla="*/ 557213 h 421"/>
                <a:gd name="T46" fmla="*/ 310990 w 395"/>
                <a:gd name="T47" fmla="*/ 533400 h 421"/>
                <a:gd name="T48" fmla="*/ 332993 w 395"/>
                <a:gd name="T49" fmla="*/ 477838 h 421"/>
                <a:gd name="T50" fmla="*/ 390204 w 395"/>
                <a:gd name="T51" fmla="*/ 469900 h 421"/>
                <a:gd name="T52" fmla="*/ 432745 w 395"/>
                <a:gd name="T53" fmla="*/ 493713 h 421"/>
                <a:gd name="T54" fmla="*/ 445947 w 395"/>
                <a:gd name="T55" fmla="*/ 539750 h 421"/>
                <a:gd name="T56" fmla="*/ 484087 w 395"/>
                <a:gd name="T57" fmla="*/ 531813 h 421"/>
                <a:gd name="T58" fmla="*/ 484087 w 395"/>
                <a:gd name="T59" fmla="*/ 531813 h 421"/>
                <a:gd name="T60" fmla="*/ 481154 w 395"/>
                <a:gd name="T61" fmla="*/ 525463 h 421"/>
                <a:gd name="T62" fmla="*/ 481154 w 395"/>
                <a:gd name="T63" fmla="*/ 514350 h 421"/>
                <a:gd name="T64" fmla="*/ 481154 w 395"/>
                <a:gd name="T65" fmla="*/ 508000 h 421"/>
                <a:gd name="T66" fmla="*/ 481154 w 395"/>
                <a:gd name="T67" fmla="*/ 508000 h 421"/>
                <a:gd name="T68" fmla="*/ 481154 w 395"/>
                <a:gd name="T69" fmla="*/ 504825 h 421"/>
                <a:gd name="T70" fmla="*/ 481154 w 395"/>
                <a:gd name="T71" fmla="*/ 501650 h 421"/>
                <a:gd name="T72" fmla="*/ 481154 w 395"/>
                <a:gd name="T73" fmla="*/ 498475 h 421"/>
                <a:gd name="T74" fmla="*/ 492889 w 395"/>
                <a:gd name="T75" fmla="*/ 487363 h 421"/>
                <a:gd name="T76" fmla="*/ 506091 w 395"/>
                <a:gd name="T77" fmla="*/ 481013 h 421"/>
                <a:gd name="T78" fmla="*/ 506091 w 395"/>
                <a:gd name="T79" fmla="*/ 481013 h 421"/>
                <a:gd name="T80" fmla="*/ 506091 w 395"/>
                <a:gd name="T81" fmla="*/ 481013 h 421"/>
                <a:gd name="T82" fmla="*/ 509025 w 395"/>
                <a:gd name="T83" fmla="*/ 473075 h 421"/>
                <a:gd name="T84" fmla="*/ 495823 w 395"/>
                <a:gd name="T85" fmla="*/ 442913 h 421"/>
                <a:gd name="T86" fmla="*/ 541298 w 395"/>
                <a:gd name="T87" fmla="*/ 404813 h 421"/>
                <a:gd name="T88" fmla="*/ 579438 w 395"/>
                <a:gd name="T89" fmla="*/ 373063 h 421"/>
                <a:gd name="T90" fmla="*/ 551566 w 395"/>
                <a:gd name="T91" fmla="*/ 331788 h 421"/>
                <a:gd name="T92" fmla="*/ 522228 w 395"/>
                <a:gd name="T93" fmla="*/ 282575 h 421"/>
                <a:gd name="T94" fmla="*/ 465017 w 395"/>
                <a:gd name="T95" fmla="*/ 304800 h 421"/>
                <a:gd name="T96" fmla="*/ 457683 w 395"/>
                <a:gd name="T97" fmla="*/ 276225 h 421"/>
                <a:gd name="T98" fmla="*/ 368200 w 395"/>
                <a:gd name="T99" fmla="*/ 255588 h 421"/>
                <a:gd name="T100" fmla="*/ 343262 w 395"/>
                <a:gd name="T101" fmla="*/ 290513 h 421"/>
                <a:gd name="T102" fmla="*/ 313923 w 395"/>
                <a:gd name="T103" fmla="*/ 258763 h 421"/>
                <a:gd name="T104" fmla="*/ 300721 w 395"/>
                <a:gd name="T105" fmla="*/ 190500 h 421"/>
                <a:gd name="T106" fmla="*/ 352064 w 395"/>
                <a:gd name="T107" fmla="*/ 144463 h 421"/>
                <a:gd name="T108" fmla="*/ 397539 w 395"/>
                <a:gd name="T109" fmla="*/ 65088 h 421"/>
                <a:gd name="T110" fmla="*/ 390204 w 395"/>
                <a:gd name="T111" fmla="*/ 41275 h 421"/>
                <a:gd name="T112" fmla="*/ 371134 w 395"/>
                <a:gd name="T113" fmla="*/ 0 h 421"/>
                <a:gd name="T114" fmla="*/ 352064 w 395"/>
                <a:gd name="T115" fmla="*/ 6350 h 4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95"/>
                <a:gd name="T175" fmla="*/ 0 h 421"/>
                <a:gd name="T176" fmla="*/ 395 w 395"/>
                <a:gd name="T177" fmla="*/ 421 h 4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95" h="421">
                  <a:moveTo>
                    <a:pt x="240" y="4"/>
                  </a:moveTo>
                  <a:lnTo>
                    <a:pt x="238" y="9"/>
                  </a:lnTo>
                  <a:lnTo>
                    <a:pt x="234" y="13"/>
                  </a:lnTo>
                  <a:lnTo>
                    <a:pt x="229" y="17"/>
                  </a:lnTo>
                  <a:lnTo>
                    <a:pt x="223" y="21"/>
                  </a:lnTo>
                  <a:lnTo>
                    <a:pt x="208" y="26"/>
                  </a:lnTo>
                  <a:lnTo>
                    <a:pt x="197" y="28"/>
                  </a:lnTo>
                  <a:lnTo>
                    <a:pt x="188" y="30"/>
                  </a:lnTo>
                  <a:lnTo>
                    <a:pt x="182" y="28"/>
                  </a:lnTo>
                  <a:lnTo>
                    <a:pt x="177" y="28"/>
                  </a:lnTo>
                  <a:lnTo>
                    <a:pt x="171" y="26"/>
                  </a:lnTo>
                  <a:lnTo>
                    <a:pt x="169" y="26"/>
                  </a:lnTo>
                  <a:lnTo>
                    <a:pt x="166" y="30"/>
                  </a:lnTo>
                  <a:lnTo>
                    <a:pt x="164" y="35"/>
                  </a:lnTo>
                  <a:lnTo>
                    <a:pt x="166" y="41"/>
                  </a:lnTo>
                  <a:lnTo>
                    <a:pt x="168" y="45"/>
                  </a:lnTo>
                  <a:lnTo>
                    <a:pt x="169" y="46"/>
                  </a:lnTo>
                  <a:lnTo>
                    <a:pt x="173" y="52"/>
                  </a:lnTo>
                  <a:lnTo>
                    <a:pt x="177" y="57"/>
                  </a:lnTo>
                  <a:lnTo>
                    <a:pt x="173" y="61"/>
                  </a:lnTo>
                  <a:lnTo>
                    <a:pt x="169" y="65"/>
                  </a:lnTo>
                  <a:lnTo>
                    <a:pt x="171" y="69"/>
                  </a:lnTo>
                  <a:lnTo>
                    <a:pt x="173" y="72"/>
                  </a:lnTo>
                  <a:lnTo>
                    <a:pt x="173" y="78"/>
                  </a:lnTo>
                  <a:lnTo>
                    <a:pt x="171" y="83"/>
                  </a:lnTo>
                  <a:lnTo>
                    <a:pt x="162" y="89"/>
                  </a:lnTo>
                  <a:lnTo>
                    <a:pt x="155" y="94"/>
                  </a:lnTo>
                  <a:lnTo>
                    <a:pt x="149" y="100"/>
                  </a:lnTo>
                  <a:lnTo>
                    <a:pt x="149" y="107"/>
                  </a:lnTo>
                  <a:lnTo>
                    <a:pt x="149" y="117"/>
                  </a:lnTo>
                  <a:lnTo>
                    <a:pt x="149" y="126"/>
                  </a:lnTo>
                  <a:lnTo>
                    <a:pt x="147" y="131"/>
                  </a:lnTo>
                  <a:lnTo>
                    <a:pt x="145" y="133"/>
                  </a:lnTo>
                  <a:lnTo>
                    <a:pt x="144" y="133"/>
                  </a:lnTo>
                  <a:lnTo>
                    <a:pt x="138" y="131"/>
                  </a:lnTo>
                  <a:lnTo>
                    <a:pt x="133" y="131"/>
                  </a:lnTo>
                  <a:lnTo>
                    <a:pt x="123" y="130"/>
                  </a:lnTo>
                  <a:lnTo>
                    <a:pt x="112" y="131"/>
                  </a:lnTo>
                  <a:lnTo>
                    <a:pt x="97" y="135"/>
                  </a:lnTo>
                  <a:lnTo>
                    <a:pt x="86" y="131"/>
                  </a:lnTo>
                  <a:lnTo>
                    <a:pt x="79" y="131"/>
                  </a:lnTo>
                  <a:lnTo>
                    <a:pt x="75" y="135"/>
                  </a:lnTo>
                  <a:lnTo>
                    <a:pt x="70" y="139"/>
                  </a:lnTo>
                  <a:lnTo>
                    <a:pt x="62" y="144"/>
                  </a:lnTo>
                  <a:lnTo>
                    <a:pt x="59" y="148"/>
                  </a:lnTo>
                  <a:lnTo>
                    <a:pt x="68" y="168"/>
                  </a:lnTo>
                  <a:lnTo>
                    <a:pt x="75" y="198"/>
                  </a:lnTo>
                  <a:lnTo>
                    <a:pt x="66" y="200"/>
                  </a:lnTo>
                  <a:lnTo>
                    <a:pt x="57" y="202"/>
                  </a:lnTo>
                  <a:lnTo>
                    <a:pt x="51" y="207"/>
                  </a:lnTo>
                  <a:lnTo>
                    <a:pt x="46" y="209"/>
                  </a:lnTo>
                  <a:lnTo>
                    <a:pt x="35" y="200"/>
                  </a:lnTo>
                  <a:lnTo>
                    <a:pt x="25" y="194"/>
                  </a:lnTo>
                  <a:lnTo>
                    <a:pt x="16" y="207"/>
                  </a:lnTo>
                  <a:lnTo>
                    <a:pt x="0" y="227"/>
                  </a:lnTo>
                  <a:lnTo>
                    <a:pt x="7" y="239"/>
                  </a:lnTo>
                  <a:lnTo>
                    <a:pt x="16" y="248"/>
                  </a:lnTo>
                  <a:lnTo>
                    <a:pt x="24" y="255"/>
                  </a:lnTo>
                  <a:lnTo>
                    <a:pt x="31" y="261"/>
                  </a:lnTo>
                  <a:lnTo>
                    <a:pt x="38" y="264"/>
                  </a:lnTo>
                  <a:lnTo>
                    <a:pt x="46" y="266"/>
                  </a:lnTo>
                  <a:lnTo>
                    <a:pt x="53" y="266"/>
                  </a:lnTo>
                  <a:lnTo>
                    <a:pt x="60" y="266"/>
                  </a:lnTo>
                  <a:lnTo>
                    <a:pt x="68" y="268"/>
                  </a:lnTo>
                  <a:lnTo>
                    <a:pt x="73" y="272"/>
                  </a:lnTo>
                  <a:lnTo>
                    <a:pt x="77" y="277"/>
                  </a:lnTo>
                  <a:lnTo>
                    <a:pt x="81" y="285"/>
                  </a:lnTo>
                  <a:lnTo>
                    <a:pt x="86" y="279"/>
                  </a:lnTo>
                  <a:lnTo>
                    <a:pt x="92" y="276"/>
                  </a:lnTo>
                  <a:lnTo>
                    <a:pt x="92" y="285"/>
                  </a:lnTo>
                  <a:lnTo>
                    <a:pt x="88" y="296"/>
                  </a:lnTo>
                  <a:lnTo>
                    <a:pt x="92" y="300"/>
                  </a:lnTo>
                  <a:lnTo>
                    <a:pt x="96" y="307"/>
                  </a:lnTo>
                  <a:lnTo>
                    <a:pt x="94" y="324"/>
                  </a:lnTo>
                  <a:lnTo>
                    <a:pt x="90" y="342"/>
                  </a:lnTo>
                  <a:lnTo>
                    <a:pt x="92" y="351"/>
                  </a:lnTo>
                  <a:lnTo>
                    <a:pt x="96" y="361"/>
                  </a:lnTo>
                  <a:lnTo>
                    <a:pt x="94" y="368"/>
                  </a:lnTo>
                  <a:lnTo>
                    <a:pt x="92" y="373"/>
                  </a:lnTo>
                  <a:lnTo>
                    <a:pt x="90" y="377"/>
                  </a:lnTo>
                  <a:lnTo>
                    <a:pt x="90" y="381"/>
                  </a:lnTo>
                  <a:lnTo>
                    <a:pt x="92" y="388"/>
                  </a:lnTo>
                  <a:lnTo>
                    <a:pt x="94" y="396"/>
                  </a:lnTo>
                  <a:lnTo>
                    <a:pt x="92" y="407"/>
                  </a:lnTo>
                  <a:lnTo>
                    <a:pt x="92" y="414"/>
                  </a:lnTo>
                  <a:lnTo>
                    <a:pt x="96" y="418"/>
                  </a:lnTo>
                  <a:lnTo>
                    <a:pt x="103" y="421"/>
                  </a:lnTo>
                  <a:lnTo>
                    <a:pt x="107" y="421"/>
                  </a:lnTo>
                  <a:lnTo>
                    <a:pt x="110" y="421"/>
                  </a:lnTo>
                  <a:lnTo>
                    <a:pt x="114" y="420"/>
                  </a:lnTo>
                  <a:lnTo>
                    <a:pt x="116" y="416"/>
                  </a:lnTo>
                  <a:lnTo>
                    <a:pt x="118" y="412"/>
                  </a:lnTo>
                  <a:lnTo>
                    <a:pt x="120" y="407"/>
                  </a:lnTo>
                  <a:lnTo>
                    <a:pt x="118" y="399"/>
                  </a:lnTo>
                  <a:lnTo>
                    <a:pt x="116" y="388"/>
                  </a:lnTo>
                  <a:lnTo>
                    <a:pt x="121" y="388"/>
                  </a:lnTo>
                  <a:lnTo>
                    <a:pt x="129" y="390"/>
                  </a:lnTo>
                  <a:lnTo>
                    <a:pt x="136" y="390"/>
                  </a:lnTo>
                  <a:lnTo>
                    <a:pt x="144" y="388"/>
                  </a:lnTo>
                  <a:lnTo>
                    <a:pt x="149" y="386"/>
                  </a:lnTo>
                  <a:lnTo>
                    <a:pt x="153" y="385"/>
                  </a:lnTo>
                  <a:lnTo>
                    <a:pt x="155" y="379"/>
                  </a:lnTo>
                  <a:lnTo>
                    <a:pt x="155" y="373"/>
                  </a:lnTo>
                  <a:lnTo>
                    <a:pt x="153" y="368"/>
                  </a:lnTo>
                  <a:lnTo>
                    <a:pt x="151" y="362"/>
                  </a:lnTo>
                  <a:lnTo>
                    <a:pt x="151" y="357"/>
                  </a:lnTo>
                  <a:lnTo>
                    <a:pt x="151" y="351"/>
                  </a:lnTo>
                  <a:lnTo>
                    <a:pt x="155" y="346"/>
                  </a:lnTo>
                  <a:lnTo>
                    <a:pt x="160" y="340"/>
                  </a:lnTo>
                  <a:lnTo>
                    <a:pt x="166" y="336"/>
                  </a:lnTo>
                  <a:lnTo>
                    <a:pt x="169" y="338"/>
                  </a:lnTo>
                  <a:lnTo>
                    <a:pt x="171" y="340"/>
                  </a:lnTo>
                  <a:lnTo>
                    <a:pt x="173" y="344"/>
                  </a:lnTo>
                  <a:lnTo>
                    <a:pt x="177" y="348"/>
                  </a:lnTo>
                  <a:lnTo>
                    <a:pt x="179" y="351"/>
                  </a:lnTo>
                  <a:lnTo>
                    <a:pt x="184" y="353"/>
                  </a:lnTo>
                  <a:lnTo>
                    <a:pt x="190" y="353"/>
                  </a:lnTo>
                  <a:lnTo>
                    <a:pt x="201" y="349"/>
                  </a:lnTo>
                  <a:lnTo>
                    <a:pt x="206" y="344"/>
                  </a:lnTo>
                  <a:lnTo>
                    <a:pt x="212" y="336"/>
                  </a:lnTo>
                  <a:lnTo>
                    <a:pt x="214" y="329"/>
                  </a:lnTo>
                  <a:lnTo>
                    <a:pt x="216" y="324"/>
                  </a:lnTo>
                  <a:lnTo>
                    <a:pt x="218" y="316"/>
                  </a:lnTo>
                  <a:lnTo>
                    <a:pt x="221" y="307"/>
                  </a:lnTo>
                  <a:lnTo>
                    <a:pt x="227" y="301"/>
                  </a:lnTo>
                  <a:lnTo>
                    <a:pt x="238" y="294"/>
                  </a:lnTo>
                  <a:lnTo>
                    <a:pt x="253" y="288"/>
                  </a:lnTo>
                  <a:lnTo>
                    <a:pt x="258" y="288"/>
                  </a:lnTo>
                  <a:lnTo>
                    <a:pt x="262" y="292"/>
                  </a:lnTo>
                  <a:lnTo>
                    <a:pt x="266" y="296"/>
                  </a:lnTo>
                  <a:lnTo>
                    <a:pt x="267" y="300"/>
                  </a:lnTo>
                  <a:lnTo>
                    <a:pt x="269" y="311"/>
                  </a:lnTo>
                  <a:lnTo>
                    <a:pt x="273" y="316"/>
                  </a:lnTo>
                  <a:lnTo>
                    <a:pt x="286" y="314"/>
                  </a:lnTo>
                  <a:lnTo>
                    <a:pt x="295" y="311"/>
                  </a:lnTo>
                  <a:lnTo>
                    <a:pt x="295" y="320"/>
                  </a:lnTo>
                  <a:lnTo>
                    <a:pt x="297" y="327"/>
                  </a:lnTo>
                  <a:lnTo>
                    <a:pt x="299" y="333"/>
                  </a:lnTo>
                  <a:lnTo>
                    <a:pt x="301" y="336"/>
                  </a:lnTo>
                  <a:lnTo>
                    <a:pt x="304" y="340"/>
                  </a:lnTo>
                  <a:lnTo>
                    <a:pt x="308" y="340"/>
                  </a:lnTo>
                  <a:lnTo>
                    <a:pt x="312" y="342"/>
                  </a:lnTo>
                  <a:lnTo>
                    <a:pt x="317" y="340"/>
                  </a:lnTo>
                  <a:lnTo>
                    <a:pt x="323" y="336"/>
                  </a:lnTo>
                  <a:lnTo>
                    <a:pt x="330" y="335"/>
                  </a:lnTo>
                  <a:lnTo>
                    <a:pt x="328" y="333"/>
                  </a:lnTo>
                  <a:lnTo>
                    <a:pt x="328" y="331"/>
                  </a:lnTo>
                  <a:lnTo>
                    <a:pt x="328" y="327"/>
                  </a:lnTo>
                  <a:lnTo>
                    <a:pt x="328" y="324"/>
                  </a:lnTo>
                  <a:lnTo>
                    <a:pt x="328" y="322"/>
                  </a:lnTo>
                  <a:lnTo>
                    <a:pt x="328" y="320"/>
                  </a:lnTo>
                  <a:lnTo>
                    <a:pt x="328" y="318"/>
                  </a:lnTo>
                  <a:lnTo>
                    <a:pt x="328" y="316"/>
                  </a:lnTo>
                  <a:lnTo>
                    <a:pt x="328" y="314"/>
                  </a:lnTo>
                  <a:lnTo>
                    <a:pt x="330" y="314"/>
                  </a:lnTo>
                  <a:lnTo>
                    <a:pt x="330" y="312"/>
                  </a:lnTo>
                  <a:lnTo>
                    <a:pt x="336" y="307"/>
                  </a:lnTo>
                  <a:lnTo>
                    <a:pt x="345" y="303"/>
                  </a:lnTo>
                  <a:lnTo>
                    <a:pt x="345" y="301"/>
                  </a:lnTo>
                  <a:lnTo>
                    <a:pt x="347" y="298"/>
                  </a:lnTo>
                  <a:lnTo>
                    <a:pt x="345" y="294"/>
                  </a:lnTo>
                  <a:lnTo>
                    <a:pt x="343" y="290"/>
                  </a:lnTo>
                  <a:lnTo>
                    <a:pt x="341" y="287"/>
                  </a:lnTo>
                  <a:lnTo>
                    <a:pt x="338" y="283"/>
                  </a:lnTo>
                  <a:lnTo>
                    <a:pt x="338" y="279"/>
                  </a:lnTo>
                  <a:lnTo>
                    <a:pt x="339" y="274"/>
                  </a:lnTo>
                  <a:lnTo>
                    <a:pt x="345" y="266"/>
                  </a:lnTo>
                  <a:lnTo>
                    <a:pt x="352" y="259"/>
                  </a:lnTo>
                  <a:lnTo>
                    <a:pt x="362" y="255"/>
                  </a:lnTo>
                  <a:lnTo>
                    <a:pt x="369" y="255"/>
                  </a:lnTo>
                  <a:lnTo>
                    <a:pt x="375" y="255"/>
                  </a:lnTo>
                  <a:lnTo>
                    <a:pt x="380" y="255"/>
                  </a:lnTo>
                  <a:lnTo>
                    <a:pt x="386" y="253"/>
                  </a:lnTo>
                  <a:lnTo>
                    <a:pt x="391" y="248"/>
                  </a:lnTo>
                  <a:lnTo>
                    <a:pt x="395" y="235"/>
                  </a:lnTo>
                  <a:lnTo>
                    <a:pt x="395" y="227"/>
                  </a:lnTo>
                  <a:lnTo>
                    <a:pt x="393" y="222"/>
                  </a:lnTo>
                  <a:lnTo>
                    <a:pt x="389" y="218"/>
                  </a:lnTo>
                  <a:lnTo>
                    <a:pt x="382" y="215"/>
                  </a:lnTo>
                  <a:lnTo>
                    <a:pt x="376" y="209"/>
                  </a:lnTo>
                  <a:lnTo>
                    <a:pt x="371" y="203"/>
                  </a:lnTo>
                  <a:lnTo>
                    <a:pt x="365" y="196"/>
                  </a:lnTo>
                  <a:lnTo>
                    <a:pt x="363" y="187"/>
                  </a:lnTo>
                  <a:lnTo>
                    <a:pt x="360" y="183"/>
                  </a:lnTo>
                  <a:lnTo>
                    <a:pt x="356" y="178"/>
                  </a:lnTo>
                  <a:lnTo>
                    <a:pt x="352" y="176"/>
                  </a:lnTo>
                  <a:lnTo>
                    <a:pt x="347" y="176"/>
                  </a:lnTo>
                  <a:lnTo>
                    <a:pt x="334" y="185"/>
                  </a:lnTo>
                  <a:lnTo>
                    <a:pt x="321" y="192"/>
                  </a:lnTo>
                  <a:lnTo>
                    <a:pt x="317" y="192"/>
                  </a:lnTo>
                  <a:lnTo>
                    <a:pt x="315" y="189"/>
                  </a:lnTo>
                  <a:lnTo>
                    <a:pt x="314" y="187"/>
                  </a:lnTo>
                  <a:lnTo>
                    <a:pt x="314" y="185"/>
                  </a:lnTo>
                  <a:lnTo>
                    <a:pt x="315" y="179"/>
                  </a:lnTo>
                  <a:lnTo>
                    <a:pt x="312" y="174"/>
                  </a:lnTo>
                  <a:lnTo>
                    <a:pt x="299" y="170"/>
                  </a:lnTo>
                  <a:lnTo>
                    <a:pt x="284" y="168"/>
                  </a:lnTo>
                  <a:lnTo>
                    <a:pt x="273" y="165"/>
                  </a:lnTo>
                  <a:lnTo>
                    <a:pt x="260" y="163"/>
                  </a:lnTo>
                  <a:lnTo>
                    <a:pt x="251" y="161"/>
                  </a:lnTo>
                  <a:lnTo>
                    <a:pt x="243" y="161"/>
                  </a:lnTo>
                  <a:lnTo>
                    <a:pt x="242" y="168"/>
                  </a:lnTo>
                  <a:lnTo>
                    <a:pt x="238" y="178"/>
                  </a:lnTo>
                  <a:lnTo>
                    <a:pt x="236" y="181"/>
                  </a:lnTo>
                  <a:lnTo>
                    <a:pt x="234" y="183"/>
                  </a:lnTo>
                  <a:lnTo>
                    <a:pt x="229" y="183"/>
                  </a:lnTo>
                  <a:lnTo>
                    <a:pt x="223" y="181"/>
                  </a:lnTo>
                  <a:lnTo>
                    <a:pt x="218" y="174"/>
                  </a:lnTo>
                  <a:lnTo>
                    <a:pt x="214" y="168"/>
                  </a:lnTo>
                  <a:lnTo>
                    <a:pt x="214" y="163"/>
                  </a:lnTo>
                  <a:lnTo>
                    <a:pt x="216" y="159"/>
                  </a:lnTo>
                  <a:lnTo>
                    <a:pt x="221" y="152"/>
                  </a:lnTo>
                  <a:lnTo>
                    <a:pt x="223" y="146"/>
                  </a:lnTo>
                  <a:lnTo>
                    <a:pt x="214" y="133"/>
                  </a:lnTo>
                  <a:lnTo>
                    <a:pt x="205" y="120"/>
                  </a:lnTo>
                  <a:lnTo>
                    <a:pt x="212" y="113"/>
                  </a:lnTo>
                  <a:lnTo>
                    <a:pt x="221" y="107"/>
                  </a:lnTo>
                  <a:lnTo>
                    <a:pt x="223" y="102"/>
                  </a:lnTo>
                  <a:lnTo>
                    <a:pt x="225" y="96"/>
                  </a:lnTo>
                  <a:lnTo>
                    <a:pt x="240" y="91"/>
                  </a:lnTo>
                  <a:lnTo>
                    <a:pt x="253" y="85"/>
                  </a:lnTo>
                  <a:lnTo>
                    <a:pt x="256" y="72"/>
                  </a:lnTo>
                  <a:lnTo>
                    <a:pt x="260" y="59"/>
                  </a:lnTo>
                  <a:lnTo>
                    <a:pt x="266" y="52"/>
                  </a:lnTo>
                  <a:lnTo>
                    <a:pt x="271" y="41"/>
                  </a:lnTo>
                  <a:lnTo>
                    <a:pt x="267" y="39"/>
                  </a:lnTo>
                  <a:lnTo>
                    <a:pt x="266" y="37"/>
                  </a:lnTo>
                  <a:lnTo>
                    <a:pt x="266" y="32"/>
                  </a:lnTo>
                  <a:lnTo>
                    <a:pt x="266" y="26"/>
                  </a:lnTo>
                  <a:lnTo>
                    <a:pt x="267" y="17"/>
                  </a:lnTo>
                  <a:lnTo>
                    <a:pt x="266" y="9"/>
                  </a:lnTo>
                  <a:lnTo>
                    <a:pt x="262" y="6"/>
                  </a:lnTo>
                  <a:lnTo>
                    <a:pt x="258" y="2"/>
                  </a:lnTo>
                  <a:lnTo>
                    <a:pt x="253" y="0"/>
                  </a:lnTo>
                  <a:lnTo>
                    <a:pt x="247" y="0"/>
                  </a:lnTo>
                  <a:lnTo>
                    <a:pt x="243" y="2"/>
                  </a:lnTo>
                  <a:lnTo>
                    <a:pt x="240" y="4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77" name="Freeform 75"/>
            <p:cNvSpPr>
              <a:spLocks/>
            </p:cNvSpPr>
            <p:nvPr/>
          </p:nvSpPr>
          <p:spPr bwMode="auto">
            <a:xfrm>
              <a:off x="3473079" y="3563904"/>
              <a:ext cx="287939" cy="434733"/>
            </a:xfrm>
            <a:custGeom>
              <a:avLst/>
              <a:gdLst>
                <a:gd name="T0" fmla="*/ 54466 w 165"/>
                <a:gd name="T1" fmla="*/ 85725 h 231"/>
                <a:gd name="T2" fmla="*/ 70658 w 165"/>
                <a:gd name="T3" fmla="*/ 106363 h 231"/>
                <a:gd name="T4" fmla="*/ 89795 w 165"/>
                <a:gd name="T5" fmla="*/ 120650 h 231"/>
                <a:gd name="T6" fmla="*/ 98627 w 165"/>
                <a:gd name="T7" fmla="*/ 134938 h 231"/>
                <a:gd name="T8" fmla="*/ 92739 w 165"/>
                <a:gd name="T9" fmla="*/ 168275 h 231"/>
                <a:gd name="T10" fmla="*/ 76546 w 165"/>
                <a:gd name="T11" fmla="*/ 179388 h 231"/>
                <a:gd name="T12" fmla="*/ 60354 w 165"/>
                <a:gd name="T13" fmla="*/ 179388 h 231"/>
                <a:gd name="T14" fmla="*/ 35329 w 165"/>
                <a:gd name="T15" fmla="*/ 185738 h 231"/>
                <a:gd name="T16" fmla="*/ 16192 w 165"/>
                <a:gd name="T17" fmla="*/ 209550 h 231"/>
                <a:gd name="T18" fmla="*/ 14720 w 165"/>
                <a:gd name="T19" fmla="*/ 223838 h 231"/>
                <a:gd name="T20" fmla="*/ 22081 w 165"/>
                <a:gd name="T21" fmla="*/ 234950 h 231"/>
                <a:gd name="T22" fmla="*/ 27969 w 165"/>
                <a:gd name="T23" fmla="*/ 247650 h 231"/>
                <a:gd name="T24" fmla="*/ 16192 w 165"/>
                <a:gd name="T25" fmla="*/ 258763 h 231"/>
                <a:gd name="T26" fmla="*/ 2944 w 165"/>
                <a:gd name="T27" fmla="*/ 269875 h 231"/>
                <a:gd name="T28" fmla="*/ 0 w 165"/>
                <a:gd name="T29" fmla="*/ 290513 h 231"/>
                <a:gd name="T30" fmla="*/ 2944 w 165"/>
                <a:gd name="T31" fmla="*/ 306388 h 231"/>
                <a:gd name="T32" fmla="*/ 2944 w 165"/>
                <a:gd name="T33" fmla="*/ 306388 h 231"/>
                <a:gd name="T34" fmla="*/ 2944 w 165"/>
                <a:gd name="T35" fmla="*/ 306388 h 231"/>
                <a:gd name="T36" fmla="*/ 2944 w 165"/>
                <a:gd name="T37" fmla="*/ 320675 h 231"/>
                <a:gd name="T38" fmla="*/ 11776 w 165"/>
                <a:gd name="T39" fmla="*/ 341313 h 231"/>
                <a:gd name="T40" fmla="*/ 22081 w 165"/>
                <a:gd name="T41" fmla="*/ 352425 h 231"/>
                <a:gd name="T42" fmla="*/ 30913 w 165"/>
                <a:gd name="T43" fmla="*/ 349250 h 231"/>
                <a:gd name="T44" fmla="*/ 44161 w 165"/>
                <a:gd name="T45" fmla="*/ 338138 h 231"/>
                <a:gd name="T46" fmla="*/ 66242 w 165"/>
                <a:gd name="T47" fmla="*/ 347663 h 231"/>
                <a:gd name="T48" fmla="*/ 105987 w 165"/>
                <a:gd name="T49" fmla="*/ 361950 h 231"/>
                <a:gd name="T50" fmla="*/ 141316 w 165"/>
                <a:gd name="T51" fmla="*/ 365125 h 231"/>
                <a:gd name="T52" fmla="*/ 153092 w 165"/>
                <a:gd name="T53" fmla="*/ 355600 h 231"/>
                <a:gd name="T54" fmla="*/ 144260 w 165"/>
                <a:gd name="T55" fmla="*/ 331788 h 231"/>
                <a:gd name="T56" fmla="*/ 131012 w 165"/>
                <a:gd name="T57" fmla="*/ 300038 h 231"/>
                <a:gd name="T58" fmla="*/ 141316 w 165"/>
                <a:gd name="T59" fmla="*/ 276225 h 231"/>
                <a:gd name="T60" fmla="*/ 166341 w 165"/>
                <a:gd name="T61" fmla="*/ 238125 h 231"/>
                <a:gd name="T62" fmla="*/ 179589 w 165"/>
                <a:gd name="T63" fmla="*/ 192088 h 231"/>
                <a:gd name="T64" fmla="*/ 201670 w 165"/>
                <a:gd name="T65" fmla="*/ 150813 h 231"/>
                <a:gd name="T66" fmla="*/ 242887 w 165"/>
                <a:gd name="T67" fmla="*/ 117475 h 231"/>
                <a:gd name="T68" fmla="*/ 236999 w 165"/>
                <a:gd name="T69" fmla="*/ 120650 h 231"/>
                <a:gd name="T70" fmla="*/ 229639 w 165"/>
                <a:gd name="T71" fmla="*/ 123825 h 231"/>
                <a:gd name="T72" fmla="*/ 229639 w 165"/>
                <a:gd name="T73" fmla="*/ 123825 h 231"/>
                <a:gd name="T74" fmla="*/ 229639 w 165"/>
                <a:gd name="T75" fmla="*/ 123825 h 231"/>
                <a:gd name="T76" fmla="*/ 223750 w 165"/>
                <a:gd name="T77" fmla="*/ 123825 h 231"/>
                <a:gd name="T78" fmla="*/ 204614 w 165"/>
                <a:gd name="T79" fmla="*/ 96838 h 231"/>
                <a:gd name="T80" fmla="*/ 175173 w 165"/>
                <a:gd name="T81" fmla="*/ 74613 h 231"/>
                <a:gd name="T82" fmla="*/ 160453 w 165"/>
                <a:gd name="T83" fmla="*/ 61913 h 231"/>
                <a:gd name="T84" fmla="*/ 150148 w 165"/>
                <a:gd name="T85" fmla="*/ 30163 h 231"/>
                <a:gd name="T86" fmla="*/ 120707 w 165"/>
                <a:gd name="T87" fmla="*/ 19050 h 231"/>
                <a:gd name="T88" fmla="*/ 108931 w 165"/>
                <a:gd name="T89" fmla="*/ 12700 h 231"/>
                <a:gd name="T90" fmla="*/ 101571 w 165"/>
                <a:gd name="T91" fmla="*/ 12700 h 231"/>
                <a:gd name="T92" fmla="*/ 89795 w 165"/>
                <a:gd name="T93" fmla="*/ 6350 h 231"/>
                <a:gd name="T94" fmla="*/ 76546 w 165"/>
                <a:gd name="T95" fmla="*/ 3175 h 231"/>
                <a:gd name="T96" fmla="*/ 60354 w 165"/>
                <a:gd name="T97" fmla="*/ 19050 h 231"/>
                <a:gd name="T98" fmla="*/ 60354 w 165"/>
                <a:gd name="T99" fmla="*/ 38100 h 231"/>
                <a:gd name="T100" fmla="*/ 66242 w 165"/>
                <a:gd name="T101" fmla="*/ 57150 h 231"/>
                <a:gd name="T102" fmla="*/ 63298 w 165"/>
                <a:gd name="T103" fmla="*/ 68263 h 231"/>
                <a:gd name="T104" fmla="*/ 54466 w 165"/>
                <a:gd name="T105" fmla="*/ 71438 h 23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5"/>
                <a:gd name="T160" fmla="*/ 0 h 231"/>
                <a:gd name="T161" fmla="*/ 165 w 165"/>
                <a:gd name="T162" fmla="*/ 231 h 23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65" h="231">
                  <a:moveTo>
                    <a:pt x="35" y="45"/>
                  </a:moveTo>
                  <a:lnTo>
                    <a:pt x="37" y="54"/>
                  </a:lnTo>
                  <a:lnTo>
                    <a:pt x="43" y="61"/>
                  </a:lnTo>
                  <a:lnTo>
                    <a:pt x="48" y="67"/>
                  </a:lnTo>
                  <a:lnTo>
                    <a:pt x="54" y="73"/>
                  </a:lnTo>
                  <a:lnTo>
                    <a:pt x="61" y="76"/>
                  </a:lnTo>
                  <a:lnTo>
                    <a:pt x="65" y="80"/>
                  </a:lnTo>
                  <a:lnTo>
                    <a:pt x="67" y="85"/>
                  </a:lnTo>
                  <a:lnTo>
                    <a:pt x="67" y="93"/>
                  </a:lnTo>
                  <a:lnTo>
                    <a:pt x="63" y="106"/>
                  </a:lnTo>
                  <a:lnTo>
                    <a:pt x="58" y="111"/>
                  </a:lnTo>
                  <a:lnTo>
                    <a:pt x="52" y="113"/>
                  </a:lnTo>
                  <a:lnTo>
                    <a:pt x="47" y="113"/>
                  </a:lnTo>
                  <a:lnTo>
                    <a:pt x="41" y="113"/>
                  </a:lnTo>
                  <a:lnTo>
                    <a:pt x="34" y="113"/>
                  </a:lnTo>
                  <a:lnTo>
                    <a:pt x="24" y="117"/>
                  </a:lnTo>
                  <a:lnTo>
                    <a:pt x="17" y="124"/>
                  </a:lnTo>
                  <a:lnTo>
                    <a:pt x="11" y="132"/>
                  </a:lnTo>
                  <a:lnTo>
                    <a:pt x="10" y="137"/>
                  </a:lnTo>
                  <a:lnTo>
                    <a:pt x="10" y="141"/>
                  </a:lnTo>
                  <a:lnTo>
                    <a:pt x="13" y="145"/>
                  </a:lnTo>
                  <a:lnTo>
                    <a:pt x="15" y="148"/>
                  </a:lnTo>
                  <a:lnTo>
                    <a:pt x="17" y="152"/>
                  </a:lnTo>
                  <a:lnTo>
                    <a:pt x="19" y="156"/>
                  </a:lnTo>
                  <a:lnTo>
                    <a:pt x="17" y="159"/>
                  </a:lnTo>
                  <a:lnTo>
                    <a:pt x="11" y="163"/>
                  </a:lnTo>
                  <a:lnTo>
                    <a:pt x="4" y="167"/>
                  </a:lnTo>
                  <a:lnTo>
                    <a:pt x="2" y="170"/>
                  </a:lnTo>
                  <a:lnTo>
                    <a:pt x="0" y="176"/>
                  </a:lnTo>
                  <a:lnTo>
                    <a:pt x="0" y="183"/>
                  </a:lnTo>
                  <a:lnTo>
                    <a:pt x="2" y="193"/>
                  </a:lnTo>
                  <a:lnTo>
                    <a:pt x="2" y="202"/>
                  </a:lnTo>
                  <a:lnTo>
                    <a:pt x="4" y="209"/>
                  </a:lnTo>
                  <a:lnTo>
                    <a:pt x="8" y="215"/>
                  </a:lnTo>
                  <a:lnTo>
                    <a:pt x="11" y="220"/>
                  </a:lnTo>
                  <a:lnTo>
                    <a:pt x="15" y="222"/>
                  </a:lnTo>
                  <a:lnTo>
                    <a:pt x="19" y="222"/>
                  </a:lnTo>
                  <a:lnTo>
                    <a:pt x="21" y="220"/>
                  </a:lnTo>
                  <a:lnTo>
                    <a:pt x="24" y="219"/>
                  </a:lnTo>
                  <a:lnTo>
                    <a:pt x="30" y="213"/>
                  </a:lnTo>
                  <a:lnTo>
                    <a:pt x="35" y="211"/>
                  </a:lnTo>
                  <a:lnTo>
                    <a:pt x="45" y="219"/>
                  </a:lnTo>
                  <a:lnTo>
                    <a:pt x="58" y="226"/>
                  </a:lnTo>
                  <a:lnTo>
                    <a:pt x="72" y="228"/>
                  </a:lnTo>
                  <a:lnTo>
                    <a:pt x="89" y="231"/>
                  </a:lnTo>
                  <a:lnTo>
                    <a:pt x="96" y="230"/>
                  </a:lnTo>
                  <a:lnTo>
                    <a:pt x="100" y="228"/>
                  </a:lnTo>
                  <a:lnTo>
                    <a:pt x="104" y="224"/>
                  </a:lnTo>
                  <a:lnTo>
                    <a:pt x="106" y="220"/>
                  </a:lnTo>
                  <a:lnTo>
                    <a:pt x="98" y="209"/>
                  </a:lnTo>
                  <a:lnTo>
                    <a:pt x="89" y="196"/>
                  </a:lnTo>
                  <a:lnTo>
                    <a:pt x="89" y="189"/>
                  </a:lnTo>
                  <a:lnTo>
                    <a:pt x="93" y="182"/>
                  </a:lnTo>
                  <a:lnTo>
                    <a:pt x="96" y="174"/>
                  </a:lnTo>
                  <a:lnTo>
                    <a:pt x="102" y="167"/>
                  </a:lnTo>
                  <a:lnTo>
                    <a:pt x="113" y="150"/>
                  </a:lnTo>
                  <a:lnTo>
                    <a:pt x="122" y="137"/>
                  </a:lnTo>
                  <a:lnTo>
                    <a:pt x="122" y="121"/>
                  </a:lnTo>
                  <a:lnTo>
                    <a:pt x="122" y="106"/>
                  </a:lnTo>
                  <a:lnTo>
                    <a:pt x="137" y="95"/>
                  </a:lnTo>
                  <a:lnTo>
                    <a:pt x="165" y="74"/>
                  </a:lnTo>
                  <a:lnTo>
                    <a:pt x="161" y="76"/>
                  </a:lnTo>
                  <a:lnTo>
                    <a:pt x="156" y="78"/>
                  </a:lnTo>
                  <a:lnTo>
                    <a:pt x="152" y="78"/>
                  </a:lnTo>
                  <a:lnTo>
                    <a:pt x="148" y="78"/>
                  </a:lnTo>
                  <a:lnTo>
                    <a:pt x="139" y="61"/>
                  </a:lnTo>
                  <a:lnTo>
                    <a:pt x="128" y="47"/>
                  </a:lnTo>
                  <a:lnTo>
                    <a:pt x="119" y="47"/>
                  </a:lnTo>
                  <a:lnTo>
                    <a:pt x="109" y="47"/>
                  </a:lnTo>
                  <a:lnTo>
                    <a:pt x="109" y="39"/>
                  </a:lnTo>
                  <a:lnTo>
                    <a:pt x="111" y="34"/>
                  </a:lnTo>
                  <a:lnTo>
                    <a:pt x="102" y="19"/>
                  </a:lnTo>
                  <a:lnTo>
                    <a:pt x="91" y="10"/>
                  </a:lnTo>
                  <a:lnTo>
                    <a:pt x="82" y="12"/>
                  </a:lnTo>
                  <a:lnTo>
                    <a:pt x="76" y="10"/>
                  </a:lnTo>
                  <a:lnTo>
                    <a:pt x="74" y="8"/>
                  </a:lnTo>
                  <a:lnTo>
                    <a:pt x="72" y="6"/>
                  </a:lnTo>
                  <a:lnTo>
                    <a:pt x="69" y="8"/>
                  </a:lnTo>
                  <a:lnTo>
                    <a:pt x="67" y="10"/>
                  </a:lnTo>
                  <a:lnTo>
                    <a:pt x="61" y="4"/>
                  </a:lnTo>
                  <a:lnTo>
                    <a:pt x="58" y="0"/>
                  </a:lnTo>
                  <a:lnTo>
                    <a:pt x="52" y="2"/>
                  </a:lnTo>
                  <a:lnTo>
                    <a:pt x="47" y="6"/>
                  </a:lnTo>
                  <a:lnTo>
                    <a:pt x="41" y="12"/>
                  </a:lnTo>
                  <a:lnTo>
                    <a:pt x="39" y="17"/>
                  </a:lnTo>
                  <a:lnTo>
                    <a:pt x="41" y="24"/>
                  </a:lnTo>
                  <a:lnTo>
                    <a:pt x="45" y="32"/>
                  </a:lnTo>
                  <a:lnTo>
                    <a:pt x="45" y="36"/>
                  </a:lnTo>
                  <a:lnTo>
                    <a:pt x="45" y="39"/>
                  </a:lnTo>
                  <a:lnTo>
                    <a:pt x="43" y="43"/>
                  </a:lnTo>
                  <a:lnTo>
                    <a:pt x="39" y="45"/>
                  </a:lnTo>
                  <a:lnTo>
                    <a:pt x="37" y="45"/>
                  </a:lnTo>
                  <a:lnTo>
                    <a:pt x="35" y="45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78" name="Freeform 76"/>
            <p:cNvSpPr>
              <a:spLocks/>
            </p:cNvSpPr>
            <p:nvPr/>
          </p:nvSpPr>
          <p:spPr bwMode="auto">
            <a:xfrm>
              <a:off x="2684537" y="3919593"/>
              <a:ext cx="572115" cy="532593"/>
            </a:xfrm>
            <a:custGeom>
              <a:avLst/>
              <a:gdLst>
                <a:gd name="T0" fmla="*/ 425392 w 329"/>
                <a:gd name="T1" fmla="*/ 263525 h 283"/>
                <a:gd name="T2" fmla="*/ 444461 w 329"/>
                <a:gd name="T3" fmla="*/ 255587 h 283"/>
                <a:gd name="T4" fmla="*/ 463531 w 329"/>
                <a:gd name="T5" fmla="*/ 242887 h 283"/>
                <a:gd name="T6" fmla="*/ 454729 w 329"/>
                <a:gd name="T7" fmla="*/ 201612 h 283"/>
                <a:gd name="T8" fmla="*/ 479666 w 329"/>
                <a:gd name="T9" fmla="*/ 184150 h 283"/>
                <a:gd name="T10" fmla="*/ 467931 w 329"/>
                <a:gd name="T11" fmla="*/ 163512 h 283"/>
                <a:gd name="T12" fmla="*/ 454729 w 329"/>
                <a:gd name="T13" fmla="*/ 166687 h 283"/>
                <a:gd name="T14" fmla="*/ 425392 w 329"/>
                <a:gd name="T15" fmla="*/ 184150 h 283"/>
                <a:gd name="T16" fmla="*/ 415124 w 329"/>
                <a:gd name="T17" fmla="*/ 217487 h 283"/>
                <a:gd name="T18" fmla="*/ 400455 w 329"/>
                <a:gd name="T19" fmla="*/ 228600 h 283"/>
                <a:gd name="T20" fmla="*/ 390187 w 329"/>
                <a:gd name="T21" fmla="*/ 196850 h 283"/>
                <a:gd name="T22" fmla="*/ 349115 w 329"/>
                <a:gd name="T23" fmla="*/ 193675 h 283"/>
                <a:gd name="T24" fmla="*/ 344714 w 329"/>
                <a:gd name="T25" fmla="*/ 173037 h 283"/>
                <a:gd name="T26" fmla="*/ 332979 w 329"/>
                <a:gd name="T27" fmla="*/ 152400 h 283"/>
                <a:gd name="T28" fmla="*/ 319777 w 329"/>
                <a:gd name="T29" fmla="*/ 131762 h 283"/>
                <a:gd name="T30" fmla="*/ 319777 w 329"/>
                <a:gd name="T31" fmla="*/ 90487 h 283"/>
                <a:gd name="T32" fmla="*/ 319777 w 329"/>
                <a:gd name="T33" fmla="*/ 66675 h 283"/>
                <a:gd name="T34" fmla="*/ 319777 w 329"/>
                <a:gd name="T35" fmla="*/ 31750 h 283"/>
                <a:gd name="T36" fmla="*/ 316844 w 329"/>
                <a:gd name="T37" fmla="*/ 11112 h 283"/>
                <a:gd name="T38" fmla="*/ 294841 w 329"/>
                <a:gd name="T39" fmla="*/ 31750 h 283"/>
                <a:gd name="T40" fmla="*/ 278705 w 329"/>
                <a:gd name="T41" fmla="*/ 11112 h 283"/>
                <a:gd name="T42" fmla="*/ 255235 w 329"/>
                <a:gd name="T43" fmla="*/ 6350 h 283"/>
                <a:gd name="T44" fmla="*/ 227365 w 329"/>
                <a:gd name="T45" fmla="*/ 6350 h 283"/>
                <a:gd name="T46" fmla="*/ 178958 w 329"/>
                <a:gd name="T47" fmla="*/ 14287 h 283"/>
                <a:gd name="T48" fmla="*/ 105615 w 329"/>
                <a:gd name="T49" fmla="*/ 11112 h 283"/>
                <a:gd name="T50" fmla="*/ 89479 w 329"/>
                <a:gd name="T51" fmla="*/ 23812 h 283"/>
                <a:gd name="T52" fmla="*/ 92413 w 329"/>
                <a:gd name="T53" fmla="*/ 38100 h 283"/>
                <a:gd name="T54" fmla="*/ 96813 w 329"/>
                <a:gd name="T55" fmla="*/ 47625 h 283"/>
                <a:gd name="T56" fmla="*/ 76277 w 329"/>
                <a:gd name="T57" fmla="*/ 79375 h 283"/>
                <a:gd name="T58" fmla="*/ 41072 w 329"/>
                <a:gd name="T59" fmla="*/ 93662 h 283"/>
                <a:gd name="T60" fmla="*/ 32271 w 329"/>
                <a:gd name="T61" fmla="*/ 85725 h 283"/>
                <a:gd name="T62" fmla="*/ 22003 w 329"/>
                <a:gd name="T63" fmla="*/ 73025 h 283"/>
                <a:gd name="T64" fmla="*/ 0 w 329"/>
                <a:gd name="T65" fmla="*/ 85725 h 283"/>
                <a:gd name="T66" fmla="*/ 0 w 329"/>
                <a:gd name="T67" fmla="*/ 103187 h 283"/>
                <a:gd name="T68" fmla="*/ 29337 w 329"/>
                <a:gd name="T69" fmla="*/ 114300 h 283"/>
                <a:gd name="T70" fmla="*/ 42539 w 329"/>
                <a:gd name="T71" fmla="*/ 142875 h 283"/>
                <a:gd name="T72" fmla="*/ 64542 w 329"/>
                <a:gd name="T73" fmla="*/ 146050 h 283"/>
                <a:gd name="T74" fmla="*/ 83612 w 329"/>
                <a:gd name="T75" fmla="*/ 163512 h 283"/>
                <a:gd name="T76" fmla="*/ 137886 w 329"/>
                <a:gd name="T77" fmla="*/ 179387 h 283"/>
                <a:gd name="T78" fmla="*/ 140819 w 329"/>
                <a:gd name="T79" fmla="*/ 234950 h 283"/>
                <a:gd name="T80" fmla="*/ 162822 w 329"/>
                <a:gd name="T81" fmla="*/ 273050 h 283"/>
                <a:gd name="T82" fmla="*/ 189226 w 329"/>
                <a:gd name="T83" fmla="*/ 277812 h 283"/>
                <a:gd name="T84" fmla="*/ 211229 w 329"/>
                <a:gd name="T85" fmla="*/ 287337 h 283"/>
                <a:gd name="T86" fmla="*/ 214163 w 329"/>
                <a:gd name="T87" fmla="*/ 311150 h 283"/>
                <a:gd name="T88" fmla="*/ 227365 w 329"/>
                <a:gd name="T89" fmla="*/ 322262 h 283"/>
                <a:gd name="T90" fmla="*/ 236166 w 329"/>
                <a:gd name="T91" fmla="*/ 366712 h 283"/>
                <a:gd name="T92" fmla="*/ 246434 w 329"/>
                <a:gd name="T93" fmla="*/ 384175 h 283"/>
                <a:gd name="T94" fmla="*/ 275771 w 329"/>
                <a:gd name="T95" fmla="*/ 412750 h 283"/>
                <a:gd name="T96" fmla="*/ 272838 w 329"/>
                <a:gd name="T97" fmla="*/ 436562 h 283"/>
                <a:gd name="T98" fmla="*/ 297774 w 329"/>
                <a:gd name="T99" fmla="*/ 449262 h 283"/>
                <a:gd name="T100" fmla="*/ 354982 w 329"/>
                <a:gd name="T101" fmla="*/ 363537 h 283"/>
                <a:gd name="T102" fmla="*/ 360850 w 329"/>
                <a:gd name="T103" fmla="*/ 339725 h 283"/>
                <a:gd name="T104" fmla="*/ 384320 w 329"/>
                <a:gd name="T105" fmla="*/ 352425 h 283"/>
                <a:gd name="T106" fmla="*/ 450329 w 329"/>
                <a:gd name="T107" fmla="*/ 336550 h 283"/>
                <a:gd name="T108" fmla="*/ 460597 w 329"/>
                <a:gd name="T109" fmla="*/ 346075 h 283"/>
                <a:gd name="T110" fmla="*/ 451796 w 329"/>
                <a:gd name="T111" fmla="*/ 296862 h 283"/>
                <a:gd name="T112" fmla="*/ 438594 w 329"/>
                <a:gd name="T113" fmla="*/ 277812 h 28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9"/>
                <a:gd name="T172" fmla="*/ 0 h 283"/>
                <a:gd name="T173" fmla="*/ 329 w 329"/>
                <a:gd name="T174" fmla="*/ 283 h 28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9" h="283">
                  <a:moveTo>
                    <a:pt x="292" y="174"/>
                  </a:moveTo>
                  <a:lnTo>
                    <a:pt x="290" y="170"/>
                  </a:lnTo>
                  <a:lnTo>
                    <a:pt x="290" y="166"/>
                  </a:lnTo>
                  <a:lnTo>
                    <a:pt x="292" y="164"/>
                  </a:lnTo>
                  <a:lnTo>
                    <a:pt x="297" y="163"/>
                  </a:lnTo>
                  <a:lnTo>
                    <a:pt x="303" y="161"/>
                  </a:lnTo>
                  <a:lnTo>
                    <a:pt x="308" y="159"/>
                  </a:lnTo>
                  <a:lnTo>
                    <a:pt x="314" y="157"/>
                  </a:lnTo>
                  <a:lnTo>
                    <a:pt x="316" y="153"/>
                  </a:lnTo>
                  <a:lnTo>
                    <a:pt x="310" y="142"/>
                  </a:lnTo>
                  <a:lnTo>
                    <a:pt x="301" y="133"/>
                  </a:lnTo>
                  <a:lnTo>
                    <a:pt x="310" y="127"/>
                  </a:lnTo>
                  <a:lnTo>
                    <a:pt x="319" y="122"/>
                  </a:lnTo>
                  <a:lnTo>
                    <a:pt x="325" y="120"/>
                  </a:lnTo>
                  <a:lnTo>
                    <a:pt x="327" y="116"/>
                  </a:lnTo>
                  <a:lnTo>
                    <a:pt x="329" y="113"/>
                  </a:lnTo>
                  <a:lnTo>
                    <a:pt x="325" y="107"/>
                  </a:lnTo>
                  <a:lnTo>
                    <a:pt x="319" y="103"/>
                  </a:lnTo>
                  <a:lnTo>
                    <a:pt x="316" y="103"/>
                  </a:lnTo>
                  <a:lnTo>
                    <a:pt x="312" y="103"/>
                  </a:lnTo>
                  <a:lnTo>
                    <a:pt x="310" y="105"/>
                  </a:lnTo>
                  <a:lnTo>
                    <a:pt x="305" y="109"/>
                  </a:lnTo>
                  <a:lnTo>
                    <a:pt x="299" y="113"/>
                  </a:lnTo>
                  <a:lnTo>
                    <a:pt x="290" y="116"/>
                  </a:lnTo>
                  <a:lnTo>
                    <a:pt x="283" y="118"/>
                  </a:lnTo>
                  <a:lnTo>
                    <a:pt x="283" y="126"/>
                  </a:lnTo>
                  <a:lnTo>
                    <a:pt x="283" y="137"/>
                  </a:lnTo>
                  <a:lnTo>
                    <a:pt x="279" y="140"/>
                  </a:lnTo>
                  <a:lnTo>
                    <a:pt x="277" y="144"/>
                  </a:lnTo>
                  <a:lnTo>
                    <a:pt x="273" y="144"/>
                  </a:lnTo>
                  <a:lnTo>
                    <a:pt x="270" y="142"/>
                  </a:lnTo>
                  <a:lnTo>
                    <a:pt x="268" y="133"/>
                  </a:lnTo>
                  <a:lnTo>
                    <a:pt x="266" y="124"/>
                  </a:lnTo>
                  <a:lnTo>
                    <a:pt x="255" y="126"/>
                  </a:lnTo>
                  <a:lnTo>
                    <a:pt x="240" y="127"/>
                  </a:lnTo>
                  <a:lnTo>
                    <a:pt x="238" y="122"/>
                  </a:lnTo>
                  <a:lnTo>
                    <a:pt x="236" y="116"/>
                  </a:lnTo>
                  <a:lnTo>
                    <a:pt x="236" y="113"/>
                  </a:lnTo>
                  <a:lnTo>
                    <a:pt x="235" y="109"/>
                  </a:lnTo>
                  <a:lnTo>
                    <a:pt x="231" y="105"/>
                  </a:lnTo>
                  <a:lnTo>
                    <a:pt x="225" y="103"/>
                  </a:lnTo>
                  <a:lnTo>
                    <a:pt x="227" y="96"/>
                  </a:lnTo>
                  <a:lnTo>
                    <a:pt x="227" y="90"/>
                  </a:lnTo>
                  <a:lnTo>
                    <a:pt x="222" y="87"/>
                  </a:lnTo>
                  <a:lnTo>
                    <a:pt x="218" y="83"/>
                  </a:lnTo>
                  <a:lnTo>
                    <a:pt x="218" y="76"/>
                  </a:lnTo>
                  <a:lnTo>
                    <a:pt x="220" y="65"/>
                  </a:lnTo>
                  <a:lnTo>
                    <a:pt x="218" y="57"/>
                  </a:lnTo>
                  <a:lnTo>
                    <a:pt x="216" y="50"/>
                  </a:lnTo>
                  <a:lnTo>
                    <a:pt x="216" y="46"/>
                  </a:lnTo>
                  <a:lnTo>
                    <a:pt x="218" y="42"/>
                  </a:lnTo>
                  <a:lnTo>
                    <a:pt x="220" y="37"/>
                  </a:lnTo>
                  <a:lnTo>
                    <a:pt x="222" y="30"/>
                  </a:lnTo>
                  <a:lnTo>
                    <a:pt x="218" y="20"/>
                  </a:lnTo>
                  <a:lnTo>
                    <a:pt x="216" y="11"/>
                  </a:lnTo>
                  <a:lnTo>
                    <a:pt x="216" y="9"/>
                  </a:lnTo>
                  <a:lnTo>
                    <a:pt x="216" y="7"/>
                  </a:lnTo>
                  <a:lnTo>
                    <a:pt x="212" y="13"/>
                  </a:lnTo>
                  <a:lnTo>
                    <a:pt x="207" y="17"/>
                  </a:lnTo>
                  <a:lnTo>
                    <a:pt x="201" y="20"/>
                  </a:lnTo>
                  <a:lnTo>
                    <a:pt x="194" y="20"/>
                  </a:lnTo>
                  <a:lnTo>
                    <a:pt x="194" y="13"/>
                  </a:lnTo>
                  <a:lnTo>
                    <a:pt x="190" y="7"/>
                  </a:lnTo>
                  <a:lnTo>
                    <a:pt x="183" y="9"/>
                  </a:lnTo>
                  <a:lnTo>
                    <a:pt x="175" y="9"/>
                  </a:lnTo>
                  <a:lnTo>
                    <a:pt x="174" y="4"/>
                  </a:lnTo>
                  <a:lnTo>
                    <a:pt x="174" y="0"/>
                  </a:lnTo>
                  <a:lnTo>
                    <a:pt x="162" y="0"/>
                  </a:lnTo>
                  <a:lnTo>
                    <a:pt x="155" y="4"/>
                  </a:lnTo>
                  <a:lnTo>
                    <a:pt x="151" y="7"/>
                  </a:lnTo>
                  <a:lnTo>
                    <a:pt x="146" y="11"/>
                  </a:lnTo>
                  <a:lnTo>
                    <a:pt x="122" y="9"/>
                  </a:lnTo>
                  <a:lnTo>
                    <a:pt x="98" y="5"/>
                  </a:lnTo>
                  <a:lnTo>
                    <a:pt x="85" y="5"/>
                  </a:lnTo>
                  <a:lnTo>
                    <a:pt x="72" y="7"/>
                  </a:lnTo>
                  <a:lnTo>
                    <a:pt x="68" y="9"/>
                  </a:lnTo>
                  <a:lnTo>
                    <a:pt x="65" y="11"/>
                  </a:lnTo>
                  <a:lnTo>
                    <a:pt x="61" y="15"/>
                  </a:lnTo>
                  <a:lnTo>
                    <a:pt x="59" y="18"/>
                  </a:lnTo>
                  <a:lnTo>
                    <a:pt x="59" y="20"/>
                  </a:lnTo>
                  <a:lnTo>
                    <a:pt x="63" y="24"/>
                  </a:lnTo>
                  <a:lnTo>
                    <a:pt x="65" y="24"/>
                  </a:lnTo>
                  <a:lnTo>
                    <a:pt x="66" y="26"/>
                  </a:lnTo>
                  <a:lnTo>
                    <a:pt x="66" y="30"/>
                  </a:lnTo>
                  <a:lnTo>
                    <a:pt x="66" y="33"/>
                  </a:lnTo>
                  <a:lnTo>
                    <a:pt x="59" y="42"/>
                  </a:lnTo>
                  <a:lnTo>
                    <a:pt x="52" y="50"/>
                  </a:lnTo>
                  <a:lnTo>
                    <a:pt x="41" y="54"/>
                  </a:lnTo>
                  <a:lnTo>
                    <a:pt x="29" y="59"/>
                  </a:lnTo>
                  <a:lnTo>
                    <a:pt x="28" y="59"/>
                  </a:lnTo>
                  <a:lnTo>
                    <a:pt x="26" y="57"/>
                  </a:lnTo>
                  <a:lnTo>
                    <a:pt x="24" y="57"/>
                  </a:lnTo>
                  <a:lnTo>
                    <a:pt x="22" y="54"/>
                  </a:lnTo>
                  <a:lnTo>
                    <a:pt x="20" y="50"/>
                  </a:lnTo>
                  <a:lnTo>
                    <a:pt x="18" y="46"/>
                  </a:lnTo>
                  <a:lnTo>
                    <a:pt x="15" y="46"/>
                  </a:lnTo>
                  <a:lnTo>
                    <a:pt x="9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0" y="61"/>
                  </a:lnTo>
                  <a:lnTo>
                    <a:pt x="0" y="65"/>
                  </a:lnTo>
                  <a:lnTo>
                    <a:pt x="2" y="68"/>
                  </a:lnTo>
                  <a:lnTo>
                    <a:pt x="9" y="72"/>
                  </a:lnTo>
                  <a:lnTo>
                    <a:pt x="20" y="72"/>
                  </a:lnTo>
                  <a:lnTo>
                    <a:pt x="24" y="81"/>
                  </a:lnTo>
                  <a:lnTo>
                    <a:pt x="28" y="87"/>
                  </a:lnTo>
                  <a:lnTo>
                    <a:pt x="29" y="90"/>
                  </a:lnTo>
                  <a:lnTo>
                    <a:pt x="35" y="92"/>
                  </a:lnTo>
                  <a:lnTo>
                    <a:pt x="41" y="90"/>
                  </a:lnTo>
                  <a:lnTo>
                    <a:pt x="44" y="92"/>
                  </a:lnTo>
                  <a:lnTo>
                    <a:pt x="48" y="94"/>
                  </a:lnTo>
                  <a:lnTo>
                    <a:pt x="52" y="98"/>
                  </a:lnTo>
                  <a:lnTo>
                    <a:pt x="57" y="103"/>
                  </a:lnTo>
                  <a:lnTo>
                    <a:pt x="65" y="109"/>
                  </a:lnTo>
                  <a:lnTo>
                    <a:pt x="79" y="109"/>
                  </a:lnTo>
                  <a:lnTo>
                    <a:pt x="94" y="113"/>
                  </a:lnTo>
                  <a:lnTo>
                    <a:pt x="94" y="124"/>
                  </a:lnTo>
                  <a:lnTo>
                    <a:pt x="92" y="137"/>
                  </a:lnTo>
                  <a:lnTo>
                    <a:pt x="96" y="148"/>
                  </a:lnTo>
                  <a:lnTo>
                    <a:pt x="100" y="157"/>
                  </a:lnTo>
                  <a:lnTo>
                    <a:pt x="105" y="166"/>
                  </a:lnTo>
                  <a:lnTo>
                    <a:pt x="111" y="172"/>
                  </a:lnTo>
                  <a:lnTo>
                    <a:pt x="118" y="174"/>
                  </a:lnTo>
                  <a:lnTo>
                    <a:pt x="124" y="175"/>
                  </a:lnTo>
                  <a:lnTo>
                    <a:pt x="129" y="175"/>
                  </a:lnTo>
                  <a:lnTo>
                    <a:pt x="135" y="177"/>
                  </a:lnTo>
                  <a:lnTo>
                    <a:pt x="140" y="179"/>
                  </a:lnTo>
                  <a:lnTo>
                    <a:pt x="144" y="181"/>
                  </a:lnTo>
                  <a:lnTo>
                    <a:pt x="146" y="187"/>
                  </a:lnTo>
                  <a:lnTo>
                    <a:pt x="146" y="192"/>
                  </a:lnTo>
                  <a:lnTo>
                    <a:pt x="146" y="196"/>
                  </a:lnTo>
                  <a:lnTo>
                    <a:pt x="148" y="198"/>
                  </a:lnTo>
                  <a:lnTo>
                    <a:pt x="151" y="200"/>
                  </a:lnTo>
                  <a:lnTo>
                    <a:pt x="155" y="203"/>
                  </a:lnTo>
                  <a:lnTo>
                    <a:pt x="155" y="211"/>
                  </a:lnTo>
                  <a:lnTo>
                    <a:pt x="155" y="220"/>
                  </a:lnTo>
                  <a:lnTo>
                    <a:pt x="161" y="231"/>
                  </a:lnTo>
                  <a:lnTo>
                    <a:pt x="168" y="242"/>
                  </a:lnTo>
                  <a:lnTo>
                    <a:pt x="174" y="249"/>
                  </a:lnTo>
                  <a:lnTo>
                    <a:pt x="181" y="257"/>
                  </a:lnTo>
                  <a:lnTo>
                    <a:pt x="188" y="260"/>
                  </a:lnTo>
                  <a:lnTo>
                    <a:pt x="194" y="264"/>
                  </a:lnTo>
                  <a:lnTo>
                    <a:pt x="188" y="270"/>
                  </a:lnTo>
                  <a:lnTo>
                    <a:pt x="186" y="275"/>
                  </a:lnTo>
                  <a:lnTo>
                    <a:pt x="194" y="281"/>
                  </a:lnTo>
                  <a:lnTo>
                    <a:pt x="203" y="283"/>
                  </a:lnTo>
                  <a:lnTo>
                    <a:pt x="225" y="264"/>
                  </a:lnTo>
                  <a:lnTo>
                    <a:pt x="244" y="246"/>
                  </a:lnTo>
                  <a:lnTo>
                    <a:pt x="242" y="229"/>
                  </a:lnTo>
                  <a:lnTo>
                    <a:pt x="238" y="216"/>
                  </a:lnTo>
                  <a:lnTo>
                    <a:pt x="242" y="214"/>
                  </a:lnTo>
                  <a:lnTo>
                    <a:pt x="246" y="214"/>
                  </a:lnTo>
                  <a:lnTo>
                    <a:pt x="249" y="216"/>
                  </a:lnTo>
                  <a:lnTo>
                    <a:pt x="253" y="218"/>
                  </a:lnTo>
                  <a:lnTo>
                    <a:pt x="262" y="222"/>
                  </a:lnTo>
                  <a:lnTo>
                    <a:pt x="271" y="224"/>
                  </a:lnTo>
                  <a:lnTo>
                    <a:pt x="290" y="218"/>
                  </a:lnTo>
                  <a:lnTo>
                    <a:pt x="307" y="212"/>
                  </a:lnTo>
                  <a:lnTo>
                    <a:pt x="310" y="214"/>
                  </a:lnTo>
                  <a:lnTo>
                    <a:pt x="312" y="216"/>
                  </a:lnTo>
                  <a:lnTo>
                    <a:pt x="314" y="218"/>
                  </a:lnTo>
                  <a:lnTo>
                    <a:pt x="318" y="216"/>
                  </a:lnTo>
                  <a:lnTo>
                    <a:pt x="312" y="200"/>
                  </a:lnTo>
                  <a:lnTo>
                    <a:pt x="308" y="187"/>
                  </a:lnTo>
                  <a:lnTo>
                    <a:pt x="308" y="183"/>
                  </a:lnTo>
                  <a:lnTo>
                    <a:pt x="305" y="179"/>
                  </a:lnTo>
                  <a:lnTo>
                    <a:pt x="299" y="175"/>
                  </a:lnTo>
                  <a:lnTo>
                    <a:pt x="292" y="174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79" name="Freeform 77"/>
            <p:cNvSpPr>
              <a:spLocks/>
            </p:cNvSpPr>
            <p:nvPr/>
          </p:nvSpPr>
          <p:spPr bwMode="auto">
            <a:xfrm>
              <a:off x="3075984" y="3838670"/>
              <a:ext cx="378274" cy="432850"/>
            </a:xfrm>
            <a:custGeom>
              <a:avLst/>
              <a:gdLst>
                <a:gd name="T0" fmla="*/ 143443 w 218"/>
                <a:gd name="T1" fmla="*/ 365125 h 230"/>
                <a:gd name="T2" fmla="*/ 178572 w 218"/>
                <a:gd name="T3" fmla="*/ 344488 h 230"/>
                <a:gd name="T4" fmla="*/ 187354 w 218"/>
                <a:gd name="T5" fmla="*/ 311150 h 230"/>
                <a:gd name="T6" fmla="*/ 210774 w 218"/>
                <a:gd name="T7" fmla="*/ 269875 h 230"/>
                <a:gd name="T8" fmla="*/ 232729 w 218"/>
                <a:gd name="T9" fmla="*/ 258763 h 230"/>
                <a:gd name="T10" fmla="*/ 235657 w 218"/>
                <a:gd name="T11" fmla="*/ 230188 h 230"/>
                <a:gd name="T12" fmla="*/ 270786 w 218"/>
                <a:gd name="T13" fmla="*/ 165100 h 230"/>
                <a:gd name="T14" fmla="*/ 295669 w 218"/>
                <a:gd name="T15" fmla="*/ 120650 h 230"/>
                <a:gd name="T16" fmla="*/ 314697 w 218"/>
                <a:gd name="T17" fmla="*/ 92075 h 230"/>
                <a:gd name="T18" fmla="*/ 305915 w 218"/>
                <a:gd name="T19" fmla="*/ 82550 h 230"/>
                <a:gd name="T20" fmla="*/ 292741 w 218"/>
                <a:gd name="T21" fmla="*/ 71438 h 230"/>
                <a:gd name="T22" fmla="*/ 286886 w 218"/>
                <a:gd name="T23" fmla="*/ 36513 h 230"/>
                <a:gd name="T24" fmla="*/ 248830 w 218"/>
                <a:gd name="T25" fmla="*/ 36513 h 230"/>
                <a:gd name="T26" fmla="*/ 238584 w 218"/>
                <a:gd name="T27" fmla="*/ 6350 h 230"/>
                <a:gd name="T28" fmla="*/ 203455 w 218"/>
                <a:gd name="T29" fmla="*/ 9525 h 230"/>
                <a:gd name="T30" fmla="*/ 174181 w 218"/>
                <a:gd name="T31" fmla="*/ 44450 h 230"/>
                <a:gd name="T32" fmla="*/ 165399 w 218"/>
                <a:gd name="T33" fmla="*/ 76200 h 230"/>
                <a:gd name="T34" fmla="*/ 133197 w 218"/>
                <a:gd name="T35" fmla="*/ 103188 h 230"/>
                <a:gd name="T36" fmla="*/ 114169 w 218"/>
                <a:gd name="T37" fmla="*/ 95250 h 230"/>
                <a:gd name="T38" fmla="*/ 102459 w 218"/>
                <a:gd name="T39" fmla="*/ 79375 h 230"/>
                <a:gd name="T40" fmla="*/ 81968 w 218"/>
                <a:gd name="T41" fmla="*/ 92075 h 230"/>
                <a:gd name="T42" fmla="*/ 76113 w 218"/>
                <a:gd name="T43" fmla="*/ 117475 h 230"/>
                <a:gd name="T44" fmla="*/ 81968 w 218"/>
                <a:gd name="T45" fmla="*/ 144463 h 230"/>
                <a:gd name="T46" fmla="*/ 65867 w 218"/>
                <a:gd name="T47" fmla="*/ 158750 h 230"/>
                <a:gd name="T48" fmla="*/ 32202 w 218"/>
                <a:gd name="T49" fmla="*/ 158750 h 230"/>
                <a:gd name="T50" fmla="*/ 30738 w 218"/>
                <a:gd name="T51" fmla="*/ 188912 h 230"/>
                <a:gd name="T52" fmla="*/ 21956 w 218"/>
                <a:gd name="T53" fmla="*/ 209550 h 230"/>
                <a:gd name="T54" fmla="*/ 5855 w 218"/>
                <a:gd name="T55" fmla="*/ 211138 h 230"/>
                <a:gd name="T56" fmla="*/ 0 w 218"/>
                <a:gd name="T57" fmla="*/ 231775 h 230"/>
                <a:gd name="T58" fmla="*/ 16101 w 218"/>
                <a:gd name="T59" fmla="*/ 247650 h 230"/>
                <a:gd name="T60" fmla="*/ 21956 w 218"/>
                <a:gd name="T61" fmla="*/ 269875 h 230"/>
                <a:gd name="T62" fmla="*/ 62939 w 218"/>
                <a:gd name="T63" fmla="*/ 279400 h 230"/>
                <a:gd name="T64" fmla="*/ 76113 w 218"/>
                <a:gd name="T65" fmla="*/ 296863 h 230"/>
                <a:gd name="T66" fmla="*/ 84895 w 218"/>
                <a:gd name="T67" fmla="*/ 268288 h 230"/>
                <a:gd name="T68" fmla="*/ 108314 w 218"/>
                <a:gd name="T69" fmla="*/ 247650 h 230"/>
                <a:gd name="T70" fmla="*/ 127342 w 218"/>
                <a:gd name="T71" fmla="*/ 231775 h 230"/>
                <a:gd name="T72" fmla="*/ 146371 w 218"/>
                <a:gd name="T73" fmla="*/ 238125 h 230"/>
                <a:gd name="T74" fmla="*/ 146371 w 218"/>
                <a:gd name="T75" fmla="*/ 258763 h 230"/>
                <a:gd name="T76" fmla="*/ 111242 w 218"/>
                <a:gd name="T77" fmla="*/ 279400 h 230"/>
                <a:gd name="T78" fmla="*/ 130270 w 218"/>
                <a:gd name="T79" fmla="*/ 317500 h 230"/>
                <a:gd name="T80" fmla="*/ 105387 w 218"/>
                <a:gd name="T81" fmla="*/ 327025 h 230"/>
                <a:gd name="T82" fmla="*/ 95141 w 218"/>
                <a:gd name="T83" fmla="*/ 338138 h 230"/>
                <a:gd name="T84" fmla="*/ 117097 w 218"/>
                <a:gd name="T85" fmla="*/ 352425 h 23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18"/>
                <a:gd name="T130" fmla="*/ 0 h 230"/>
                <a:gd name="T131" fmla="*/ 218 w 218"/>
                <a:gd name="T132" fmla="*/ 230 h 23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18" h="230">
                  <a:moveTo>
                    <a:pt x="83" y="230"/>
                  </a:moveTo>
                  <a:lnTo>
                    <a:pt x="93" y="230"/>
                  </a:lnTo>
                  <a:lnTo>
                    <a:pt x="98" y="230"/>
                  </a:lnTo>
                  <a:lnTo>
                    <a:pt x="104" y="228"/>
                  </a:lnTo>
                  <a:lnTo>
                    <a:pt x="109" y="220"/>
                  </a:lnTo>
                  <a:lnTo>
                    <a:pt x="122" y="217"/>
                  </a:lnTo>
                  <a:lnTo>
                    <a:pt x="126" y="211"/>
                  </a:lnTo>
                  <a:lnTo>
                    <a:pt x="128" y="196"/>
                  </a:lnTo>
                  <a:lnTo>
                    <a:pt x="128" y="183"/>
                  </a:lnTo>
                  <a:lnTo>
                    <a:pt x="137" y="176"/>
                  </a:lnTo>
                  <a:lnTo>
                    <a:pt x="144" y="170"/>
                  </a:lnTo>
                  <a:lnTo>
                    <a:pt x="154" y="169"/>
                  </a:lnTo>
                  <a:lnTo>
                    <a:pt x="161" y="169"/>
                  </a:lnTo>
                  <a:lnTo>
                    <a:pt x="159" y="163"/>
                  </a:lnTo>
                  <a:lnTo>
                    <a:pt x="159" y="158"/>
                  </a:lnTo>
                  <a:lnTo>
                    <a:pt x="159" y="150"/>
                  </a:lnTo>
                  <a:lnTo>
                    <a:pt x="161" y="145"/>
                  </a:lnTo>
                  <a:lnTo>
                    <a:pt x="165" y="132"/>
                  </a:lnTo>
                  <a:lnTo>
                    <a:pt x="170" y="122"/>
                  </a:lnTo>
                  <a:lnTo>
                    <a:pt x="185" y="104"/>
                  </a:lnTo>
                  <a:lnTo>
                    <a:pt x="196" y="91"/>
                  </a:lnTo>
                  <a:lnTo>
                    <a:pt x="198" y="82"/>
                  </a:lnTo>
                  <a:lnTo>
                    <a:pt x="202" y="76"/>
                  </a:lnTo>
                  <a:lnTo>
                    <a:pt x="205" y="71"/>
                  </a:lnTo>
                  <a:lnTo>
                    <a:pt x="211" y="65"/>
                  </a:lnTo>
                  <a:lnTo>
                    <a:pt x="215" y="58"/>
                  </a:lnTo>
                  <a:lnTo>
                    <a:pt x="218" y="52"/>
                  </a:lnTo>
                  <a:lnTo>
                    <a:pt x="213" y="54"/>
                  </a:lnTo>
                  <a:lnTo>
                    <a:pt x="209" y="52"/>
                  </a:lnTo>
                  <a:lnTo>
                    <a:pt x="205" y="52"/>
                  </a:lnTo>
                  <a:lnTo>
                    <a:pt x="202" y="48"/>
                  </a:lnTo>
                  <a:lnTo>
                    <a:pt x="200" y="45"/>
                  </a:lnTo>
                  <a:lnTo>
                    <a:pt x="198" y="39"/>
                  </a:lnTo>
                  <a:lnTo>
                    <a:pt x="196" y="32"/>
                  </a:lnTo>
                  <a:lnTo>
                    <a:pt x="196" y="23"/>
                  </a:lnTo>
                  <a:lnTo>
                    <a:pt x="187" y="26"/>
                  </a:lnTo>
                  <a:lnTo>
                    <a:pt x="174" y="28"/>
                  </a:lnTo>
                  <a:lnTo>
                    <a:pt x="170" y="23"/>
                  </a:lnTo>
                  <a:lnTo>
                    <a:pt x="168" y="12"/>
                  </a:lnTo>
                  <a:lnTo>
                    <a:pt x="167" y="8"/>
                  </a:lnTo>
                  <a:lnTo>
                    <a:pt x="163" y="4"/>
                  </a:lnTo>
                  <a:lnTo>
                    <a:pt x="159" y="0"/>
                  </a:lnTo>
                  <a:lnTo>
                    <a:pt x="154" y="0"/>
                  </a:lnTo>
                  <a:lnTo>
                    <a:pt x="139" y="6"/>
                  </a:lnTo>
                  <a:lnTo>
                    <a:pt x="128" y="13"/>
                  </a:lnTo>
                  <a:lnTo>
                    <a:pt x="122" y="19"/>
                  </a:lnTo>
                  <a:lnTo>
                    <a:pt x="119" y="28"/>
                  </a:lnTo>
                  <a:lnTo>
                    <a:pt x="117" y="36"/>
                  </a:lnTo>
                  <a:lnTo>
                    <a:pt x="115" y="41"/>
                  </a:lnTo>
                  <a:lnTo>
                    <a:pt x="113" y="48"/>
                  </a:lnTo>
                  <a:lnTo>
                    <a:pt x="107" y="56"/>
                  </a:lnTo>
                  <a:lnTo>
                    <a:pt x="102" y="61"/>
                  </a:lnTo>
                  <a:lnTo>
                    <a:pt x="91" y="65"/>
                  </a:lnTo>
                  <a:lnTo>
                    <a:pt x="85" y="65"/>
                  </a:lnTo>
                  <a:lnTo>
                    <a:pt x="80" y="63"/>
                  </a:lnTo>
                  <a:lnTo>
                    <a:pt x="78" y="60"/>
                  </a:lnTo>
                  <a:lnTo>
                    <a:pt x="74" y="56"/>
                  </a:lnTo>
                  <a:lnTo>
                    <a:pt x="72" y="52"/>
                  </a:lnTo>
                  <a:lnTo>
                    <a:pt x="70" y="50"/>
                  </a:lnTo>
                  <a:lnTo>
                    <a:pt x="67" y="48"/>
                  </a:lnTo>
                  <a:lnTo>
                    <a:pt x="61" y="52"/>
                  </a:lnTo>
                  <a:lnTo>
                    <a:pt x="56" y="58"/>
                  </a:lnTo>
                  <a:lnTo>
                    <a:pt x="52" y="63"/>
                  </a:lnTo>
                  <a:lnTo>
                    <a:pt x="52" y="69"/>
                  </a:lnTo>
                  <a:lnTo>
                    <a:pt x="52" y="74"/>
                  </a:lnTo>
                  <a:lnTo>
                    <a:pt x="54" y="80"/>
                  </a:lnTo>
                  <a:lnTo>
                    <a:pt x="56" y="85"/>
                  </a:lnTo>
                  <a:lnTo>
                    <a:pt x="56" y="91"/>
                  </a:lnTo>
                  <a:lnTo>
                    <a:pt x="54" y="97"/>
                  </a:lnTo>
                  <a:lnTo>
                    <a:pt x="50" y="98"/>
                  </a:lnTo>
                  <a:lnTo>
                    <a:pt x="45" y="100"/>
                  </a:lnTo>
                  <a:lnTo>
                    <a:pt x="37" y="102"/>
                  </a:lnTo>
                  <a:lnTo>
                    <a:pt x="30" y="102"/>
                  </a:lnTo>
                  <a:lnTo>
                    <a:pt x="22" y="100"/>
                  </a:lnTo>
                  <a:lnTo>
                    <a:pt x="17" y="100"/>
                  </a:lnTo>
                  <a:lnTo>
                    <a:pt x="19" y="111"/>
                  </a:lnTo>
                  <a:lnTo>
                    <a:pt x="21" y="119"/>
                  </a:lnTo>
                  <a:lnTo>
                    <a:pt x="19" y="124"/>
                  </a:lnTo>
                  <a:lnTo>
                    <a:pt x="17" y="128"/>
                  </a:lnTo>
                  <a:lnTo>
                    <a:pt x="15" y="132"/>
                  </a:lnTo>
                  <a:lnTo>
                    <a:pt x="11" y="133"/>
                  </a:lnTo>
                  <a:lnTo>
                    <a:pt x="8" y="133"/>
                  </a:lnTo>
                  <a:lnTo>
                    <a:pt x="4" y="133"/>
                  </a:lnTo>
                  <a:lnTo>
                    <a:pt x="2" y="133"/>
                  </a:lnTo>
                  <a:lnTo>
                    <a:pt x="2" y="139"/>
                  </a:lnTo>
                  <a:lnTo>
                    <a:pt x="0" y="146"/>
                  </a:lnTo>
                  <a:lnTo>
                    <a:pt x="6" y="148"/>
                  </a:lnTo>
                  <a:lnTo>
                    <a:pt x="10" y="152"/>
                  </a:lnTo>
                  <a:lnTo>
                    <a:pt x="11" y="156"/>
                  </a:lnTo>
                  <a:lnTo>
                    <a:pt x="11" y="159"/>
                  </a:lnTo>
                  <a:lnTo>
                    <a:pt x="13" y="165"/>
                  </a:lnTo>
                  <a:lnTo>
                    <a:pt x="15" y="170"/>
                  </a:lnTo>
                  <a:lnTo>
                    <a:pt x="30" y="169"/>
                  </a:lnTo>
                  <a:lnTo>
                    <a:pt x="41" y="167"/>
                  </a:lnTo>
                  <a:lnTo>
                    <a:pt x="43" y="176"/>
                  </a:lnTo>
                  <a:lnTo>
                    <a:pt x="45" y="185"/>
                  </a:lnTo>
                  <a:lnTo>
                    <a:pt x="48" y="187"/>
                  </a:lnTo>
                  <a:lnTo>
                    <a:pt x="52" y="187"/>
                  </a:lnTo>
                  <a:lnTo>
                    <a:pt x="54" y="183"/>
                  </a:lnTo>
                  <a:lnTo>
                    <a:pt x="58" y="180"/>
                  </a:lnTo>
                  <a:lnTo>
                    <a:pt x="58" y="169"/>
                  </a:lnTo>
                  <a:lnTo>
                    <a:pt x="58" y="161"/>
                  </a:lnTo>
                  <a:lnTo>
                    <a:pt x="65" y="159"/>
                  </a:lnTo>
                  <a:lnTo>
                    <a:pt x="74" y="156"/>
                  </a:lnTo>
                  <a:lnTo>
                    <a:pt x="80" y="152"/>
                  </a:lnTo>
                  <a:lnTo>
                    <a:pt x="85" y="148"/>
                  </a:lnTo>
                  <a:lnTo>
                    <a:pt x="87" y="146"/>
                  </a:lnTo>
                  <a:lnTo>
                    <a:pt x="91" y="146"/>
                  </a:lnTo>
                  <a:lnTo>
                    <a:pt x="94" y="146"/>
                  </a:lnTo>
                  <a:lnTo>
                    <a:pt x="100" y="150"/>
                  </a:lnTo>
                  <a:lnTo>
                    <a:pt x="104" y="156"/>
                  </a:lnTo>
                  <a:lnTo>
                    <a:pt x="102" y="159"/>
                  </a:lnTo>
                  <a:lnTo>
                    <a:pt x="100" y="163"/>
                  </a:lnTo>
                  <a:lnTo>
                    <a:pt x="94" y="165"/>
                  </a:lnTo>
                  <a:lnTo>
                    <a:pt x="85" y="170"/>
                  </a:lnTo>
                  <a:lnTo>
                    <a:pt x="76" y="176"/>
                  </a:lnTo>
                  <a:lnTo>
                    <a:pt x="85" y="185"/>
                  </a:lnTo>
                  <a:lnTo>
                    <a:pt x="91" y="196"/>
                  </a:lnTo>
                  <a:lnTo>
                    <a:pt x="89" y="200"/>
                  </a:lnTo>
                  <a:lnTo>
                    <a:pt x="83" y="202"/>
                  </a:lnTo>
                  <a:lnTo>
                    <a:pt x="78" y="204"/>
                  </a:lnTo>
                  <a:lnTo>
                    <a:pt x="72" y="206"/>
                  </a:lnTo>
                  <a:lnTo>
                    <a:pt x="67" y="207"/>
                  </a:lnTo>
                  <a:lnTo>
                    <a:pt x="65" y="209"/>
                  </a:lnTo>
                  <a:lnTo>
                    <a:pt x="65" y="213"/>
                  </a:lnTo>
                  <a:lnTo>
                    <a:pt x="67" y="217"/>
                  </a:lnTo>
                  <a:lnTo>
                    <a:pt x="74" y="218"/>
                  </a:lnTo>
                  <a:lnTo>
                    <a:pt x="80" y="222"/>
                  </a:lnTo>
                  <a:lnTo>
                    <a:pt x="83" y="226"/>
                  </a:lnTo>
                  <a:lnTo>
                    <a:pt x="83" y="230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80" name="Freeform 78"/>
            <p:cNvSpPr>
              <a:spLocks/>
            </p:cNvSpPr>
            <p:nvPr/>
          </p:nvSpPr>
          <p:spPr bwMode="auto">
            <a:xfrm>
              <a:off x="2575384" y="4190595"/>
              <a:ext cx="400857" cy="397092"/>
            </a:xfrm>
            <a:custGeom>
              <a:avLst/>
              <a:gdLst>
                <a:gd name="T0" fmla="*/ 43914 w 231"/>
                <a:gd name="T1" fmla="*/ 331787 h 211"/>
                <a:gd name="T2" fmla="*/ 48305 w 231"/>
                <a:gd name="T3" fmla="*/ 334962 h 211"/>
                <a:gd name="T4" fmla="*/ 79045 w 231"/>
                <a:gd name="T5" fmla="*/ 331787 h 211"/>
                <a:gd name="T6" fmla="*/ 118568 w 231"/>
                <a:gd name="T7" fmla="*/ 319087 h 211"/>
                <a:gd name="T8" fmla="*/ 133206 w 231"/>
                <a:gd name="T9" fmla="*/ 304800 h 211"/>
                <a:gd name="T10" fmla="*/ 137597 w 231"/>
                <a:gd name="T11" fmla="*/ 284162 h 211"/>
                <a:gd name="T12" fmla="*/ 149308 w 231"/>
                <a:gd name="T13" fmla="*/ 280987 h 211"/>
                <a:gd name="T14" fmla="*/ 184439 w 231"/>
                <a:gd name="T15" fmla="*/ 276225 h 211"/>
                <a:gd name="T16" fmla="*/ 229817 w 231"/>
                <a:gd name="T17" fmla="*/ 261937 h 211"/>
                <a:gd name="T18" fmla="*/ 257629 w 231"/>
                <a:gd name="T19" fmla="*/ 238125 h 211"/>
                <a:gd name="T20" fmla="*/ 283977 w 231"/>
                <a:gd name="T21" fmla="*/ 204787 h 211"/>
                <a:gd name="T22" fmla="*/ 322036 w 231"/>
                <a:gd name="T23" fmla="*/ 173037 h 211"/>
                <a:gd name="T24" fmla="*/ 338138 w 231"/>
                <a:gd name="T25" fmla="*/ 155575 h 211"/>
                <a:gd name="T26" fmla="*/ 327891 w 231"/>
                <a:gd name="T27" fmla="*/ 138112 h 211"/>
                <a:gd name="T28" fmla="*/ 319109 w 231"/>
                <a:gd name="T29" fmla="*/ 106362 h 211"/>
                <a:gd name="T30" fmla="*/ 313253 w 231"/>
                <a:gd name="T31" fmla="*/ 88900 h 211"/>
                <a:gd name="T32" fmla="*/ 305934 w 231"/>
                <a:gd name="T33" fmla="*/ 82550 h 211"/>
                <a:gd name="T34" fmla="*/ 305934 w 231"/>
                <a:gd name="T35" fmla="*/ 68262 h 211"/>
                <a:gd name="T36" fmla="*/ 297152 w 231"/>
                <a:gd name="T37" fmla="*/ 55562 h 211"/>
                <a:gd name="T38" fmla="*/ 281050 w 231"/>
                <a:gd name="T39" fmla="*/ 49212 h 211"/>
                <a:gd name="T40" fmla="*/ 264948 w 231"/>
                <a:gd name="T41" fmla="*/ 47625 h 211"/>
                <a:gd name="T42" fmla="*/ 245919 w 231"/>
                <a:gd name="T43" fmla="*/ 34925 h 211"/>
                <a:gd name="T44" fmla="*/ 238600 w 231"/>
                <a:gd name="T45" fmla="*/ 17462 h 211"/>
                <a:gd name="T46" fmla="*/ 210787 w 231"/>
                <a:gd name="T47" fmla="*/ 34925 h 211"/>
                <a:gd name="T48" fmla="*/ 187367 w 231"/>
                <a:gd name="T49" fmla="*/ 55562 h 211"/>
                <a:gd name="T50" fmla="*/ 175656 w 231"/>
                <a:gd name="T51" fmla="*/ 73025 h 211"/>
                <a:gd name="T52" fmla="*/ 149308 w 231"/>
                <a:gd name="T53" fmla="*/ 55562 h 211"/>
                <a:gd name="T54" fmla="*/ 108321 w 231"/>
                <a:gd name="T55" fmla="*/ 9525 h 211"/>
                <a:gd name="T56" fmla="*/ 81973 w 231"/>
                <a:gd name="T57" fmla="*/ 6350 h 211"/>
                <a:gd name="T58" fmla="*/ 57088 w 231"/>
                <a:gd name="T59" fmla="*/ 9525 h 211"/>
                <a:gd name="T60" fmla="*/ 46842 w 231"/>
                <a:gd name="T61" fmla="*/ 0 h 211"/>
                <a:gd name="T62" fmla="*/ 32204 w 231"/>
                <a:gd name="T63" fmla="*/ 0 h 211"/>
                <a:gd name="T64" fmla="*/ 16102 w 231"/>
                <a:gd name="T65" fmla="*/ 30162 h 211"/>
                <a:gd name="T66" fmla="*/ 10247 w 231"/>
                <a:gd name="T67" fmla="*/ 69850 h 211"/>
                <a:gd name="T68" fmla="*/ 5855 w 231"/>
                <a:gd name="T69" fmla="*/ 82550 h 211"/>
                <a:gd name="T70" fmla="*/ 5855 w 231"/>
                <a:gd name="T71" fmla="*/ 100012 h 211"/>
                <a:gd name="T72" fmla="*/ 10247 w 231"/>
                <a:gd name="T73" fmla="*/ 131762 h 211"/>
                <a:gd name="T74" fmla="*/ 13174 w 231"/>
                <a:gd name="T75" fmla="*/ 158750 h 211"/>
                <a:gd name="T76" fmla="*/ 13174 w 231"/>
                <a:gd name="T77" fmla="*/ 179387 h 211"/>
                <a:gd name="T78" fmla="*/ 19029 w 231"/>
                <a:gd name="T79" fmla="*/ 203200 h 211"/>
                <a:gd name="T80" fmla="*/ 24885 w 231"/>
                <a:gd name="T81" fmla="*/ 228600 h 211"/>
                <a:gd name="T82" fmla="*/ 24885 w 231"/>
                <a:gd name="T83" fmla="*/ 266700 h 211"/>
                <a:gd name="T84" fmla="*/ 35131 w 231"/>
                <a:gd name="T85" fmla="*/ 311150 h 21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31"/>
                <a:gd name="T130" fmla="*/ 0 h 211"/>
                <a:gd name="T131" fmla="*/ 231 w 231"/>
                <a:gd name="T132" fmla="*/ 211 h 21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31" h="211">
                  <a:moveTo>
                    <a:pt x="26" y="209"/>
                  </a:moveTo>
                  <a:lnTo>
                    <a:pt x="30" y="209"/>
                  </a:lnTo>
                  <a:lnTo>
                    <a:pt x="33" y="209"/>
                  </a:lnTo>
                  <a:lnTo>
                    <a:pt x="33" y="211"/>
                  </a:lnTo>
                  <a:lnTo>
                    <a:pt x="54" y="209"/>
                  </a:lnTo>
                  <a:lnTo>
                    <a:pt x="74" y="203"/>
                  </a:lnTo>
                  <a:lnTo>
                    <a:pt x="81" y="201"/>
                  </a:lnTo>
                  <a:lnTo>
                    <a:pt x="87" y="198"/>
                  </a:lnTo>
                  <a:lnTo>
                    <a:pt x="91" y="192"/>
                  </a:lnTo>
                  <a:lnTo>
                    <a:pt x="92" y="187"/>
                  </a:lnTo>
                  <a:lnTo>
                    <a:pt x="94" y="179"/>
                  </a:lnTo>
                  <a:lnTo>
                    <a:pt x="96" y="174"/>
                  </a:lnTo>
                  <a:lnTo>
                    <a:pt x="102" y="177"/>
                  </a:lnTo>
                  <a:lnTo>
                    <a:pt x="113" y="183"/>
                  </a:lnTo>
                  <a:lnTo>
                    <a:pt x="126" y="174"/>
                  </a:lnTo>
                  <a:lnTo>
                    <a:pt x="140" y="165"/>
                  </a:lnTo>
                  <a:lnTo>
                    <a:pt x="157" y="165"/>
                  </a:lnTo>
                  <a:lnTo>
                    <a:pt x="168" y="166"/>
                  </a:lnTo>
                  <a:lnTo>
                    <a:pt x="176" y="150"/>
                  </a:lnTo>
                  <a:lnTo>
                    <a:pt x="179" y="137"/>
                  </a:lnTo>
                  <a:lnTo>
                    <a:pt x="194" y="129"/>
                  </a:lnTo>
                  <a:lnTo>
                    <a:pt x="213" y="120"/>
                  </a:lnTo>
                  <a:lnTo>
                    <a:pt x="220" y="109"/>
                  </a:lnTo>
                  <a:lnTo>
                    <a:pt x="231" y="98"/>
                  </a:lnTo>
                  <a:lnTo>
                    <a:pt x="224" y="87"/>
                  </a:lnTo>
                  <a:lnTo>
                    <a:pt x="218" y="76"/>
                  </a:lnTo>
                  <a:lnTo>
                    <a:pt x="218" y="67"/>
                  </a:lnTo>
                  <a:lnTo>
                    <a:pt x="218" y="59"/>
                  </a:lnTo>
                  <a:lnTo>
                    <a:pt x="214" y="56"/>
                  </a:lnTo>
                  <a:lnTo>
                    <a:pt x="211" y="54"/>
                  </a:lnTo>
                  <a:lnTo>
                    <a:pt x="209" y="52"/>
                  </a:lnTo>
                  <a:lnTo>
                    <a:pt x="209" y="48"/>
                  </a:lnTo>
                  <a:lnTo>
                    <a:pt x="209" y="43"/>
                  </a:lnTo>
                  <a:lnTo>
                    <a:pt x="207" y="37"/>
                  </a:lnTo>
                  <a:lnTo>
                    <a:pt x="203" y="35"/>
                  </a:lnTo>
                  <a:lnTo>
                    <a:pt x="198" y="33"/>
                  </a:lnTo>
                  <a:lnTo>
                    <a:pt x="192" y="31"/>
                  </a:lnTo>
                  <a:lnTo>
                    <a:pt x="187" y="31"/>
                  </a:lnTo>
                  <a:lnTo>
                    <a:pt x="181" y="30"/>
                  </a:lnTo>
                  <a:lnTo>
                    <a:pt x="174" y="28"/>
                  </a:lnTo>
                  <a:lnTo>
                    <a:pt x="168" y="22"/>
                  </a:lnTo>
                  <a:lnTo>
                    <a:pt x="163" y="13"/>
                  </a:lnTo>
                  <a:lnTo>
                    <a:pt x="163" y="11"/>
                  </a:lnTo>
                  <a:lnTo>
                    <a:pt x="161" y="9"/>
                  </a:lnTo>
                  <a:lnTo>
                    <a:pt x="144" y="22"/>
                  </a:lnTo>
                  <a:lnTo>
                    <a:pt x="131" y="30"/>
                  </a:lnTo>
                  <a:lnTo>
                    <a:pt x="128" y="35"/>
                  </a:lnTo>
                  <a:lnTo>
                    <a:pt x="126" y="41"/>
                  </a:lnTo>
                  <a:lnTo>
                    <a:pt x="120" y="46"/>
                  </a:lnTo>
                  <a:lnTo>
                    <a:pt x="115" y="48"/>
                  </a:lnTo>
                  <a:lnTo>
                    <a:pt x="102" y="35"/>
                  </a:lnTo>
                  <a:lnTo>
                    <a:pt x="85" y="17"/>
                  </a:lnTo>
                  <a:lnTo>
                    <a:pt x="74" y="6"/>
                  </a:lnTo>
                  <a:lnTo>
                    <a:pt x="65" y="0"/>
                  </a:lnTo>
                  <a:lnTo>
                    <a:pt x="56" y="4"/>
                  </a:lnTo>
                  <a:lnTo>
                    <a:pt x="46" y="7"/>
                  </a:lnTo>
                  <a:lnTo>
                    <a:pt x="39" y="6"/>
                  </a:lnTo>
                  <a:lnTo>
                    <a:pt x="33" y="2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15" y="2"/>
                  </a:lnTo>
                  <a:lnTo>
                    <a:pt x="11" y="19"/>
                  </a:lnTo>
                  <a:lnTo>
                    <a:pt x="7" y="41"/>
                  </a:lnTo>
                  <a:lnTo>
                    <a:pt x="7" y="44"/>
                  </a:lnTo>
                  <a:lnTo>
                    <a:pt x="7" y="48"/>
                  </a:lnTo>
                  <a:lnTo>
                    <a:pt x="4" y="52"/>
                  </a:lnTo>
                  <a:lnTo>
                    <a:pt x="0" y="56"/>
                  </a:lnTo>
                  <a:lnTo>
                    <a:pt x="4" y="63"/>
                  </a:lnTo>
                  <a:lnTo>
                    <a:pt x="7" y="70"/>
                  </a:lnTo>
                  <a:lnTo>
                    <a:pt x="7" y="83"/>
                  </a:lnTo>
                  <a:lnTo>
                    <a:pt x="6" y="94"/>
                  </a:lnTo>
                  <a:lnTo>
                    <a:pt x="9" y="100"/>
                  </a:lnTo>
                  <a:lnTo>
                    <a:pt x="13" y="105"/>
                  </a:lnTo>
                  <a:lnTo>
                    <a:pt x="9" y="113"/>
                  </a:lnTo>
                  <a:lnTo>
                    <a:pt x="7" y="122"/>
                  </a:lnTo>
                  <a:lnTo>
                    <a:pt x="13" y="128"/>
                  </a:lnTo>
                  <a:lnTo>
                    <a:pt x="19" y="135"/>
                  </a:lnTo>
                  <a:lnTo>
                    <a:pt x="17" y="144"/>
                  </a:lnTo>
                  <a:lnTo>
                    <a:pt x="13" y="153"/>
                  </a:lnTo>
                  <a:lnTo>
                    <a:pt x="17" y="168"/>
                  </a:lnTo>
                  <a:lnTo>
                    <a:pt x="20" y="181"/>
                  </a:lnTo>
                  <a:lnTo>
                    <a:pt x="24" y="196"/>
                  </a:lnTo>
                  <a:lnTo>
                    <a:pt x="26" y="209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81" name="Freeform 79"/>
            <p:cNvSpPr>
              <a:spLocks/>
            </p:cNvSpPr>
            <p:nvPr/>
          </p:nvSpPr>
          <p:spPr bwMode="auto">
            <a:xfrm>
              <a:off x="2059729" y="3968524"/>
              <a:ext cx="560823" cy="692560"/>
            </a:xfrm>
            <a:custGeom>
              <a:avLst/>
              <a:gdLst>
                <a:gd name="T0" fmla="*/ 180149 w 323"/>
                <a:gd name="T1" fmla="*/ 463550 h 368"/>
                <a:gd name="T2" fmla="*/ 172826 w 323"/>
                <a:gd name="T3" fmla="*/ 557213 h 368"/>
                <a:gd name="T4" fmla="*/ 188937 w 323"/>
                <a:gd name="T5" fmla="*/ 584200 h 368"/>
                <a:gd name="T6" fmla="*/ 215300 w 323"/>
                <a:gd name="T7" fmla="*/ 581025 h 368"/>
                <a:gd name="T8" fmla="*/ 232876 w 323"/>
                <a:gd name="T9" fmla="*/ 565150 h 368"/>
                <a:gd name="T10" fmla="*/ 237270 w 323"/>
                <a:gd name="T11" fmla="*/ 533400 h 368"/>
                <a:gd name="T12" fmla="*/ 243128 w 323"/>
                <a:gd name="T13" fmla="*/ 512763 h 368"/>
                <a:gd name="T14" fmla="*/ 265098 w 323"/>
                <a:gd name="T15" fmla="*/ 501650 h 368"/>
                <a:gd name="T16" fmla="*/ 288532 w 323"/>
                <a:gd name="T17" fmla="*/ 509588 h 368"/>
                <a:gd name="T18" fmla="*/ 307572 w 323"/>
                <a:gd name="T19" fmla="*/ 522288 h 368"/>
                <a:gd name="T20" fmla="*/ 329541 w 323"/>
                <a:gd name="T21" fmla="*/ 506413 h 368"/>
                <a:gd name="T22" fmla="*/ 364692 w 323"/>
                <a:gd name="T23" fmla="*/ 509588 h 368"/>
                <a:gd name="T24" fmla="*/ 445247 w 323"/>
                <a:gd name="T25" fmla="*/ 512763 h 368"/>
                <a:gd name="T26" fmla="*/ 467216 w 323"/>
                <a:gd name="T27" fmla="*/ 522288 h 368"/>
                <a:gd name="T28" fmla="*/ 464287 w 323"/>
                <a:gd name="T29" fmla="*/ 474663 h 368"/>
                <a:gd name="T30" fmla="*/ 459893 w 323"/>
                <a:gd name="T31" fmla="*/ 415925 h 368"/>
                <a:gd name="T32" fmla="*/ 445247 w 323"/>
                <a:gd name="T33" fmla="*/ 381000 h 368"/>
                <a:gd name="T34" fmla="*/ 448176 w 323"/>
                <a:gd name="T35" fmla="*/ 346075 h 368"/>
                <a:gd name="T36" fmla="*/ 445247 w 323"/>
                <a:gd name="T37" fmla="*/ 298450 h 368"/>
                <a:gd name="T38" fmla="*/ 418884 w 323"/>
                <a:gd name="T39" fmla="*/ 263525 h 368"/>
                <a:gd name="T40" fmla="*/ 389591 w 323"/>
                <a:gd name="T41" fmla="*/ 236538 h 368"/>
                <a:gd name="T42" fmla="*/ 338329 w 323"/>
                <a:gd name="T43" fmla="*/ 198437 h 368"/>
                <a:gd name="T44" fmla="*/ 269492 w 323"/>
                <a:gd name="T45" fmla="*/ 166687 h 368"/>
                <a:gd name="T46" fmla="*/ 229947 w 323"/>
                <a:gd name="T47" fmla="*/ 128588 h 368"/>
                <a:gd name="T48" fmla="*/ 194796 w 323"/>
                <a:gd name="T49" fmla="*/ 84137 h 368"/>
                <a:gd name="T50" fmla="*/ 169897 w 323"/>
                <a:gd name="T51" fmla="*/ 79375 h 368"/>
                <a:gd name="T52" fmla="*/ 143534 w 323"/>
                <a:gd name="T53" fmla="*/ 55563 h 368"/>
                <a:gd name="T54" fmla="*/ 109847 w 323"/>
                <a:gd name="T55" fmla="*/ 23812 h 368"/>
                <a:gd name="T56" fmla="*/ 86413 w 323"/>
                <a:gd name="T57" fmla="*/ 14288 h 368"/>
                <a:gd name="T58" fmla="*/ 29293 w 323"/>
                <a:gd name="T59" fmla="*/ 58738 h 368"/>
                <a:gd name="T60" fmla="*/ 13182 w 323"/>
                <a:gd name="T61" fmla="*/ 90487 h 368"/>
                <a:gd name="T62" fmla="*/ 0 w 323"/>
                <a:gd name="T63" fmla="*/ 96837 h 368"/>
                <a:gd name="T64" fmla="*/ 19040 w 323"/>
                <a:gd name="T65" fmla="*/ 117475 h 368"/>
                <a:gd name="T66" fmla="*/ 20505 w 323"/>
                <a:gd name="T67" fmla="*/ 146050 h 368"/>
                <a:gd name="T68" fmla="*/ 48333 w 323"/>
                <a:gd name="T69" fmla="*/ 152400 h 368"/>
                <a:gd name="T70" fmla="*/ 67373 w 323"/>
                <a:gd name="T71" fmla="*/ 179387 h 368"/>
                <a:gd name="T72" fmla="*/ 86413 w 323"/>
                <a:gd name="T73" fmla="*/ 180975 h 368"/>
                <a:gd name="T74" fmla="*/ 108383 w 323"/>
                <a:gd name="T75" fmla="*/ 211138 h 368"/>
                <a:gd name="T76" fmla="*/ 115706 w 323"/>
                <a:gd name="T77" fmla="*/ 246063 h 368"/>
                <a:gd name="T78" fmla="*/ 73231 w 323"/>
                <a:gd name="T79" fmla="*/ 307975 h 368"/>
                <a:gd name="T80" fmla="*/ 74696 w 323"/>
                <a:gd name="T81" fmla="*/ 325437 h 368"/>
                <a:gd name="T82" fmla="*/ 96665 w 323"/>
                <a:gd name="T83" fmla="*/ 346075 h 368"/>
                <a:gd name="T84" fmla="*/ 108383 w 323"/>
                <a:gd name="T85" fmla="*/ 360362 h 368"/>
                <a:gd name="T86" fmla="*/ 128887 w 323"/>
                <a:gd name="T87" fmla="*/ 374650 h 368"/>
                <a:gd name="T88" fmla="*/ 147927 w 323"/>
                <a:gd name="T89" fmla="*/ 411163 h 3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23"/>
                <a:gd name="T136" fmla="*/ 0 h 368"/>
                <a:gd name="T137" fmla="*/ 323 w 323"/>
                <a:gd name="T138" fmla="*/ 368 h 36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23" h="368">
                  <a:moveTo>
                    <a:pt x="118" y="292"/>
                  </a:moveTo>
                  <a:lnTo>
                    <a:pt x="120" y="292"/>
                  </a:lnTo>
                  <a:lnTo>
                    <a:pt x="123" y="292"/>
                  </a:lnTo>
                  <a:lnTo>
                    <a:pt x="123" y="312"/>
                  </a:lnTo>
                  <a:lnTo>
                    <a:pt x="120" y="340"/>
                  </a:lnTo>
                  <a:lnTo>
                    <a:pt x="118" y="351"/>
                  </a:lnTo>
                  <a:lnTo>
                    <a:pt x="122" y="362"/>
                  </a:lnTo>
                  <a:lnTo>
                    <a:pt x="123" y="366"/>
                  </a:lnTo>
                  <a:lnTo>
                    <a:pt x="129" y="368"/>
                  </a:lnTo>
                  <a:lnTo>
                    <a:pt x="135" y="368"/>
                  </a:lnTo>
                  <a:lnTo>
                    <a:pt x="142" y="368"/>
                  </a:lnTo>
                  <a:lnTo>
                    <a:pt x="147" y="366"/>
                  </a:lnTo>
                  <a:lnTo>
                    <a:pt x="153" y="364"/>
                  </a:lnTo>
                  <a:lnTo>
                    <a:pt x="157" y="360"/>
                  </a:lnTo>
                  <a:lnTo>
                    <a:pt x="159" y="356"/>
                  </a:lnTo>
                  <a:lnTo>
                    <a:pt x="162" y="351"/>
                  </a:lnTo>
                  <a:lnTo>
                    <a:pt x="162" y="344"/>
                  </a:lnTo>
                  <a:lnTo>
                    <a:pt x="162" y="336"/>
                  </a:lnTo>
                  <a:lnTo>
                    <a:pt x="164" y="329"/>
                  </a:lnTo>
                  <a:lnTo>
                    <a:pt x="164" y="325"/>
                  </a:lnTo>
                  <a:lnTo>
                    <a:pt x="166" y="323"/>
                  </a:lnTo>
                  <a:lnTo>
                    <a:pt x="170" y="319"/>
                  </a:lnTo>
                  <a:lnTo>
                    <a:pt x="173" y="318"/>
                  </a:lnTo>
                  <a:lnTo>
                    <a:pt x="181" y="316"/>
                  </a:lnTo>
                  <a:lnTo>
                    <a:pt x="186" y="316"/>
                  </a:lnTo>
                  <a:lnTo>
                    <a:pt x="192" y="318"/>
                  </a:lnTo>
                  <a:lnTo>
                    <a:pt x="197" y="321"/>
                  </a:lnTo>
                  <a:lnTo>
                    <a:pt x="201" y="325"/>
                  </a:lnTo>
                  <a:lnTo>
                    <a:pt x="207" y="327"/>
                  </a:lnTo>
                  <a:lnTo>
                    <a:pt x="210" y="329"/>
                  </a:lnTo>
                  <a:lnTo>
                    <a:pt x="218" y="329"/>
                  </a:lnTo>
                  <a:lnTo>
                    <a:pt x="221" y="325"/>
                  </a:lnTo>
                  <a:lnTo>
                    <a:pt x="225" y="319"/>
                  </a:lnTo>
                  <a:lnTo>
                    <a:pt x="231" y="316"/>
                  </a:lnTo>
                  <a:lnTo>
                    <a:pt x="236" y="314"/>
                  </a:lnTo>
                  <a:lnTo>
                    <a:pt x="249" y="321"/>
                  </a:lnTo>
                  <a:lnTo>
                    <a:pt x="268" y="331"/>
                  </a:lnTo>
                  <a:lnTo>
                    <a:pt x="290" y="327"/>
                  </a:lnTo>
                  <a:lnTo>
                    <a:pt x="304" y="323"/>
                  </a:lnTo>
                  <a:lnTo>
                    <a:pt x="310" y="327"/>
                  </a:lnTo>
                  <a:lnTo>
                    <a:pt x="316" y="329"/>
                  </a:lnTo>
                  <a:lnTo>
                    <a:pt x="319" y="329"/>
                  </a:lnTo>
                  <a:lnTo>
                    <a:pt x="323" y="327"/>
                  </a:lnTo>
                  <a:lnTo>
                    <a:pt x="321" y="314"/>
                  </a:lnTo>
                  <a:lnTo>
                    <a:pt x="317" y="299"/>
                  </a:lnTo>
                  <a:lnTo>
                    <a:pt x="314" y="286"/>
                  </a:lnTo>
                  <a:lnTo>
                    <a:pt x="310" y="271"/>
                  </a:lnTo>
                  <a:lnTo>
                    <a:pt x="314" y="262"/>
                  </a:lnTo>
                  <a:lnTo>
                    <a:pt x="316" y="253"/>
                  </a:lnTo>
                  <a:lnTo>
                    <a:pt x="310" y="246"/>
                  </a:lnTo>
                  <a:lnTo>
                    <a:pt x="304" y="240"/>
                  </a:lnTo>
                  <a:lnTo>
                    <a:pt x="306" y="231"/>
                  </a:lnTo>
                  <a:lnTo>
                    <a:pt x="310" y="223"/>
                  </a:lnTo>
                  <a:lnTo>
                    <a:pt x="306" y="218"/>
                  </a:lnTo>
                  <a:lnTo>
                    <a:pt x="303" y="212"/>
                  </a:lnTo>
                  <a:lnTo>
                    <a:pt x="304" y="201"/>
                  </a:lnTo>
                  <a:lnTo>
                    <a:pt x="304" y="188"/>
                  </a:lnTo>
                  <a:lnTo>
                    <a:pt x="299" y="179"/>
                  </a:lnTo>
                  <a:lnTo>
                    <a:pt x="293" y="168"/>
                  </a:lnTo>
                  <a:lnTo>
                    <a:pt x="286" y="166"/>
                  </a:lnTo>
                  <a:lnTo>
                    <a:pt x="277" y="164"/>
                  </a:lnTo>
                  <a:lnTo>
                    <a:pt x="271" y="155"/>
                  </a:lnTo>
                  <a:lnTo>
                    <a:pt x="266" y="149"/>
                  </a:lnTo>
                  <a:lnTo>
                    <a:pt x="256" y="149"/>
                  </a:lnTo>
                  <a:lnTo>
                    <a:pt x="247" y="149"/>
                  </a:lnTo>
                  <a:lnTo>
                    <a:pt x="231" y="125"/>
                  </a:lnTo>
                  <a:lnTo>
                    <a:pt x="214" y="100"/>
                  </a:lnTo>
                  <a:lnTo>
                    <a:pt x="199" y="101"/>
                  </a:lnTo>
                  <a:lnTo>
                    <a:pt x="184" y="105"/>
                  </a:lnTo>
                  <a:lnTo>
                    <a:pt x="177" y="96"/>
                  </a:lnTo>
                  <a:lnTo>
                    <a:pt x="170" y="83"/>
                  </a:lnTo>
                  <a:lnTo>
                    <a:pt x="157" y="81"/>
                  </a:lnTo>
                  <a:lnTo>
                    <a:pt x="147" y="77"/>
                  </a:lnTo>
                  <a:lnTo>
                    <a:pt x="140" y="66"/>
                  </a:lnTo>
                  <a:lnTo>
                    <a:pt x="133" y="53"/>
                  </a:lnTo>
                  <a:lnTo>
                    <a:pt x="127" y="53"/>
                  </a:lnTo>
                  <a:lnTo>
                    <a:pt x="120" y="52"/>
                  </a:lnTo>
                  <a:lnTo>
                    <a:pt x="116" y="50"/>
                  </a:lnTo>
                  <a:lnTo>
                    <a:pt x="112" y="46"/>
                  </a:lnTo>
                  <a:lnTo>
                    <a:pt x="105" y="40"/>
                  </a:lnTo>
                  <a:lnTo>
                    <a:pt x="98" y="35"/>
                  </a:lnTo>
                  <a:lnTo>
                    <a:pt x="87" y="33"/>
                  </a:lnTo>
                  <a:lnTo>
                    <a:pt x="77" y="31"/>
                  </a:lnTo>
                  <a:lnTo>
                    <a:pt x="75" y="15"/>
                  </a:lnTo>
                  <a:lnTo>
                    <a:pt x="70" y="0"/>
                  </a:lnTo>
                  <a:lnTo>
                    <a:pt x="64" y="4"/>
                  </a:lnTo>
                  <a:lnTo>
                    <a:pt x="59" y="9"/>
                  </a:lnTo>
                  <a:lnTo>
                    <a:pt x="40" y="18"/>
                  </a:lnTo>
                  <a:lnTo>
                    <a:pt x="20" y="26"/>
                  </a:lnTo>
                  <a:lnTo>
                    <a:pt x="20" y="37"/>
                  </a:lnTo>
                  <a:lnTo>
                    <a:pt x="18" y="50"/>
                  </a:lnTo>
                  <a:lnTo>
                    <a:pt x="14" y="53"/>
                  </a:lnTo>
                  <a:lnTo>
                    <a:pt x="9" y="57"/>
                  </a:lnTo>
                  <a:lnTo>
                    <a:pt x="5" y="59"/>
                  </a:lnTo>
                  <a:lnTo>
                    <a:pt x="0" y="61"/>
                  </a:lnTo>
                  <a:lnTo>
                    <a:pt x="7" y="66"/>
                  </a:lnTo>
                  <a:lnTo>
                    <a:pt x="13" y="74"/>
                  </a:lnTo>
                  <a:lnTo>
                    <a:pt x="14" y="79"/>
                  </a:lnTo>
                  <a:lnTo>
                    <a:pt x="14" y="83"/>
                  </a:lnTo>
                  <a:lnTo>
                    <a:pt x="14" y="92"/>
                  </a:lnTo>
                  <a:lnTo>
                    <a:pt x="16" y="98"/>
                  </a:lnTo>
                  <a:lnTo>
                    <a:pt x="24" y="98"/>
                  </a:lnTo>
                  <a:lnTo>
                    <a:pt x="33" y="96"/>
                  </a:lnTo>
                  <a:lnTo>
                    <a:pt x="37" y="103"/>
                  </a:lnTo>
                  <a:lnTo>
                    <a:pt x="40" y="113"/>
                  </a:lnTo>
                  <a:lnTo>
                    <a:pt x="46" y="113"/>
                  </a:lnTo>
                  <a:lnTo>
                    <a:pt x="51" y="113"/>
                  </a:lnTo>
                  <a:lnTo>
                    <a:pt x="55" y="113"/>
                  </a:lnTo>
                  <a:lnTo>
                    <a:pt x="59" y="114"/>
                  </a:lnTo>
                  <a:lnTo>
                    <a:pt x="62" y="118"/>
                  </a:lnTo>
                  <a:lnTo>
                    <a:pt x="68" y="125"/>
                  </a:lnTo>
                  <a:lnTo>
                    <a:pt x="74" y="133"/>
                  </a:lnTo>
                  <a:lnTo>
                    <a:pt x="77" y="140"/>
                  </a:lnTo>
                  <a:lnTo>
                    <a:pt x="79" y="148"/>
                  </a:lnTo>
                  <a:lnTo>
                    <a:pt x="79" y="155"/>
                  </a:lnTo>
                  <a:lnTo>
                    <a:pt x="64" y="172"/>
                  </a:lnTo>
                  <a:lnTo>
                    <a:pt x="51" y="188"/>
                  </a:lnTo>
                  <a:lnTo>
                    <a:pt x="50" y="194"/>
                  </a:lnTo>
                  <a:lnTo>
                    <a:pt x="50" y="198"/>
                  </a:lnTo>
                  <a:lnTo>
                    <a:pt x="50" y="201"/>
                  </a:lnTo>
                  <a:lnTo>
                    <a:pt x="51" y="205"/>
                  </a:lnTo>
                  <a:lnTo>
                    <a:pt x="57" y="210"/>
                  </a:lnTo>
                  <a:lnTo>
                    <a:pt x="61" y="214"/>
                  </a:lnTo>
                  <a:lnTo>
                    <a:pt x="66" y="218"/>
                  </a:lnTo>
                  <a:lnTo>
                    <a:pt x="70" y="220"/>
                  </a:lnTo>
                  <a:lnTo>
                    <a:pt x="72" y="223"/>
                  </a:lnTo>
                  <a:lnTo>
                    <a:pt x="74" y="227"/>
                  </a:lnTo>
                  <a:lnTo>
                    <a:pt x="75" y="233"/>
                  </a:lnTo>
                  <a:lnTo>
                    <a:pt x="79" y="238"/>
                  </a:lnTo>
                  <a:lnTo>
                    <a:pt x="88" y="236"/>
                  </a:lnTo>
                  <a:lnTo>
                    <a:pt x="99" y="236"/>
                  </a:lnTo>
                  <a:lnTo>
                    <a:pt x="99" y="244"/>
                  </a:lnTo>
                  <a:lnTo>
                    <a:pt x="101" y="259"/>
                  </a:lnTo>
                  <a:lnTo>
                    <a:pt x="109" y="275"/>
                  </a:lnTo>
                  <a:lnTo>
                    <a:pt x="118" y="292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82" name="Freeform 80"/>
            <p:cNvSpPr>
              <a:spLocks/>
            </p:cNvSpPr>
            <p:nvPr/>
          </p:nvSpPr>
          <p:spPr bwMode="auto">
            <a:xfrm>
              <a:off x="2180173" y="3767155"/>
              <a:ext cx="376391" cy="440378"/>
            </a:xfrm>
            <a:custGeom>
              <a:avLst/>
              <a:gdLst>
                <a:gd name="T0" fmla="*/ 249884 w 216"/>
                <a:gd name="T1" fmla="*/ 354013 h 234"/>
                <a:gd name="T2" fmla="*/ 271933 w 216"/>
                <a:gd name="T3" fmla="*/ 336550 h 234"/>
                <a:gd name="T4" fmla="*/ 291042 w 216"/>
                <a:gd name="T5" fmla="*/ 328613 h 234"/>
                <a:gd name="T6" fmla="*/ 298391 w 216"/>
                <a:gd name="T7" fmla="*/ 277813 h 234"/>
                <a:gd name="T8" fmla="*/ 307211 w 216"/>
                <a:gd name="T9" fmla="*/ 228600 h 234"/>
                <a:gd name="T10" fmla="*/ 317500 w 216"/>
                <a:gd name="T11" fmla="*/ 215900 h 234"/>
                <a:gd name="T12" fmla="*/ 311620 w 216"/>
                <a:gd name="T13" fmla="*/ 204788 h 234"/>
                <a:gd name="T14" fmla="*/ 285162 w 216"/>
                <a:gd name="T15" fmla="*/ 190500 h 234"/>
                <a:gd name="T16" fmla="*/ 255764 w 216"/>
                <a:gd name="T17" fmla="*/ 160338 h 234"/>
                <a:gd name="T18" fmla="*/ 244005 w 216"/>
                <a:gd name="T19" fmla="*/ 134938 h 234"/>
                <a:gd name="T20" fmla="*/ 236655 w 216"/>
                <a:gd name="T21" fmla="*/ 136525 h 234"/>
                <a:gd name="T22" fmla="*/ 227836 w 216"/>
                <a:gd name="T23" fmla="*/ 142875 h 234"/>
                <a:gd name="T24" fmla="*/ 208727 w 216"/>
                <a:gd name="T25" fmla="*/ 139700 h 234"/>
                <a:gd name="T26" fmla="*/ 195498 w 216"/>
                <a:gd name="T27" fmla="*/ 119063 h 234"/>
                <a:gd name="T28" fmla="*/ 192558 w 216"/>
                <a:gd name="T29" fmla="*/ 98425 h 234"/>
                <a:gd name="T30" fmla="*/ 186678 w 216"/>
                <a:gd name="T31" fmla="*/ 76200 h 234"/>
                <a:gd name="T32" fmla="*/ 157280 w 216"/>
                <a:gd name="T33" fmla="*/ 49212 h 234"/>
                <a:gd name="T34" fmla="*/ 127882 w 216"/>
                <a:gd name="T35" fmla="*/ 22225 h 234"/>
                <a:gd name="T36" fmla="*/ 111713 w 216"/>
                <a:gd name="T37" fmla="*/ 4763 h 234"/>
                <a:gd name="T38" fmla="*/ 86725 w 216"/>
                <a:gd name="T39" fmla="*/ 1588 h 234"/>
                <a:gd name="T40" fmla="*/ 77905 w 216"/>
                <a:gd name="T41" fmla="*/ 20638 h 234"/>
                <a:gd name="T42" fmla="*/ 80845 w 216"/>
                <a:gd name="T43" fmla="*/ 52388 h 234"/>
                <a:gd name="T44" fmla="*/ 76435 w 216"/>
                <a:gd name="T45" fmla="*/ 80963 h 234"/>
                <a:gd name="T46" fmla="*/ 64676 w 216"/>
                <a:gd name="T47" fmla="*/ 84138 h 234"/>
                <a:gd name="T48" fmla="*/ 60266 w 216"/>
                <a:gd name="T49" fmla="*/ 96837 h 234"/>
                <a:gd name="T50" fmla="*/ 57326 w 216"/>
                <a:gd name="T51" fmla="*/ 125413 h 234"/>
                <a:gd name="T52" fmla="*/ 57326 w 216"/>
                <a:gd name="T53" fmla="*/ 155575 h 234"/>
                <a:gd name="T54" fmla="*/ 22049 w 216"/>
                <a:gd name="T55" fmla="*/ 166688 h 234"/>
                <a:gd name="T56" fmla="*/ 0 w 216"/>
                <a:gd name="T57" fmla="*/ 169863 h 234"/>
                <a:gd name="T58" fmla="*/ 7350 w 216"/>
                <a:gd name="T59" fmla="*/ 193675 h 234"/>
                <a:gd name="T60" fmla="*/ 24988 w 216"/>
                <a:gd name="T61" fmla="*/ 222250 h 234"/>
                <a:gd name="T62" fmla="*/ 51447 w 216"/>
                <a:gd name="T63" fmla="*/ 233363 h 234"/>
                <a:gd name="T64" fmla="*/ 67616 w 216"/>
                <a:gd name="T65" fmla="*/ 249238 h 234"/>
                <a:gd name="T66" fmla="*/ 83785 w 216"/>
                <a:gd name="T67" fmla="*/ 254000 h 234"/>
                <a:gd name="T68" fmla="*/ 102894 w 216"/>
                <a:gd name="T69" fmla="*/ 274638 h 234"/>
                <a:gd name="T70" fmla="*/ 127882 w 216"/>
                <a:gd name="T71" fmla="*/ 298450 h 234"/>
                <a:gd name="T72" fmla="*/ 157280 w 216"/>
                <a:gd name="T73" fmla="*/ 322263 h 234"/>
                <a:gd name="T74" fmla="*/ 189618 w 216"/>
                <a:gd name="T75" fmla="*/ 330200 h 234"/>
                <a:gd name="T76" fmla="*/ 220486 w 216"/>
                <a:gd name="T77" fmla="*/ 336550 h 234"/>
                <a:gd name="T78" fmla="*/ 233715 w 216"/>
                <a:gd name="T79" fmla="*/ 357188 h 23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16"/>
                <a:gd name="T121" fmla="*/ 0 h 234"/>
                <a:gd name="T122" fmla="*/ 216 w 216"/>
                <a:gd name="T123" fmla="*/ 234 h 23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16" h="234">
                  <a:moveTo>
                    <a:pt x="162" y="234"/>
                  </a:moveTo>
                  <a:lnTo>
                    <a:pt x="170" y="223"/>
                  </a:lnTo>
                  <a:lnTo>
                    <a:pt x="179" y="212"/>
                  </a:lnTo>
                  <a:lnTo>
                    <a:pt x="185" y="212"/>
                  </a:lnTo>
                  <a:lnTo>
                    <a:pt x="192" y="210"/>
                  </a:lnTo>
                  <a:lnTo>
                    <a:pt x="198" y="207"/>
                  </a:lnTo>
                  <a:lnTo>
                    <a:pt x="203" y="201"/>
                  </a:lnTo>
                  <a:lnTo>
                    <a:pt x="203" y="175"/>
                  </a:lnTo>
                  <a:lnTo>
                    <a:pt x="203" y="149"/>
                  </a:lnTo>
                  <a:lnTo>
                    <a:pt x="209" y="144"/>
                  </a:lnTo>
                  <a:lnTo>
                    <a:pt x="216" y="140"/>
                  </a:lnTo>
                  <a:lnTo>
                    <a:pt x="216" y="136"/>
                  </a:lnTo>
                  <a:lnTo>
                    <a:pt x="216" y="133"/>
                  </a:lnTo>
                  <a:lnTo>
                    <a:pt x="212" y="129"/>
                  </a:lnTo>
                  <a:lnTo>
                    <a:pt x="209" y="123"/>
                  </a:lnTo>
                  <a:lnTo>
                    <a:pt x="194" y="120"/>
                  </a:lnTo>
                  <a:lnTo>
                    <a:pt x="179" y="118"/>
                  </a:lnTo>
                  <a:lnTo>
                    <a:pt x="174" y="101"/>
                  </a:lnTo>
                  <a:lnTo>
                    <a:pt x="172" y="86"/>
                  </a:lnTo>
                  <a:lnTo>
                    <a:pt x="166" y="85"/>
                  </a:lnTo>
                  <a:lnTo>
                    <a:pt x="162" y="85"/>
                  </a:lnTo>
                  <a:lnTo>
                    <a:pt x="161" y="86"/>
                  </a:lnTo>
                  <a:lnTo>
                    <a:pt x="159" y="86"/>
                  </a:lnTo>
                  <a:lnTo>
                    <a:pt x="155" y="90"/>
                  </a:lnTo>
                  <a:lnTo>
                    <a:pt x="151" y="92"/>
                  </a:lnTo>
                  <a:lnTo>
                    <a:pt x="142" y="88"/>
                  </a:lnTo>
                  <a:lnTo>
                    <a:pt x="137" y="83"/>
                  </a:lnTo>
                  <a:lnTo>
                    <a:pt x="133" y="75"/>
                  </a:lnTo>
                  <a:lnTo>
                    <a:pt x="131" y="68"/>
                  </a:lnTo>
                  <a:lnTo>
                    <a:pt x="131" y="62"/>
                  </a:lnTo>
                  <a:lnTo>
                    <a:pt x="129" y="55"/>
                  </a:lnTo>
                  <a:lnTo>
                    <a:pt x="127" y="48"/>
                  </a:lnTo>
                  <a:lnTo>
                    <a:pt x="124" y="42"/>
                  </a:lnTo>
                  <a:lnTo>
                    <a:pt x="107" y="31"/>
                  </a:lnTo>
                  <a:lnTo>
                    <a:pt x="90" y="22"/>
                  </a:lnTo>
                  <a:lnTo>
                    <a:pt x="87" y="14"/>
                  </a:lnTo>
                  <a:lnTo>
                    <a:pt x="81" y="9"/>
                  </a:lnTo>
                  <a:lnTo>
                    <a:pt x="76" y="3"/>
                  </a:lnTo>
                  <a:lnTo>
                    <a:pt x="66" y="0"/>
                  </a:lnTo>
                  <a:lnTo>
                    <a:pt x="59" y="1"/>
                  </a:lnTo>
                  <a:lnTo>
                    <a:pt x="55" y="5"/>
                  </a:lnTo>
                  <a:lnTo>
                    <a:pt x="53" y="13"/>
                  </a:lnTo>
                  <a:lnTo>
                    <a:pt x="53" y="18"/>
                  </a:lnTo>
                  <a:lnTo>
                    <a:pt x="55" y="33"/>
                  </a:lnTo>
                  <a:lnTo>
                    <a:pt x="55" y="48"/>
                  </a:lnTo>
                  <a:lnTo>
                    <a:pt x="52" y="51"/>
                  </a:lnTo>
                  <a:lnTo>
                    <a:pt x="46" y="51"/>
                  </a:lnTo>
                  <a:lnTo>
                    <a:pt x="44" y="53"/>
                  </a:lnTo>
                  <a:lnTo>
                    <a:pt x="42" y="57"/>
                  </a:lnTo>
                  <a:lnTo>
                    <a:pt x="41" y="61"/>
                  </a:lnTo>
                  <a:lnTo>
                    <a:pt x="39" y="70"/>
                  </a:lnTo>
                  <a:lnTo>
                    <a:pt x="39" y="79"/>
                  </a:lnTo>
                  <a:lnTo>
                    <a:pt x="41" y="88"/>
                  </a:lnTo>
                  <a:lnTo>
                    <a:pt x="39" y="98"/>
                  </a:lnTo>
                  <a:lnTo>
                    <a:pt x="33" y="103"/>
                  </a:lnTo>
                  <a:lnTo>
                    <a:pt x="15" y="105"/>
                  </a:lnTo>
                  <a:lnTo>
                    <a:pt x="0" y="107"/>
                  </a:lnTo>
                  <a:lnTo>
                    <a:pt x="5" y="122"/>
                  </a:lnTo>
                  <a:lnTo>
                    <a:pt x="7" y="138"/>
                  </a:lnTo>
                  <a:lnTo>
                    <a:pt x="17" y="140"/>
                  </a:lnTo>
                  <a:lnTo>
                    <a:pt x="28" y="142"/>
                  </a:lnTo>
                  <a:lnTo>
                    <a:pt x="35" y="147"/>
                  </a:lnTo>
                  <a:lnTo>
                    <a:pt x="42" y="153"/>
                  </a:lnTo>
                  <a:lnTo>
                    <a:pt x="46" y="157"/>
                  </a:lnTo>
                  <a:lnTo>
                    <a:pt x="50" y="159"/>
                  </a:lnTo>
                  <a:lnTo>
                    <a:pt x="57" y="160"/>
                  </a:lnTo>
                  <a:lnTo>
                    <a:pt x="63" y="160"/>
                  </a:lnTo>
                  <a:lnTo>
                    <a:pt x="70" y="173"/>
                  </a:lnTo>
                  <a:lnTo>
                    <a:pt x="77" y="184"/>
                  </a:lnTo>
                  <a:lnTo>
                    <a:pt x="87" y="188"/>
                  </a:lnTo>
                  <a:lnTo>
                    <a:pt x="100" y="190"/>
                  </a:lnTo>
                  <a:lnTo>
                    <a:pt x="107" y="203"/>
                  </a:lnTo>
                  <a:lnTo>
                    <a:pt x="114" y="212"/>
                  </a:lnTo>
                  <a:lnTo>
                    <a:pt x="129" y="208"/>
                  </a:lnTo>
                  <a:lnTo>
                    <a:pt x="144" y="207"/>
                  </a:lnTo>
                  <a:lnTo>
                    <a:pt x="150" y="212"/>
                  </a:lnTo>
                  <a:lnTo>
                    <a:pt x="155" y="218"/>
                  </a:lnTo>
                  <a:lnTo>
                    <a:pt x="159" y="225"/>
                  </a:lnTo>
                  <a:lnTo>
                    <a:pt x="162" y="234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83" name="Freeform 81"/>
            <p:cNvSpPr>
              <a:spLocks/>
            </p:cNvSpPr>
            <p:nvPr/>
          </p:nvSpPr>
          <p:spPr bwMode="auto">
            <a:xfrm>
              <a:off x="2462466" y="3981699"/>
              <a:ext cx="393330" cy="314287"/>
            </a:xfrm>
            <a:custGeom>
              <a:avLst/>
              <a:gdLst>
                <a:gd name="T0" fmla="*/ 184979 w 226"/>
                <a:gd name="T1" fmla="*/ 26988 h 167"/>
                <a:gd name="T2" fmla="*/ 179107 w 226"/>
                <a:gd name="T3" fmla="*/ 6350 h 167"/>
                <a:gd name="T4" fmla="*/ 162958 w 226"/>
                <a:gd name="T5" fmla="*/ 0 h 167"/>
                <a:gd name="T6" fmla="*/ 152681 w 226"/>
                <a:gd name="T7" fmla="*/ 3175 h 167"/>
                <a:gd name="T8" fmla="*/ 139468 w 226"/>
                <a:gd name="T9" fmla="*/ 20638 h 167"/>
                <a:gd name="T10" fmla="*/ 123319 w 226"/>
                <a:gd name="T11" fmla="*/ 34925 h 167"/>
                <a:gd name="T12" fmla="*/ 89553 w 226"/>
                <a:gd name="T13" fmla="*/ 26988 h 167"/>
                <a:gd name="T14" fmla="*/ 79277 w 226"/>
                <a:gd name="T15" fmla="*/ 33338 h 167"/>
                <a:gd name="T16" fmla="*/ 69000 w 226"/>
                <a:gd name="T17" fmla="*/ 47625 h 167"/>
                <a:gd name="T18" fmla="*/ 60192 w 226"/>
                <a:gd name="T19" fmla="*/ 96838 h 167"/>
                <a:gd name="T20" fmla="*/ 52851 w 226"/>
                <a:gd name="T21" fmla="*/ 147638 h 167"/>
                <a:gd name="T22" fmla="*/ 33766 w 226"/>
                <a:gd name="T23" fmla="*/ 155575 h 167"/>
                <a:gd name="T24" fmla="*/ 11745 w 226"/>
                <a:gd name="T25" fmla="*/ 173038 h 167"/>
                <a:gd name="T26" fmla="*/ 2936 w 226"/>
                <a:gd name="T27" fmla="*/ 203200 h 167"/>
                <a:gd name="T28" fmla="*/ 14681 w 226"/>
                <a:gd name="T29" fmla="*/ 220663 h 167"/>
                <a:gd name="T30" fmla="*/ 35234 w 226"/>
                <a:gd name="T31" fmla="*/ 225425 h 167"/>
                <a:gd name="T32" fmla="*/ 57255 w 226"/>
                <a:gd name="T33" fmla="*/ 234950 h 167"/>
                <a:gd name="T34" fmla="*/ 79277 w 226"/>
                <a:gd name="T35" fmla="*/ 252413 h 167"/>
                <a:gd name="T36" fmla="*/ 92490 w 226"/>
                <a:gd name="T37" fmla="*/ 258763 h 167"/>
                <a:gd name="T38" fmla="*/ 101298 w 226"/>
                <a:gd name="T39" fmla="*/ 258763 h 167"/>
                <a:gd name="T40" fmla="*/ 105702 w 226"/>
                <a:gd name="T41" fmla="*/ 246063 h 167"/>
                <a:gd name="T42" fmla="*/ 111575 w 226"/>
                <a:gd name="T43" fmla="*/ 206375 h 167"/>
                <a:gd name="T44" fmla="*/ 127724 w 226"/>
                <a:gd name="T45" fmla="*/ 176213 h 167"/>
                <a:gd name="T46" fmla="*/ 142405 w 226"/>
                <a:gd name="T47" fmla="*/ 176213 h 167"/>
                <a:gd name="T48" fmla="*/ 152681 w 226"/>
                <a:gd name="T49" fmla="*/ 185738 h 167"/>
                <a:gd name="T50" fmla="*/ 177639 w 226"/>
                <a:gd name="T51" fmla="*/ 182563 h 167"/>
                <a:gd name="T52" fmla="*/ 204064 w 226"/>
                <a:gd name="T53" fmla="*/ 185738 h 167"/>
                <a:gd name="T54" fmla="*/ 245171 w 226"/>
                <a:gd name="T55" fmla="*/ 231775 h 167"/>
                <a:gd name="T56" fmla="*/ 271596 w 226"/>
                <a:gd name="T57" fmla="*/ 249238 h 167"/>
                <a:gd name="T58" fmla="*/ 283341 w 226"/>
                <a:gd name="T59" fmla="*/ 231775 h 167"/>
                <a:gd name="T60" fmla="*/ 306831 w 226"/>
                <a:gd name="T61" fmla="*/ 211138 h 167"/>
                <a:gd name="T62" fmla="*/ 325916 w 226"/>
                <a:gd name="T63" fmla="*/ 179388 h 167"/>
                <a:gd name="T64" fmla="*/ 325916 w 226"/>
                <a:gd name="T65" fmla="*/ 144463 h 167"/>
                <a:gd name="T66" fmla="*/ 303894 w 226"/>
                <a:gd name="T67" fmla="*/ 120650 h 167"/>
                <a:gd name="T68" fmla="*/ 271596 w 226"/>
                <a:gd name="T69" fmla="*/ 111125 h 167"/>
                <a:gd name="T70" fmla="*/ 258384 w 226"/>
                <a:gd name="T71" fmla="*/ 96838 h 167"/>
                <a:gd name="T72" fmla="*/ 248107 w 226"/>
                <a:gd name="T73" fmla="*/ 90488 h 167"/>
                <a:gd name="T74" fmla="*/ 230490 w 226"/>
                <a:gd name="T75" fmla="*/ 90488 h 167"/>
                <a:gd name="T76" fmla="*/ 223149 w 226"/>
                <a:gd name="T77" fmla="*/ 76200 h 167"/>
                <a:gd name="T78" fmla="*/ 204064 w 226"/>
                <a:gd name="T79" fmla="*/ 61913 h 167"/>
                <a:gd name="T80" fmla="*/ 190852 w 226"/>
                <a:gd name="T81" fmla="*/ 52388 h 167"/>
                <a:gd name="T82" fmla="*/ 187915 w 226"/>
                <a:gd name="T83" fmla="*/ 44450 h 16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6"/>
                <a:gd name="T127" fmla="*/ 0 h 167"/>
                <a:gd name="T128" fmla="*/ 226 w 226"/>
                <a:gd name="T129" fmla="*/ 167 h 16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6" h="167">
                  <a:moveTo>
                    <a:pt x="128" y="24"/>
                  </a:moveTo>
                  <a:lnTo>
                    <a:pt x="126" y="17"/>
                  </a:lnTo>
                  <a:lnTo>
                    <a:pt x="126" y="11"/>
                  </a:lnTo>
                  <a:lnTo>
                    <a:pt x="122" y="4"/>
                  </a:lnTo>
                  <a:lnTo>
                    <a:pt x="119" y="0"/>
                  </a:lnTo>
                  <a:lnTo>
                    <a:pt x="111" y="0"/>
                  </a:lnTo>
                  <a:lnTo>
                    <a:pt x="108" y="0"/>
                  </a:lnTo>
                  <a:lnTo>
                    <a:pt x="104" y="2"/>
                  </a:lnTo>
                  <a:lnTo>
                    <a:pt x="100" y="6"/>
                  </a:lnTo>
                  <a:lnTo>
                    <a:pt x="95" y="13"/>
                  </a:lnTo>
                  <a:lnTo>
                    <a:pt x="91" y="21"/>
                  </a:lnTo>
                  <a:lnTo>
                    <a:pt x="84" y="22"/>
                  </a:lnTo>
                  <a:lnTo>
                    <a:pt x="72" y="21"/>
                  </a:lnTo>
                  <a:lnTo>
                    <a:pt x="61" y="17"/>
                  </a:lnTo>
                  <a:lnTo>
                    <a:pt x="50" y="13"/>
                  </a:lnTo>
                  <a:lnTo>
                    <a:pt x="54" y="21"/>
                  </a:lnTo>
                  <a:lnTo>
                    <a:pt x="54" y="26"/>
                  </a:lnTo>
                  <a:lnTo>
                    <a:pt x="47" y="30"/>
                  </a:lnTo>
                  <a:lnTo>
                    <a:pt x="41" y="35"/>
                  </a:lnTo>
                  <a:lnTo>
                    <a:pt x="41" y="61"/>
                  </a:lnTo>
                  <a:lnTo>
                    <a:pt x="41" y="87"/>
                  </a:lnTo>
                  <a:lnTo>
                    <a:pt x="36" y="93"/>
                  </a:lnTo>
                  <a:lnTo>
                    <a:pt x="30" y="96"/>
                  </a:lnTo>
                  <a:lnTo>
                    <a:pt x="23" y="98"/>
                  </a:lnTo>
                  <a:lnTo>
                    <a:pt x="17" y="98"/>
                  </a:lnTo>
                  <a:lnTo>
                    <a:pt x="8" y="109"/>
                  </a:lnTo>
                  <a:lnTo>
                    <a:pt x="0" y="120"/>
                  </a:lnTo>
                  <a:lnTo>
                    <a:pt x="2" y="128"/>
                  </a:lnTo>
                  <a:lnTo>
                    <a:pt x="6" y="133"/>
                  </a:lnTo>
                  <a:lnTo>
                    <a:pt x="10" y="139"/>
                  </a:lnTo>
                  <a:lnTo>
                    <a:pt x="15" y="142"/>
                  </a:lnTo>
                  <a:lnTo>
                    <a:pt x="24" y="142"/>
                  </a:lnTo>
                  <a:lnTo>
                    <a:pt x="34" y="142"/>
                  </a:lnTo>
                  <a:lnTo>
                    <a:pt x="39" y="148"/>
                  </a:lnTo>
                  <a:lnTo>
                    <a:pt x="45" y="157"/>
                  </a:lnTo>
                  <a:lnTo>
                    <a:pt x="54" y="159"/>
                  </a:lnTo>
                  <a:lnTo>
                    <a:pt x="61" y="161"/>
                  </a:lnTo>
                  <a:lnTo>
                    <a:pt x="63" y="163"/>
                  </a:lnTo>
                  <a:lnTo>
                    <a:pt x="65" y="167"/>
                  </a:lnTo>
                  <a:lnTo>
                    <a:pt x="69" y="163"/>
                  </a:lnTo>
                  <a:lnTo>
                    <a:pt x="72" y="159"/>
                  </a:lnTo>
                  <a:lnTo>
                    <a:pt x="72" y="155"/>
                  </a:lnTo>
                  <a:lnTo>
                    <a:pt x="72" y="152"/>
                  </a:lnTo>
                  <a:lnTo>
                    <a:pt x="76" y="130"/>
                  </a:lnTo>
                  <a:lnTo>
                    <a:pt x="80" y="113"/>
                  </a:lnTo>
                  <a:lnTo>
                    <a:pt x="87" y="111"/>
                  </a:lnTo>
                  <a:lnTo>
                    <a:pt x="93" y="111"/>
                  </a:lnTo>
                  <a:lnTo>
                    <a:pt x="97" y="111"/>
                  </a:lnTo>
                  <a:lnTo>
                    <a:pt x="98" y="113"/>
                  </a:lnTo>
                  <a:lnTo>
                    <a:pt x="104" y="117"/>
                  </a:lnTo>
                  <a:lnTo>
                    <a:pt x="111" y="118"/>
                  </a:lnTo>
                  <a:lnTo>
                    <a:pt x="121" y="115"/>
                  </a:lnTo>
                  <a:lnTo>
                    <a:pt x="130" y="111"/>
                  </a:lnTo>
                  <a:lnTo>
                    <a:pt x="139" y="117"/>
                  </a:lnTo>
                  <a:lnTo>
                    <a:pt x="150" y="128"/>
                  </a:lnTo>
                  <a:lnTo>
                    <a:pt x="167" y="146"/>
                  </a:lnTo>
                  <a:lnTo>
                    <a:pt x="180" y="159"/>
                  </a:lnTo>
                  <a:lnTo>
                    <a:pt x="185" y="157"/>
                  </a:lnTo>
                  <a:lnTo>
                    <a:pt x="191" y="152"/>
                  </a:lnTo>
                  <a:lnTo>
                    <a:pt x="193" y="146"/>
                  </a:lnTo>
                  <a:lnTo>
                    <a:pt x="196" y="141"/>
                  </a:lnTo>
                  <a:lnTo>
                    <a:pt x="209" y="133"/>
                  </a:lnTo>
                  <a:lnTo>
                    <a:pt x="226" y="120"/>
                  </a:lnTo>
                  <a:lnTo>
                    <a:pt x="222" y="113"/>
                  </a:lnTo>
                  <a:lnTo>
                    <a:pt x="220" y="104"/>
                  </a:lnTo>
                  <a:lnTo>
                    <a:pt x="222" y="91"/>
                  </a:lnTo>
                  <a:lnTo>
                    <a:pt x="222" y="80"/>
                  </a:lnTo>
                  <a:lnTo>
                    <a:pt x="207" y="76"/>
                  </a:lnTo>
                  <a:lnTo>
                    <a:pt x="193" y="76"/>
                  </a:lnTo>
                  <a:lnTo>
                    <a:pt x="185" y="70"/>
                  </a:lnTo>
                  <a:lnTo>
                    <a:pt x="180" y="65"/>
                  </a:lnTo>
                  <a:lnTo>
                    <a:pt x="176" y="61"/>
                  </a:lnTo>
                  <a:lnTo>
                    <a:pt x="172" y="59"/>
                  </a:lnTo>
                  <a:lnTo>
                    <a:pt x="169" y="57"/>
                  </a:lnTo>
                  <a:lnTo>
                    <a:pt x="163" y="59"/>
                  </a:lnTo>
                  <a:lnTo>
                    <a:pt x="157" y="57"/>
                  </a:lnTo>
                  <a:lnTo>
                    <a:pt x="156" y="54"/>
                  </a:lnTo>
                  <a:lnTo>
                    <a:pt x="152" y="48"/>
                  </a:lnTo>
                  <a:lnTo>
                    <a:pt x="148" y="39"/>
                  </a:lnTo>
                  <a:lnTo>
                    <a:pt x="139" y="39"/>
                  </a:lnTo>
                  <a:lnTo>
                    <a:pt x="132" y="35"/>
                  </a:lnTo>
                  <a:lnTo>
                    <a:pt x="130" y="33"/>
                  </a:lnTo>
                  <a:lnTo>
                    <a:pt x="128" y="32"/>
                  </a:lnTo>
                  <a:lnTo>
                    <a:pt x="128" y="28"/>
                  </a:lnTo>
                  <a:lnTo>
                    <a:pt x="128" y="24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84" name="Freeform 82"/>
            <p:cNvSpPr>
              <a:spLocks/>
            </p:cNvSpPr>
            <p:nvPr/>
          </p:nvSpPr>
          <p:spPr bwMode="auto">
            <a:xfrm>
              <a:off x="2317556" y="3682468"/>
              <a:ext cx="351925" cy="340634"/>
            </a:xfrm>
            <a:custGeom>
              <a:avLst/>
              <a:gdLst>
                <a:gd name="T0" fmla="*/ 2939 w 202"/>
                <a:gd name="T1" fmla="*/ 82550 h 181"/>
                <a:gd name="T2" fmla="*/ 8818 w 202"/>
                <a:gd name="T3" fmla="*/ 71437 h 181"/>
                <a:gd name="T4" fmla="*/ 30862 w 202"/>
                <a:gd name="T5" fmla="*/ 68262 h 181"/>
                <a:gd name="T6" fmla="*/ 47028 w 202"/>
                <a:gd name="T7" fmla="*/ 65087 h 181"/>
                <a:gd name="T8" fmla="*/ 57315 w 202"/>
                <a:gd name="T9" fmla="*/ 53975 h 181"/>
                <a:gd name="T10" fmla="*/ 76420 w 202"/>
                <a:gd name="T11" fmla="*/ 38100 h 181"/>
                <a:gd name="T12" fmla="*/ 92586 w 202"/>
                <a:gd name="T13" fmla="*/ 12700 h 181"/>
                <a:gd name="T14" fmla="*/ 111691 w 202"/>
                <a:gd name="T15" fmla="*/ 12700 h 181"/>
                <a:gd name="T16" fmla="*/ 141083 w 202"/>
                <a:gd name="T17" fmla="*/ 34925 h 181"/>
                <a:gd name="T18" fmla="*/ 160188 w 202"/>
                <a:gd name="T19" fmla="*/ 61912 h 181"/>
                <a:gd name="T20" fmla="*/ 160188 w 202"/>
                <a:gd name="T21" fmla="*/ 88900 h 181"/>
                <a:gd name="T22" fmla="*/ 166066 w 202"/>
                <a:gd name="T23" fmla="*/ 112712 h 181"/>
                <a:gd name="T24" fmla="*/ 166066 w 202"/>
                <a:gd name="T25" fmla="*/ 131762 h 181"/>
                <a:gd name="T26" fmla="*/ 185171 w 202"/>
                <a:gd name="T27" fmla="*/ 152400 h 181"/>
                <a:gd name="T28" fmla="*/ 214564 w 202"/>
                <a:gd name="T29" fmla="*/ 158750 h 181"/>
                <a:gd name="T30" fmla="*/ 239547 w 202"/>
                <a:gd name="T31" fmla="*/ 152400 h 181"/>
                <a:gd name="T32" fmla="*/ 258652 w 202"/>
                <a:gd name="T33" fmla="*/ 138112 h 181"/>
                <a:gd name="T34" fmla="*/ 271879 w 202"/>
                <a:gd name="T35" fmla="*/ 138112 h 181"/>
                <a:gd name="T36" fmla="*/ 274818 w 202"/>
                <a:gd name="T37" fmla="*/ 144462 h 181"/>
                <a:gd name="T38" fmla="*/ 268939 w 202"/>
                <a:gd name="T39" fmla="*/ 161925 h 181"/>
                <a:gd name="T40" fmla="*/ 274818 w 202"/>
                <a:gd name="T41" fmla="*/ 173037 h 181"/>
                <a:gd name="T42" fmla="*/ 288044 w 202"/>
                <a:gd name="T43" fmla="*/ 179387 h 181"/>
                <a:gd name="T44" fmla="*/ 296862 w 202"/>
                <a:gd name="T45" fmla="*/ 188912 h 181"/>
                <a:gd name="T46" fmla="*/ 290984 w 202"/>
                <a:gd name="T47" fmla="*/ 227012 h 181"/>
                <a:gd name="T48" fmla="*/ 271879 w 202"/>
                <a:gd name="T49" fmla="*/ 258762 h 181"/>
                <a:gd name="T50" fmla="*/ 261591 w 202"/>
                <a:gd name="T51" fmla="*/ 276225 h 181"/>
                <a:gd name="T52" fmla="*/ 245426 w 202"/>
                <a:gd name="T53" fmla="*/ 287337 h 181"/>
                <a:gd name="T54" fmla="*/ 211624 w 202"/>
                <a:gd name="T55" fmla="*/ 279400 h 181"/>
                <a:gd name="T56" fmla="*/ 192519 w 202"/>
                <a:gd name="T57" fmla="*/ 269875 h 181"/>
                <a:gd name="T58" fmla="*/ 169006 w 202"/>
                <a:gd name="T59" fmla="*/ 261937 h 181"/>
                <a:gd name="T60" fmla="*/ 139613 w 202"/>
                <a:gd name="T61" fmla="*/ 231775 h 181"/>
                <a:gd name="T62" fmla="*/ 127856 w 202"/>
                <a:gd name="T63" fmla="*/ 206375 h 181"/>
                <a:gd name="T64" fmla="*/ 120508 w 202"/>
                <a:gd name="T65" fmla="*/ 207962 h 181"/>
                <a:gd name="T66" fmla="*/ 111691 w 202"/>
                <a:gd name="T67" fmla="*/ 214312 h 181"/>
                <a:gd name="T68" fmla="*/ 92586 w 202"/>
                <a:gd name="T69" fmla="*/ 211137 h 181"/>
                <a:gd name="T70" fmla="*/ 79359 w 202"/>
                <a:gd name="T71" fmla="*/ 190500 h 181"/>
                <a:gd name="T72" fmla="*/ 76420 w 202"/>
                <a:gd name="T73" fmla="*/ 169862 h 181"/>
                <a:gd name="T74" fmla="*/ 70541 w 202"/>
                <a:gd name="T75" fmla="*/ 147637 h 181"/>
                <a:gd name="T76" fmla="*/ 41149 w 202"/>
                <a:gd name="T77" fmla="*/ 120650 h 181"/>
                <a:gd name="T78" fmla="*/ 8818 w 202"/>
                <a:gd name="T79" fmla="*/ 93662 h 18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2"/>
                <a:gd name="T121" fmla="*/ 0 h 181"/>
                <a:gd name="T122" fmla="*/ 202 w 202"/>
                <a:gd name="T123" fmla="*/ 181 h 18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2" h="181">
                  <a:moveTo>
                    <a:pt x="0" y="52"/>
                  </a:moveTo>
                  <a:lnTo>
                    <a:pt x="2" y="52"/>
                  </a:lnTo>
                  <a:lnTo>
                    <a:pt x="2" y="50"/>
                  </a:lnTo>
                  <a:lnTo>
                    <a:pt x="6" y="45"/>
                  </a:lnTo>
                  <a:lnTo>
                    <a:pt x="11" y="39"/>
                  </a:lnTo>
                  <a:lnTo>
                    <a:pt x="21" y="43"/>
                  </a:lnTo>
                  <a:lnTo>
                    <a:pt x="30" y="46"/>
                  </a:lnTo>
                  <a:lnTo>
                    <a:pt x="32" y="41"/>
                  </a:lnTo>
                  <a:lnTo>
                    <a:pt x="35" y="35"/>
                  </a:lnTo>
                  <a:lnTo>
                    <a:pt x="39" y="34"/>
                  </a:lnTo>
                  <a:lnTo>
                    <a:pt x="45" y="32"/>
                  </a:lnTo>
                  <a:lnTo>
                    <a:pt x="52" y="24"/>
                  </a:lnTo>
                  <a:lnTo>
                    <a:pt x="58" y="17"/>
                  </a:lnTo>
                  <a:lnTo>
                    <a:pt x="63" y="8"/>
                  </a:lnTo>
                  <a:lnTo>
                    <a:pt x="71" y="0"/>
                  </a:lnTo>
                  <a:lnTo>
                    <a:pt x="76" y="8"/>
                  </a:lnTo>
                  <a:lnTo>
                    <a:pt x="80" y="19"/>
                  </a:lnTo>
                  <a:lnTo>
                    <a:pt x="96" y="22"/>
                  </a:lnTo>
                  <a:lnTo>
                    <a:pt x="109" y="28"/>
                  </a:lnTo>
                  <a:lnTo>
                    <a:pt x="109" y="39"/>
                  </a:lnTo>
                  <a:lnTo>
                    <a:pt x="106" y="52"/>
                  </a:lnTo>
                  <a:lnTo>
                    <a:pt x="109" y="56"/>
                  </a:lnTo>
                  <a:lnTo>
                    <a:pt x="113" y="61"/>
                  </a:lnTo>
                  <a:lnTo>
                    <a:pt x="113" y="71"/>
                  </a:lnTo>
                  <a:lnTo>
                    <a:pt x="111" y="78"/>
                  </a:lnTo>
                  <a:lnTo>
                    <a:pt x="113" y="83"/>
                  </a:lnTo>
                  <a:lnTo>
                    <a:pt x="119" y="91"/>
                  </a:lnTo>
                  <a:lnTo>
                    <a:pt x="126" y="96"/>
                  </a:lnTo>
                  <a:lnTo>
                    <a:pt x="135" y="100"/>
                  </a:lnTo>
                  <a:lnTo>
                    <a:pt x="146" y="100"/>
                  </a:lnTo>
                  <a:lnTo>
                    <a:pt x="155" y="98"/>
                  </a:lnTo>
                  <a:lnTo>
                    <a:pt x="163" y="96"/>
                  </a:lnTo>
                  <a:lnTo>
                    <a:pt x="168" y="93"/>
                  </a:lnTo>
                  <a:lnTo>
                    <a:pt x="176" y="87"/>
                  </a:lnTo>
                  <a:lnTo>
                    <a:pt x="183" y="85"/>
                  </a:lnTo>
                  <a:lnTo>
                    <a:pt x="185" y="87"/>
                  </a:lnTo>
                  <a:lnTo>
                    <a:pt x="187" y="89"/>
                  </a:lnTo>
                  <a:lnTo>
                    <a:pt x="187" y="91"/>
                  </a:lnTo>
                  <a:lnTo>
                    <a:pt x="185" y="95"/>
                  </a:lnTo>
                  <a:lnTo>
                    <a:pt x="183" y="102"/>
                  </a:lnTo>
                  <a:lnTo>
                    <a:pt x="183" y="107"/>
                  </a:lnTo>
                  <a:lnTo>
                    <a:pt x="187" y="109"/>
                  </a:lnTo>
                  <a:lnTo>
                    <a:pt x="192" y="111"/>
                  </a:lnTo>
                  <a:lnTo>
                    <a:pt x="196" y="113"/>
                  </a:lnTo>
                  <a:lnTo>
                    <a:pt x="200" y="115"/>
                  </a:lnTo>
                  <a:lnTo>
                    <a:pt x="202" y="119"/>
                  </a:lnTo>
                  <a:lnTo>
                    <a:pt x="202" y="126"/>
                  </a:lnTo>
                  <a:lnTo>
                    <a:pt x="198" y="143"/>
                  </a:lnTo>
                  <a:lnTo>
                    <a:pt x="191" y="159"/>
                  </a:lnTo>
                  <a:lnTo>
                    <a:pt x="185" y="163"/>
                  </a:lnTo>
                  <a:lnTo>
                    <a:pt x="181" y="168"/>
                  </a:lnTo>
                  <a:lnTo>
                    <a:pt x="178" y="174"/>
                  </a:lnTo>
                  <a:lnTo>
                    <a:pt x="174" y="180"/>
                  </a:lnTo>
                  <a:lnTo>
                    <a:pt x="167" y="181"/>
                  </a:lnTo>
                  <a:lnTo>
                    <a:pt x="155" y="180"/>
                  </a:lnTo>
                  <a:lnTo>
                    <a:pt x="144" y="176"/>
                  </a:lnTo>
                  <a:lnTo>
                    <a:pt x="133" y="172"/>
                  </a:lnTo>
                  <a:lnTo>
                    <a:pt x="131" y="170"/>
                  </a:lnTo>
                  <a:lnTo>
                    <a:pt x="130" y="168"/>
                  </a:lnTo>
                  <a:lnTo>
                    <a:pt x="115" y="165"/>
                  </a:lnTo>
                  <a:lnTo>
                    <a:pt x="100" y="163"/>
                  </a:lnTo>
                  <a:lnTo>
                    <a:pt x="95" y="146"/>
                  </a:lnTo>
                  <a:lnTo>
                    <a:pt x="93" y="131"/>
                  </a:lnTo>
                  <a:lnTo>
                    <a:pt x="87" y="130"/>
                  </a:lnTo>
                  <a:lnTo>
                    <a:pt x="83" y="130"/>
                  </a:lnTo>
                  <a:lnTo>
                    <a:pt x="82" y="131"/>
                  </a:lnTo>
                  <a:lnTo>
                    <a:pt x="80" y="131"/>
                  </a:lnTo>
                  <a:lnTo>
                    <a:pt x="76" y="135"/>
                  </a:lnTo>
                  <a:lnTo>
                    <a:pt x="72" y="137"/>
                  </a:lnTo>
                  <a:lnTo>
                    <a:pt x="63" y="133"/>
                  </a:lnTo>
                  <a:lnTo>
                    <a:pt x="58" y="128"/>
                  </a:lnTo>
                  <a:lnTo>
                    <a:pt x="54" y="120"/>
                  </a:lnTo>
                  <a:lnTo>
                    <a:pt x="52" y="113"/>
                  </a:lnTo>
                  <a:lnTo>
                    <a:pt x="52" y="107"/>
                  </a:lnTo>
                  <a:lnTo>
                    <a:pt x="50" y="100"/>
                  </a:lnTo>
                  <a:lnTo>
                    <a:pt x="48" y="93"/>
                  </a:lnTo>
                  <a:lnTo>
                    <a:pt x="45" y="87"/>
                  </a:lnTo>
                  <a:lnTo>
                    <a:pt x="28" y="76"/>
                  </a:lnTo>
                  <a:lnTo>
                    <a:pt x="11" y="67"/>
                  </a:lnTo>
                  <a:lnTo>
                    <a:pt x="6" y="59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85" name="Freeform 83"/>
            <p:cNvSpPr>
              <a:spLocks/>
            </p:cNvSpPr>
            <p:nvPr/>
          </p:nvSpPr>
          <p:spPr bwMode="auto">
            <a:xfrm>
              <a:off x="2776754" y="3682468"/>
              <a:ext cx="293585" cy="274766"/>
            </a:xfrm>
            <a:custGeom>
              <a:avLst/>
              <a:gdLst>
                <a:gd name="T0" fmla="*/ 5862 w 169"/>
                <a:gd name="T1" fmla="*/ 100012 h 146"/>
                <a:gd name="T2" fmla="*/ 2931 w 169"/>
                <a:gd name="T3" fmla="*/ 73025 h 146"/>
                <a:gd name="T4" fmla="*/ 2931 w 169"/>
                <a:gd name="T5" fmla="*/ 47625 h 146"/>
                <a:gd name="T6" fmla="*/ 0 w 169"/>
                <a:gd name="T7" fmla="*/ 34925 h 146"/>
                <a:gd name="T8" fmla="*/ 2931 w 169"/>
                <a:gd name="T9" fmla="*/ 23812 h 146"/>
                <a:gd name="T10" fmla="*/ 2931 w 169"/>
                <a:gd name="T11" fmla="*/ 12700 h 146"/>
                <a:gd name="T12" fmla="*/ 8792 w 169"/>
                <a:gd name="T13" fmla="*/ 3175 h 146"/>
                <a:gd name="T14" fmla="*/ 30773 w 169"/>
                <a:gd name="T15" fmla="*/ 0 h 146"/>
                <a:gd name="T16" fmla="*/ 52754 w 169"/>
                <a:gd name="T17" fmla="*/ 3175 h 146"/>
                <a:gd name="T18" fmla="*/ 65942 w 169"/>
                <a:gd name="T19" fmla="*/ 6350 h 146"/>
                <a:gd name="T20" fmla="*/ 79131 w 169"/>
                <a:gd name="T21" fmla="*/ 15875 h 146"/>
                <a:gd name="T22" fmla="*/ 92319 w 169"/>
                <a:gd name="T23" fmla="*/ 23812 h 146"/>
                <a:gd name="T24" fmla="*/ 106973 w 169"/>
                <a:gd name="T25" fmla="*/ 34925 h 146"/>
                <a:gd name="T26" fmla="*/ 106973 w 169"/>
                <a:gd name="T27" fmla="*/ 34925 h 146"/>
                <a:gd name="T28" fmla="*/ 117231 w 169"/>
                <a:gd name="T29" fmla="*/ 53975 h 146"/>
                <a:gd name="T30" fmla="*/ 130419 w 169"/>
                <a:gd name="T31" fmla="*/ 68262 h 146"/>
                <a:gd name="T32" fmla="*/ 142142 w 169"/>
                <a:gd name="T33" fmla="*/ 79375 h 146"/>
                <a:gd name="T34" fmla="*/ 152400 w 169"/>
                <a:gd name="T35" fmla="*/ 88900 h 146"/>
                <a:gd name="T36" fmla="*/ 162658 w 169"/>
                <a:gd name="T37" fmla="*/ 93662 h 146"/>
                <a:gd name="T38" fmla="*/ 174381 w 169"/>
                <a:gd name="T39" fmla="*/ 96837 h 146"/>
                <a:gd name="T40" fmla="*/ 184638 w 169"/>
                <a:gd name="T41" fmla="*/ 96837 h 146"/>
                <a:gd name="T42" fmla="*/ 194896 w 169"/>
                <a:gd name="T43" fmla="*/ 96837 h 146"/>
                <a:gd name="T44" fmla="*/ 206619 w 169"/>
                <a:gd name="T45" fmla="*/ 100012 h 146"/>
                <a:gd name="T46" fmla="*/ 213946 w 169"/>
                <a:gd name="T47" fmla="*/ 106363 h 146"/>
                <a:gd name="T48" fmla="*/ 219808 w 169"/>
                <a:gd name="T49" fmla="*/ 114300 h 146"/>
                <a:gd name="T50" fmla="*/ 225669 w 169"/>
                <a:gd name="T51" fmla="*/ 127000 h 146"/>
                <a:gd name="T52" fmla="*/ 232996 w 169"/>
                <a:gd name="T53" fmla="*/ 117475 h 146"/>
                <a:gd name="T54" fmla="*/ 241788 w 169"/>
                <a:gd name="T55" fmla="*/ 112713 h 146"/>
                <a:gd name="T56" fmla="*/ 241788 w 169"/>
                <a:gd name="T57" fmla="*/ 127000 h 146"/>
                <a:gd name="T58" fmla="*/ 235927 w 169"/>
                <a:gd name="T59" fmla="*/ 144462 h 146"/>
                <a:gd name="T60" fmla="*/ 241788 w 169"/>
                <a:gd name="T61" fmla="*/ 150812 h 146"/>
                <a:gd name="T62" fmla="*/ 247650 w 169"/>
                <a:gd name="T63" fmla="*/ 161925 h 146"/>
                <a:gd name="T64" fmla="*/ 244719 w 169"/>
                <a:gd name="T65" fmla="*/ 185737 h 146"/>
                <a:gd name="T66" fmla="*/ 238858 w 169"/>
                <a:gd name="T67" fmla="*/ 211138 h 146"/>
                <a:gd name="T68" fmla="*/ 232996 w 169"/>
                <a:gd name="T69" fmla="*/ 220663 h 146"/>
                <a:gd name="T70" fmla="*/ 225669 w 169"/>
                <a:gd name="T71" fmla="*/ 227013 h 146"/>
                <a:gd name="T72" fmla="*/ 216877 w 169"/>
                <a:gd name="T73" fmla="*/ 231775 h 146"/>
                <a:gd name="T74" fmla="*/ 206619 w 169"/>
                <a:gd name="T75" fmla="*/ 231775 h 146"/>
                <a:gd name="T76" fmla="*/ 206619 w 169"/>
                <a:gd name="T77" fmla="*/ 220663 h 146"/>
                <a:gd name="T78" fmla="*/ 200758 w 169"/>
                <a:gd name="T79" fmla="*/ 211138 h 146"/>
                <a:gd name="T80" fmla="*/ 190500 w 169"/>
                <a:gd name="T81" fmla="*/ 214313 h 146"/>
                <a:gd name="T82" fmla="*/ 178777 w 169"/>
                <a:gd name="T83" fmla="*/ 214313 h 146"/>
                <a:gd name="T84" fmla="*/ 177312 w 169"/>
                <a:gd name="T85" fmla="*/ 206375 h 146"/>
                <a:gd name="T86" fmla="*/ 177312 w 169"/>
                <a:gd name="T87" fmla="*/ 200025 h 146"/>
                <a:gd name="T88" fmla="*/ 159727 w 169"/>
                <a:gd name="T89" fmla="*/ 200025 h 146"/>
                <a:gd name="T90" fmla="*/ 149469 w 169"/>
                <a:gd name="T91" fmla="*/ 206375 h 146"/>
                <a:gd name="T92" fmla="*/ 143608 w 169"/>
                <a:gd name="T93" fmla="*/ 211138 h 146"/>
                <a:gd name="T94" fmla="*/ 136281 w 169"/>
                <a:gd name="T95" fmla="*/ 217488 h 146"/>
                <a:gd name="T96" fmla="*/ 111369 w 169"/>
                <a:gd name="T97" fmla="*/ 217488 h 146"/>
                <a:gd name="T98" fmla="*/ 87923 w 169"/>
                <a:gd name="T99" fmla="*/ 211138 h 146"/>
                <a:gd name="T100" fmla="*/ 71804 w 169"/>
                <a:gd name="T101" fmla="*/ 176212 h 146"/>
                <a:gd name="T102" fmla="*/ 73269 w 169"/>
                <a:gd name="T103" fmla="*/ 144462 h 146"/>
                <a:gd name="T104" fmla="*/ 73269 w 169"/>
                <a:gd name="T105" fmla="*/ 114300 h 146"/>
                <a:gd name="T106" fmla="*/ 46892 w 169"/>
                <a:gd name="T107" fmla="*/ 106363 h 146"/>
                <a:gd name="T108" fmla="*/ 8792 w 169"/>
                <a:gd name="T109" fmla="*/ 100012 h 146"/>
                <a:gd name="T110" fmla="*/ 5862 w 169"/>
                <a:gd name="T111" fmla="*/ 100012 h 146"/>
                <a:gd name="T112" fmla="*/ 5862 w 169"/>
                <a:gd name="T113" fmla="*/ 100012 h 1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"/>
                <a:gd name="T172" fmla="*/ 0 h 146"/>
                <a:gd name="T173" fmla="*/ 169 w 169"/>
                <a:gd name="T174" fmla="*/ 146 h 1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" h="146">
                  <a:moveTo>
                    <a:pt x="4" y="63"/>
                  </a:moveTo>
                  <a:lnTo>
                    <a:pt x="2" y="46"/>
                  </a:lnTo>
                  <a:lnTo>
                    <a:pt x="2" y="30"/>
                  </a:lnTo>
                  <a:lnTo>
                    <a:pt x="0" y="22"/>
                  </a:lnTo>
                  <a:lnTo>
                    <a:pt x="2" y="15"/>
                  </a:lnTo>
                  <a:lnTo>
                    <a:pt x="2" y="8"/>
                  </a:lnTo>
                  <a:lnTo>
                    <a:pt x="6" y="2"/>
                  </a:lnTo>
                  <a:lnTo>
                    <a:pt x="21" y="0"/>
                  </a:lnTo>
                  <a:lnTo>
                    <a:pt x="36" y="2"/>
                  </a:lnTo>
                  <a:lnTo>
                    <a:pt x="45" y="4"/>
                  </a:lnTo>
                  <a:lnTo>
                    <a:pt x="54" y="10"/>
                  </a:lnTo>
                  <a:lnTo>
                    <a:pt x="63" y="15"/>
                  </a:lnTo>
                  <a:lnTo>
                    <a:pt x="73" y="22"/>
                  </a:lnTo>
                  <a:lnTo>
                    <a:pt x="80" y="34"/>
                  </a:lnTo>
                  <a:lnTo>
                    <a:pt x="89" y="43"/>
                  </a:lnTo>
                  <a:lnTo>
                    <a:pt x="97" y="50"/>
                  </a:lnTo>
                  <a:lnTo>
                    <a:pt x="104" y="56"/>
                  </a:lnTo>
                  <a:lnTo>
                    <a:pt x="111" y="59"/>
                  </a:lnTo>
                  <a:lnTo>
                    <a:pt x="119" y="61"/>
                  </a:lnTo>
                  <a:lnTo>
                    <a:pt x="126" y="61"/>
                  </a:lnTo>
                  <a:lnTo>
                    <a:pt x="133" y="61"/>
                  </a:lnTo>
                  <a:lnTo>
                    <a:pt x="141" y="63"/>
                  </a:lnTo>
                  <a:lnTo>
                    <a:pt x="146" y="67"/>
                  </a:lnTo>
                  <a:lnTo>
                    <a:pt x="150" y="72"/>
                  </a:lnTo>
                  <a:lnTo>
                    <a:pt x="154" y="80"/>
                  </a:lnTo>
                  <a:lnTo>
                    <a:pt x="159" y="74"/>
                  </a:lnTo>
                  <a:lnTo>
                    <a:pt x="165" y="71"/>
                  </a:lnTo>
                  <a:lnTo>
                    <a:pt x="165" y="80"/>
                  </a:lnTo>
                  <a:lnTo>
                    <a:pt x="161" y="91"/>
                  </a:lnTo>
                  <a:lnTo>
                    <a:pt x="165" y="95"/>
                  </a:lnTo>
                  <a:lnTo>
                    <a:pt x="169" y="102"/>
                  </a:lnTo>
                  <a:lnTo>
                    <a:pt x="167" y="117"/>
                  </a:lnTo>
                  <a:lnTo>
                    <a:pt x="163" y="133"/>
                  </a:lnTo>
                  <a:lnTo>
                    <a:pt x="159" y="139"/>
                  </a:lnTo>
                  <a:lnTo>
                    <a:pt x="154" y="143"/>
                  </a:lnTo>
                  <a:lnTo>
                    <a:pt x="148" y="146"/>
                  </a:lnTo>
                  <a:lnTo>
                    <a:pt x="141" y="146"/>
                  </a:lnTo>
                  <a:lnTo>
                    <a:pt x="141" y="139"/>
                  </a:lnTo>
                  <a:lnTo>
                    <a:pt x="137" y="133"/>
                  </a:lnTo>
                  <a:lnTo>
                    <a:pt x="130" y="135"/>
                  </a:lnTo>
                  <a:lnTo>
                    <a:pt x="122" y="135"/>
                  </a:lnTo>
                  <a:lnTo>
                    <a:pt x="121" y="130"/>
                  </a:lnTo>
                  <a:lnTo>
                    <a:pt x="121" y="126"/>
                  </a:lnTo>
                  <a:lnTo>
                    <a:pt x="109" y="126"/>
                  </a:lnTo>
                  <a:lnTo>
                    <a:pt x="102" y="130"/>
                  </a:lnTo>
                  <a:lnTo>
                    <a:pt x="98" y="133"/>
                  </a:lnTo>
                  <a:lnTo>
                    <a:pt x="93" y="137"/>
                  </a:lnTo>
                  <a:lnTo>
                    <a:pt x="76" y="137"/>
                  </a:lnTo>
                  <a:lnTo>
                    <a:pt x="60" y="133"/>
                  </a:lnTo>
                  <a:lnTo>
                    <a:pt x="49" y="111"/>
                  </a:lnTo>
                  <a:lnTo>
                    <a:pt x="50" y="91"/>
                  </a:lnTo>
                  <a:lnTo>
                    <a:pt x="50" y="72"/>
                  </a:lnTo>
                  <a:lnTo>
                    <a:pt x="32" y="67"/>
                  </a:lnTo>
                  <a:lnTo>
                    <a:pt x="6" y="63"/>
                  </a:lnTo>
                  <a:lnTo>
                    <a:pt x="4" y="63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86" name="Freeform 84"/>
            <p:cNvSpPr>
              <a:spLocks/>
            </p:cNvSpPr>
            <p:nvPr/>
          </p:nvSpPr>
          <p:spPr bwMode="auto">
            <a:xfrm>
              <a:off x="2650663" y="3801031"/>
              <a:ext cx="229599" cy="229599"/>
            </a:xfrm>
            <a:custGeom>
              <a:avLst/>
              <a:gdLst>
                <a:gd name="T0" fmla="*/ 1456 w 133"/>
                <a:gd name="T1" fmla="*/ 76200 h 122"/>
                <a:gd name="T2" fmla="*/ 20387 w 133"/>
                <a:gd name="T3" fmla="*/ 69850 h 122"/>
                <a:gd name="T4" fmla="*/ 42230 w 133"/>
                <a:gd name="T5" fmla="*/ 68263 h 122"/>
                <a:gd name="T6" fmla="*/ 55336 w 133"/>
                <a:gd name="T7" fmla="*/ 73025 h 122"/>
                <a:gd name="T8" fmla="*/ 66985 w 133"/>
                <a:gd name="T9" fmla="*/ 69850 h 122"/>
                <a:gd name="T10" fmla="*/ 71354 w 133"/>
                <a:gd name="T11" fmla="*/ 58738 h 122"/>
                <a:gd name="T12" fmla="*/ 71354 w 133"/>
                <a:gd name="T13" fmla="*/ 41275 h 122"/>
                <a:gd name="T14" fmla="*/ 85916 w 133"/>
                <a:gd name="T15" fmla="*/ 31750 h 122"/>
                <a:gd name="T16" fmla="*/ 96109 w 133"/>
                <a:gd name="T17" fmla="*/ 26988 h 122"/>
                <a:gd name="T18" fmla="*/ 106303 w 133"/>
                <a:gd name="T19" fmla="*/ 9525 h 122"/>
                <a:gd name="T20" fmla="*/ 115040 w 133"/>
                <a:gd name="T21" fmla="*/ 0 h 122"/>
                <a:gd name="T22" fmla="*/ 152901 w 133"/>
                <a:gd name="T23" fmla="*/ 6350 h 122"/>
                <a:gd name="T24" fmla="*/ 179113 w 133"/>
                <a:gd name="T25" fmla="*/ 14288 h 122"/>
                <a:gd name="T26" fmla="*/ 179113 w 133"/>
                <a:gd name="T27" fmla="*/ 44450 h 122"/>
                <a:gd name="T28" fmla="*/ 177657 w 133"/>
                <a:gd name="T29" fmla="*/ 76200 h 122"/>
                <a:gd name="T30" fmla="*/ 193675 w 133"/>
                <a:gd name="T31" fmla="*/ 111125 h 122"/>
                <a:gd name="T32" fmla="*/ 182025 w 133"/>
                <a:gd name="T33" fmla="*/ 111125 h 122"/>
                <a:gd name="T34" fmla="*/ 171832 w 133"/>
                <a:gd name="T35" fmla="*/ 107950 h 122"/>
                <a:gd name="T36" fmla="*/ 152901 w 133"/>
                <a:gd name="T37" fmla="*/ 107950 h 122"/>
                <a:gd name="T38" fmla="*/ 133971 w 133"/>
                <a:gd name="T39" fmla="*/ 111125 h 122"/>
                <a:gd name="T40" fmla="*/ 128146 w 133"/>
                <a:gd name="T41" fmla="*/ 114300 h 122"/>
                <a:gd name="T42" fmla="*/ 123777 w 133"/>
                <a:gd name="T43" fmla="*/ 117475 h 122"/>
                <a:gd name="T44" fmla="*/ 117952 w 133"/>
                <a:gd name="T45" fmla="*/ 123825 h 122"/>
                <a:gd name="T46" fmla="*/ 115040 w 133"/>
                <a:gd name="T47" fmla="*/ 128588 h 122"/>
                <a:gd name="T48" fmla="*/ 115040 w 133"/>
                <a:gd name="T49" fmla="*/ 131763 h 122"/>
                <a:gd name="T50" fmla="*/ 120865 w 133"/>
                <a:gd name="T51" fmla="*/ 138113 h 122"/>
                <a:gd name="T52" fmla="*/ 123777 w 133"/>
                <a:gd name="T53" fmla="*/ 138113 h 122"/>
                <a:gd name="T54" fmla="*/ 125233 w 133"/>
                <a:gd name="T55" fmla="*/ 141288 h 122"/>
                <a:gd name="T56" fmla="*/ 125233 w 133"/>
                <a:gd name="T57" fmla="*/ 147638 h 122"/>
                <a:gd name="T58" fmla="*/ 125233 w 133"/>
                <a:gd name="T59" fmla="*/ 152400 h 122"/>
                <a:gd name="T60" fmla="*/ 115040 w 133"/>
                <a:gd name="T61" fmla="*/ 166688 h 122"/>
                <a:gd name="T62" fmla="*/ 104847 w 133"/>
                <a:gd name="T63" fmla="*/ 179388 h 122"/>
                <a:gd name="T64" fmla="*/ 88828 w 133"/>
                <a:gd name="T65" fmla="*/ 185738 h 122"/>
                <a:gd name="T66" fmla="*/ 71354 w 133"/>
                <a:gd name="T67" fmla="*/ 193675 h 122"/>
                <a:gd name="T68" fmla="*/ 69898 w 133"/>
                <a:gd name="T69" fmla="*/ 193675 h 122"/>
                <a:gd name="T70" fmla="*/ 66985 w 133"/>
                <a:gd name="T71" fmla="*/ 190500 h 122"/>
                <a:gd name="T72" fmla="*/ 64073 w 133"/>
                <a:gd name="T73" fmla="*/ 190500 h 122"/>
                <a:gd name="T74" fmla="*/ 61161 w 133"/>
                <a:gd name="T75" fmla="*/ 185738 h 122"/>
                <a:gd name="T76" fmla="*/ 58248 w 133"/>
                <a:gd name="T77" fmla="*/ 179388 h 122"/>
                <a:gd name="T78" fmla="*/ 55336 w 133"/>
                <a:gd name="T79" fmla="*/ 173038 h 122"/>
                <a:gd name="T80" fmla="*/ 50967 w 133"/>
                <a:gd name="T81" fmla="*/ 173038 h 122"/>
                <a:gd name="T82" fmla="*/ 42230 w 133"/>
                <a:gd name="T83" fmla="*/ 173038 h 122"/>
                <a:gd name="T84" fmla="*/ 34949 w 133"/>
                <a:gd name="T85" fmla="*/ 176213 h 122"/>
                <a:gd name="T86" fmla="*/ 29124 w 133"/>
                <a:gd name="T87" fmla="*/ 185738 h 122"/>
                <a:gd name="T88" fmla="*/ 29124 w 133"/>
                <a:gd name="T89" fmla="*/ 187325 h 122"/>
                <a:gd name="T90" fmla="*/ 29124 w 133"/>
                <a:gd name="T91" fmla="*/ 190500 h 122"/>
                <a:gd name="T92" fmla="*/ 26212 w 133"/>
                <a:gd name="T93" fmla="*/ 179388 h 122"/>
                <a:gd name="T94" fmla="*/ 26212 w 133"/>
                <a:gd name="T95" fmla="*/ 169863 h 122"/>
                <a:gd name="T96" fmla="*/ 20387 w 133"/>
                <a:gd name="T97" fmla="*/ 158750 h 122"/>
                <a:gd name="T98" fmla="*/ 16018 w 133"/>
                <a:gd name="T99" fmla="*/ 152400 h 122"/>
                <a:gd name="T100" fmla="*/ 7281 w 133"/>
                <a:gd name="T101" fmla="*/ 152400 h 122"/>
                <a:gd name="T102" fmla="*/ 0 w 133"/>
                <a:gd name="T103" fmla="*/ 152400 h 122"/>
                <a:gd name="T104" fmla="*/ 10193 w 133"/>
                <a:gd name="T105" fmla="*/ 127000 h 122"/>
                <a:gd name="T106" fmla="*/ 16018 w 133"/>
                <a:gd name="T107" fmla="*/ 100012 h 122"/>
                <a:gd name="T108" fmla="*/ 16018 w 133"/>
                <a:gd name="T109" fmla="*/ 88900 h 122"/>
                <a:gd name="T110" fmla="*/ 10193 w 133"/>
                <a:gd name="T111" fmla="*/ 82550 h 122"/>
                <a:gd name="T112" fmla="*/ 7281 w 133"/>
                <a:gd name="T113" fmla="*/ 76200 h 122"/>
                <a:gd name="T114" fmla="*/ 1456 w 133"/>
                <a:gd name="T115" fmla="*/ 76200 h 12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"/>
                <a:gd name="T175" fmla="*/ 0 h 122"/>
                <a:gd name="T176" fmla="*/ 133 w 133"/>
                <a:gd name="T177" fmla="*/ 122 h 12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" h="122">
                  <a:moveTo>
                    <a:pt x="1" y="48"/>
                  </a:moveTo>
                  <a:lnTo>
                    <a:pt x="14" y="44"/>
                  </a:lnTo>
                  <a:lnTo>
                    <a:pt x="29" y="43"/>
                  </a:lnTo>
                  <a:lnTo>
                    <a:pt x="38" y="46"/>
                  </a:lnTo>
                  <a:lnTo>
                    <a:pt x="46" y="44"/>
                  </a:lnTo>
                  <a:lnTo>
                    <a:pt x="49" y="37"/>
                  </a:lnTo>
                  <a:lnTo>
                    <a:pt x="49" y="26"/>
                  </a:lnTo>
                  <a:lnTo>
                    <a:pt x="59" y="20"/>
                  </a:lnTo>
                  <a:lnTo>
                    <a:pt x="66" y="17"/>
                  </a:lnTo>
                  <a:lnTo>
                    <a:pt x="73" y="6"/>
                  </a:lnTo>
                  <a:lnTo>
                    <a:pt x="79" y="0"/>
                  </a:lnTo>
                  <a:lnTo>
                    <a:pt x="105" y="4"/>
                  </a:lnTo>
                  <a:lnTo>
                    <a:pt x="123" y="9"/>
                  </a:lnTo>
                  <a:lnTo>
                    <a:pt x="123" y="28"/>
                  </a:lnTo>
                  <a:lnTo>
                    <a:pt x="122" y="48"/>
                  </a:lnTo>
                  <a:lnTo>
                    <a:pt x="133" y="70"/>
                  </a:lnTo>
                  <a:lnTo>
                    <a:pt x="125" y="70"/>
                  </a:lnTo>
                  <a:lnTo>
                    <a:pt x="118" y="68"/>
                  </a:lnTo>
                  <a:lnTo>
                    <a:pt x="105" y="68"/>
                  </a:lnTo>
                  <a:lnTo>
                    <a:pt x="92" y="70"/>
                  </a:lnTo>
                  <a:lnTo>
                    <a:pt x="88" y="72"/>
                  </a:lnTo>
                  <a:lnTo>
                    <a:pt x="85" y="74"/>
                  </a:lnTo>
                  <a:lnTo>
                    <a:pt x="81" y="78"/>
                  </a:lnTo>
                  <a:lnTo>
                    <a:pt x="79" y="81"/>
                  </a:lnTo>
                  <a:lnTo>
                    <a:pt x="79" y="83"/>
                  </a:lnTo>
                  <a:lnTo>
                    <a:pt x="83" y="87"/>
                  </a:lnTo>
                  <a:lnTo>
                    <a:pt x="85" y="87"/>
                  </a:lnTo>
                  <a:lnTo>
                    <a:pt x="86" y="89"/>
                  </a:lnTo>
                  <a:lnTo>
                    <a:pt x="86" y="93"/>
                  </a:lnTo>
                  <a:lnTo>
                    <a:pt x="86" y="96"/>
                  </a:lnTo>
                  <a:lnTo>
                    <a:pt x="79" y="105"/>
                  </a:lnTo>
                  <a:lnTo>
                    <a:pt x="72" y="113"/>
                  </a:lnTo>
                  <a:lnTo>
                    <a:pt x="61" y="117"/>
                  </a:lnTo>
                  <a:lnTo>
                    <a:pt x="49" y="122"/>
                  </a:lnTo>
                  <a:lnTo>
                    <a:pt x="48" y="122"/>
                  </a:lnTo>
                  <a:lnTo>
                    <a:pt x="46" y="120"/>
                  </a:lnTo>
                  <a:lnTo>
                    <a:pt x="44" y="120"/>
                  </a:lnTo>
                  <a:lnTo>
                    <a:pt x="42" y="117"/>
                  </a:lnTo>
                  <a:lnTo>
                    <a:pt x="40" y="113"/>
                  </a:lnTo>
                  <a:lnTo>
                    <a:pt x="38" y="109"/>
                  </a:lnTo>
                  <a:lnTo>
                    <a:pt x="35" y="109"/>
                  </a:lnTo>
                  <a:lnTo>
                    <a:pt x="29" y="109"/>
                  </a:lnTo>
                  <a:lnTo>
                    <a:pt x="24" y="111"/>
                  </a:lnTo>
                  <a:lnTo>
                    <a:pt x="20" y="117"/>
                  </a:lnTo>
                  <a:lnTo>
                    <a:pt x="20" y="118"/>
                  </a:lnTo>
                  <a:lnTo>
                    <a:pt x="20" y="120"/>
                  </a:lnTo>
                  <a:lnTo>
                    <a:pt x="18" y="113"/>
                  </a:lnTo>
                  <a:lnTo>
                    <a:pt x="18" y="107"/>
                  </a:lnTo>
                  <a:lnTo>
                    <a:pt x="14" y="100"/>
                  </a:lnTo>
                  <a:lnTo>
                    <a:pt x="11" y="96"/>
                  </a:lnTo>
                  <a:lnTo>
                    <a:pt x="5" y="96"/>
                  </a:lnTo>
                  <a:lnTo>
                    <a:pt x="0" y="96"/>
                  </a:lnTo>
                  <a:lnTo>
                    <a:pt x="7" y="80"/>
                  </a:lnTo>
                  <a:lnTo>
                    <a:pt x="11" y="63"/>
                  </a:lnTo>
                  <a:lnTo>
                    <a:pt x="11" y="56"/>
                  </a:lnTo>
                  <a:lnTo>
                    <a:pt x="7" y="52"/>
                  </a:lnTo>
                  <a:lnTo>
                    <a:pt x="5" y="48"/>
                  </a:lnTo>
                  <a:lnTo>
                    <a:pt x="1" y="48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87" name="Freeform 85"/>
            <p:cNvSpPr>
              <a:spLocks/>
            </p:cNvSpPr>
            <p:nvPr/>
          </p:nvSpPr>
          <p:spPr bwMode="auto">
            <a:xfrm>
              <a:off x="2443648" y="3477333"/>
              <a:ext cx="590934" cy="414030"/>
            </a:xfrm>
            <a:custGeom>
              <a:avLst/>
              <a:gdLst>
                <a:gd name="T0" fmla="*/ 16127 w 340"/>
                <a:gd name="T1" fmla="*/ 109538 h 220"/>
                <a:gd name="T2" fmla="*/ 49848 w 340"/>
                <a:gd name="T3" fmla="*/ 100012 h 220"/>
                <a:gd name="T4" fmla="*/ 85034 w 340"/>
                <a:gd name="T5" fmla="*/ 100012 h 220"/>
                <a:gd name="T6" fmla="*/ 114356 w 340"/>
                <a:gd name="T7" fmla="*/ 106363 h 220"/>
                <a:gd name="T8" fmla="*/ 139280 w 340"/>
                <a:gd name="T9" fmla="*/ 111125 h 220"/>
                <a:gd name="T10" fmla="*/ 155407 w 340"/>
                <a:gd name="T11" fmla="*/ 109538 h 220"/>
                <a:gd name="T12" fmla="*/ 155407 w 340"/>
                <a:gd name="T13" fmla="*/ 92075 h 220"/>
                <a:gd name="T14" fmla="*/ 149542 w 340"/>
                <a:gd name="T15" fmla="*/ 65088 h 220"/>
                <a:gd name="T16" fmla="*/ 174466 w 340"/>
                <a:gd name="T17" fmla="*/ 50800 h 220"/>
                <a:gd name="T18" fmla="*/ 203788 w 340"/>
                <a:gd name="T19" fmla="*/ 34925 h 220"/>
                <a:gd name="T20" fmla="*/ 252170 w 340"/>
                <a:gd name="T21" fmla="*/ 17463 h 220"/>
                <a:gd name="T22" fmla="*/ 293221 w 340"/>
                <a:gd name="T23" fmla="*/ 6350 h 220"/>
                <a:gd name="T24" fmla="*/ 303483 w 340"/>
                <a:gd name="T25" fmla="*/ 15875 h 220"/>
                <a:gd name="T26" fmla="*/ 328407 w 340"/>
                <a:gd name="T27" fmla="*/ 33338 h 220"/>
                <a:gd name="T28" fmla="*/ 357729 w 340"/>
                <a:gd name="T29" fmla="*/ 33338 h 220"/>
                <a:gd name="T30" fmla="*/ 379721 w 340"/>
                <a:gd name="T31" fmla="*/ 23812 h 220"/>
                <a:gd name="T32" fmla="*/ 398780 w 340"/>
                <a:gd name="T33" fmla="*/ 20638 h 220"/>
                <a:gd name="T34" fmla="*/ 409043 w 340"/>
                <a:gd name="T35" fmla="*/ 26988 h 220"/>
                <a:gd name="T36" fmla="*/ 414907 w 340"/>
                <a:gd name="T37" fmla="*/ 41275 h 220"/>
                <a:gd name="T38" fmla="*/ 420772 w 340"/>
                <a:gd name="T39" fmla="*/ 58738 h 220"/>
                <a:gd name="T40" fmla="*/ 453026 w 340"/>
                <a:gd name="T41" fmla="*/ 71438 h 220"/>
                <a:gd name="T42" fmla="*/ 475017 w 340"/>
                <a:gd name="T43" fmla="*/ 82550 h 220"/>
                <a:gd name="T44" fmla="*/ 488212 w 340"/>
                <a:gd name="T45" fmla="*/ 114300 h 220"/>
                <a:gd name="T46" fmla="*/ 485280 w 340"/>
                <a:gd name="T47" fmla="*/ 165100 h 220"/>
                <a:gd name="T48" fmla="*/ 463289 w 340"/>
                <a:gd name="T49" fmla="*/ 176212 h 220"/>
                <a:gd name="T50" fmla="*/ 439831 w 340"/>
                <a:gd name="T51" fmla="*/ 165100 h 220"/>
                <a:gd name="T52" fmla="*/ 411975 w 340"/>
                <a:gd name="T53" fmla="*/ 176212 h 220"/>
                <a:gd name="T54" fmla="*/ 388517 w 340"/>
                <a:gd name="T55" fmla="*/ 207963 h 220"/>
                <a:gd name="T56" fmla="*/ 373856 w 340"/>
                <a:gd name="T57" fmla="*/ 196850 h 220"/>
                <a:gd name="T58" fmla="*/ 347466 w 340"/>
                <a:gd name="T59" fmla="*/ 179387 h 220"/>
                <a:gd name="T60" fmla="*/ 312280 w 340"/>
                <a:gd name="T61" fmla="*/ 173038 h 220"/>
                <a:gd name="T62" fmla="*/ 284424 w 340"/>
                <a:gd name="T63" fmla="*/ 185737 h 220"/>
                <a:gd name="T64" fmla="*/ 281492 w 340"/>
                <a:gd name="T65" fmla="*/ 207963 h 220"/>
                <a:gd name="T66" fmla="*/ 284424 w 340"/>
                <a:gd name="T67" fmla="*/ 246063 h 220"/>
                <a:gd name="T68" fmla="*/ 281492 w 340"/>
                <a:gd name="T69" fmla="*/ 285750 h 220"/>
                <a:gd name="T70" fmla="*/ 260966 w 340"/>
                <a:gd name="T71" fmla="*/ 304800 h 220"/>
                <a:gd name="T72" fmla="*/ 246305 w 340"/>
                <a:gd name="T73" fmla="*/ 331788 h 220"/>
                <a:gd name="T74" fmla="*/ 230178 w 340"/>
                <a:gd name="T75" fmla="*/ 346075 h 220"/>
                <a:gd name="T76" fmla="*/ 194992 w 340"/>
                <a:gd name="T77" fmla="*/ 342900 h 220"/>
                <a:gd name="T78" fmla="*/ 168602 w 340"/>
                <a:gd name="T79" fmla="*/ 346075 h 220"/>
                <a:gd name="T80" fmla="*/ 162737 w 340"/>
                <a:gd name="T81" fmla="*/ 334963 h 220"/>
                <a:gd name="T82" fmla="*/ 168602 w 340"/>
                <a:gd name="T83" fmla="*/ 317500 h 220"/>
                <a:gd name="T84" fmla="*/ 165670 w 340"/>
                <a:gd name="T85" fmla="*/ 311150 h 220"/>
                <a:gd name="T86" fmla="*/ 152475 w 340"/>
                <a:gd name="T87" fmla="*/ 311150 h 220"/>
                <a:gd name="T88" fmla="*/ 133415 w 340"/>
                <a:gd name="T89" fmla="*/ 325438 h 220"/>
                <a:gd name="T90" fmla="*/ 108492 w 340"/>
                <a:gd name="T91" fmla="*/ 331788 h 220"/>
                <a:gd name="T92" fmla="*/ 79170 w 340"/>
                <a:gd name="T93" fmla="*/ 325438 h 220"/>
                <a:gd name="T94" fmla="*/ 60110 w 340"/>
                <a:gd name="T95" fmla="*/ 304800 h 220"/>
                <a:gd name="T96" fmla="*/ 60110 w 340"/>
                <a:gd name="T97" fmla="*/ 285750 h 220"/>
                <a:gd name="T98" fmla="*/ 54246 w 340"/>
                <a:gd name="T99" fmla="*/ 261938 h 220"/>
                <a:gd name="T100" fmla="*/ 54246 w 340"/>
                <a:gd name="T101" fmla="*/ 234950 h 220"/>
                <a:gd name="T102" fmla="*/ 35186 w 340"/>
                <a:gd name="T103" fmla="*/ 207963 h 220"/>
                <a:gd name="T104" fmla="*/ 5864 w 340"/>
                <a:gd name="T105" fmla="*/ 188912 h 220"/>
                <a:gd name="T106" fmla="*/ 0 w 340"/>
                <a:gd name="T107" fmla="*/ 173038 h 220"/>
                <a:gd name="T108" fmla="*/ 2932 w 340"/>
                <a:gd name="T109" fmla="*/ 161925 h 220"/>
                <a:gd name="T110" fmla="*/ 14661 w 340"/>
                <a:gd name="T111" fmla="*/ 147638 h 220"/>
                <a:gd name="T112" fmla="*/ 2932 w 340"/>
                <a:gd name="T113" fmla="*/ 131763 h 220"/>
                <a:gd name="T114" fmla="*/ 0 w 340"/>
                <a:gd name="T115" fmla="*/ 111125 h 22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0"/>
                <a:gd name="T175" fmla="*/ 0 h 220"/>
                <a:gd name="T176" fmla="*/ 340 w 340"/>
                <a:gd name="T177" fmla="*/ 220 h 22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0" h="220">
                  <a:moveTo>
                    <a:pt x="0" y="70"/>
                  </a:moveTo>
                  <a:lnTo>
                    <a:pt x="11" y="69"/>
                  </a:lnTo>
                  <a:lnTo>
                    <a:pt x="23" y="65"/>
                  </a:lnTo>
                  <a:lnTo>
                    <a:pt x="34" y="63"/>
                  </a:lnTo>
                  <a:lnTo>
                    <a:pt x="47" y="63"/>
                  </a:lnTo>
                  <a:lnTo>
                    <a:pt x="58" y="63"/>
                  </a:lnTo>
                  <a:lnTo>
                    <a:pt x="67" y="65"/>
                  </a:lnTo>
                  <a:lnTo>
                    <a:pt x="78" y="67"/>
                  </a:lnTo>
                  <a:lnTo>
                    <a:pt x="89" y="70"/>
                  </a:lnTo>
                  <a:lnTo>
                    <a:pt x="95" y="70"/>
                  </a:lnTo>
                  <a:lnTo>
                    <a:pt x="100" y="70"/>
                  </a:lnTo>
                  <a:lnTo>
                    <a:pt x="106" y="69"/>
                  </a:lnTo>
                  <a:lnTo>
                    <a:pt x="109" y="67"/>
                  </a:lnTo>
                  <a:lnTo>
                    <a:pt x="106" y="58"/>
                  </a:lnTo>
                  <a:lnTo>
                    <a:pt x="100" y="48"/>
                  </a:lnTo>
                  <a:lnTo>
                    <a:pt x="102" y="41"/>
                  </a:lnTo>
                  <a:lnTo>
                    <a:pt x="108" y="32"/>
                  </a:lnTo>
                  <a:lnTo>
                    <a:pt x="119" y="32"/>
                  </a:lnTo>
                  <a:lnTo>
                    <a:pt x="128" y="28"/>
                  </a:lnTo>
                  <a:lnTo>
                    <a:pt x="139" y="22"/>
                  </a:lnTo>
                  <a:lnTo>
                    <a:pt x="150" y="17"/>
                  </a:lnTo>
                  <a:lnTo>
                    <a:pt x="172" y="11"/>
                  </a:lnTo>
                  <a:lnTo>
                    <a:pt x="194" y="6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7" y="10"/>
                  </a:lnTo>
                  <a:lnTo>
                    <a:pt x="211" y="17"/>
                  </a:lnTo>
                  <a:lnTo>
                    <a:pt x="224" y="21"/>
                  </a:lnTo>
                  <a:lnTo>
                    <a:pt x="235" y="21"/>
                  </a:lnTo>
                  <a:lnTo>
                    <a:pt x="244" y="21"/>
                  </a:lnTo>
                  <a:lnTo>
                    <a:pt x="252" y="19"/>
                  </a:lnTo>
                  <a:lnTo>
                    <a:pt x="259" y="15"/>
                  </a:lnTo>
                  <a:lnTo>
                    <a:pt x="266" y="13"/>
                  </a:lnTo>
                  <a:lnTo>
                    <a:pt x="272" y="13"/>
                  </a:lnTo>
                  <a:lnTo>
                    <a:pt x="276" y="15"/>
                  </a:lnTo>
                  <a:lnTo>
                    <a:pt x="279" y="17"/>
                  </a:lnTo>
                  <a:lnTo>
                    <a:pt x="281" y="22"/>
                  </a:lnTo>
                  <a:lnTo>
                    <a:pt x="283" y="26"/>
                  </a:lnTo>
                  <a:lnTo>
                    <a:pt x="283" y="34"/>
                  </a:lnTo>
                  <a:lnTo>
                    <a:pt x="287" y="37"/>
                  </a:lnTo>
                  <a:lnTo>
                    <a:pt x="296" y="41"/>
                  </a:lnTo>
                  <a:lnTo>
                    <a:pt x="309" y="45"/>
                  </a:lnTo>
                  <a:lnTo>
                    <a:pt x="325" y="50"/>
                  </a:lnTo>
                  <a:lnTo>
                    <a:pt x="324" y="52"/>
                  </a:lnTo>
                  <a:lnTo>
                    <a:pt x="333" y="72"/>
                  </a:lnTo>
                  <a:lnTo>
                    <a:pt x="340" y="102"/>
                  </a:lnTo>
                  <a:lnTo>
                    <a:pt x="331" y="104"/>
                  </a:lnTo>
                  <a:lnTo>
                    <a:pt x="322" y="106"/>
                  </a:lnTo>
                  <a:lnTo>
                    <a:pt x="316" y="111"/>
                  </a:lnTo>
                  <a:lnTo>
                    <a:pt x="311" y="113"/>
                  </a:lnTo>
                  <a:lnTo>
                    <a:pt x="300" y="104"/>
                  </a:lnTo>
                  <a:lnTo>
                    <a:pt x="290" y="98"/>
                  </a:lnTo>
                  <a:lnTo>
                    <a:pt x="281" y="111"/>
                  </a:lnTo>
                  <a:lnTo>
                    <a:pt x="265" y="131"/>
                  </a:lnTo>
                  <a:lnTo>
                    <a:pt x="255" y="124"/>
                  </a:lnTo>
                  <a:lnTo>
                    <a:pt x="246" y="119"/>
                  </a:lnTo>
                  <a:lnTo>
                    <a:pt x="237" y="113"/>
                  </a:lnTo>
                  <a:lnTo>
                    <a:pt x="228" y="111"/>
                  </a:lnTo>
                  <a:lnTo>
                    <a:pt x="213" y="109"/>
                  </a:lnTo>
                  <a:lnTo>
                    <a:pt x="198" y="111"/>
                  </a:lnTo>
                  <a:lnTo>
                    <a:pt x="194" y="117"/>
                  </a:lnTo>
                  <a:lnTo>
                    <a:pt x="194" y="124"/>
                  </a:lnTo>
                  <a:lnTo>
                    <a:pt x="192" y="131"/>
                  </a:lnTo>
                  <a:lnTo>
                    <a:pt x="194" y="139"/>
                  </a:lnTo>
                  <a:lnTo>
                    <a:pt x="194" y="155"/>
                  </a:lnTo>
                  <a:lnTo>
                    <a:pt x="196" y="172"/>
                  </a:lnTo>
                  <a:lnTo>
                    <a:pt x="192" y="180"/>
                  </a:lnTo>
                  <a:lnTo>
                    <a:pt x="185" y="189"/>
                  </a:lnTo>
                  <a:lnTo>
                    <a:pt x="178" y="192"/>
                  </a:lnTo>
                  <a:lnTo>
                    <a:pt x="168" y="198"/>
                  </a:lnTo>
                  <a:lnTo>
                    <a:pt x="168" y="209"/>
                  </a:lnTo>
                  <a:lnTo>
                    <a:pt x="165" y="216"/>
                  </a:lnTo>
                  <a:lnTo>
                    <a:pt x="157" y="218"/>
                  </a:lnTo>
                  <a:lnTo>
                    <a:pt x="148" y="215"/>
                  </a:lnTo>
                  <a:lnTo>
                    <a:pt x="133" y="216"/>
                  </a:lnTo>
                  <a:lnTo>
                    <a:pt x="120" y="220"/>
                  </a:lnTo>
                  <a:lnTo>
                    <a:pt x="115" y="218"/>
                  </a:lnTo>
                  <a:lnTo>
                    <a:pt x="111" y="216"/>
                  </a:lnTo>
                  <a:lnTo>
                    <a:pt x="111" y="211"/>
                  </a:lnTo>
                  <a:lnTo>
                    <a:pt x="113" y="204"/>
                  </a:lnTo>
                  <a:lnTo>
                    <a:pt x="115" y="200"/>
                  </a:lnTo>
                  <a:lnTo>
                    <a:pt x="115" y="198"/>
                  </a:lnTo>
                  <a:lnTo>
                    <a:pt x="113" y="196"/>
                  </a:lnTo>
                  <a:lnTo>
                    <a:pt x="111" y="194"/>
                  </a:lnTo>
                  <a:lnTo>
                    <a:pt x="104" y="196"/>
                  </a:lnTo>
                  <a:lnTo>
                    <a:pt x="96" y="202"/>
                  </a:lnTo>
                  <a:lnTo>
                    <a:pt x="91" y="205"/>
                  </a:lnTo>
                  <a:lnTo>
                    <a:pt x="83" y="207"/>
                  </a:lnTo>
                  <a:lnTo>
                    <a:pt x="74" y="209"/>
                  </a:lnTo>
                  <a:lnTo>
                    <a:pt x="63" y="209"/>
                  </a:lnTo>
                  <a:lnTo>
                    <a:pt x="54" y="205"/>
                  </a:lnTo>
                  <a:lnTo>
                    <a:pt x="47" y="200"/>
                  </a:lnTo>
                  <a:lnTo>
                    <a:pt x="41" y="192"/>
                  </a:lnTo>
                  <a:lnTo>
                    <a:pt x="39" y="187"/>
                  </a:lnTo>
                  <a:lnTo>
                    <a:pt x="41" y="180"/>
                  </a:lnTo>
                  <a:lnTo>
                    <a:pt x="41" y="170"/>
                  </a:lnTo>
                  <a:lnTo>
                    <a:pt x="37" y="165"/>
                  </a:lnTo>
                  <a:lnTo>
                    <a:pt x="34" y="161"/>
                  </a:lnTo>
                  <a:lnTo>
                    <a:pt x="37" y="148"/>
                  </a:lnTo>
                  <a:lnTo>
                    <a:pt x="37" y="137"/>
                  </a:lnTo>
                  <a:lnTo>
                    <a:pt x="24" y="131"/>
                  </a:lnTo>
                  <a:lnTo>
                    <a:pt x="8" y="128"/>
                  </a:lnTo>
                  <a:lnTo>
                    <a:pt x="4" y="119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2" y="102"/>
                  </a:lnTo>
                  <a:lnTo>
                    <a:pt x="6" y="98"/>
                  </a:lnTo>
                  <a:lnTo>
                    <a:pt x="10" y="93"/>
                  </a:lnTo>
                  <a:lnTo>
                    <a:pt x="8" y="89"/>
                  </a:lnTo>
                  <a:lnTo>
                    <a:pt x="2" y="83"/>
                  </a:lnTo>
                  <a:lnTo>
                    <a:pt x="0" y="7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88" name="Freeform 86"/>
            <p:cNvSpPr>
              <a:spLocks/>
            </p:cNvSpPr>
            <p:nvPr/>
          </p:nvSpPr>
          <p:spPr bwMode="auto">
            <a:xfrm>
              <a:off x="1555364" y="3546967"/>
              <a:ext cx="276648" cy="400856"/>
            </a:xfrm>
            <a:custGeom>
              <a:avLst/>
              <a:gdLst>
                <a:gd name="T0" fmla="*/ 48434 w 159"/>
                <a:gd name="T1" fmla="*/ 0 h 213"/>
                <a:gd name="T2" fmla="*/ 20548 w 159"/>
                <a:gd name="T3" fmla="*/ 17462 h 213"/>
                <a:gd name="T4" fmla="*/ 0 w 159"/>
                <a:gd name="T5" fmla="*/ 34925 h 213"/>
                <a:gd name="T6" fmla="*/ 0 w 159"/>
                <a:gd name="T7" fmla="*/ 47625 h 213"/>
                <a:gd name="T8" fmla="*/ 2935 w 159"/>
                <a:gd name="T9" fmla="*/ 55562 h 213"/>
                <a:gd name="T10" fmla="*/ 10274 w 159"/>
                <a:gd name="T11" fmla="*/ 68262 h 213"/>
                <a:gd name="T12" fmla="*/ 19080 w 159"/>
                <a:gd name="T13" fmla="*/ 82550 h 213"/>
                <a:gd name="T14" fmla="*/ 19080 w 159"/>
                <a:gd name="T15" fmla="*/ 96837 h 213"/>
                <a:gd name="T16" fmla="*/ 16145 w 159"/>
                <a:gd name="T17" fmla="*/ 111125 h 213"/>
                <a:gd name="T18" fmla="*/ 19080 w 159"/>
                <a:gd name="T19" fmla="*/ 127000 h 213"/>
                <a:gd name="T20" fmla="*/ 23483 w 159"/>
                <a:gd name="T21" fmla="*/ 138112 h 213"/>
                <a:gd name="T22" fmla="*/ 58708 w 159"/>
                <a:gd name="T23" fmla="*/ 155575 h 213"/>
                <a:gd name="T24" fmla="*/ 89529 w 159"/>
                <a:gd name="T25" fmla="*/ 173037 h 213"/>
                <a:gd name="T26" fmla="*/ 77788 w 159"/>
                <a:gd name="T27" fmla="*/ 203200 h 213"/>
                <a:gd name="T28" fmla="*/ 64578 w 159"/>
                <a:gd name="T29" fmla="*/ 238125 h 213"/>
                <a:gd name="T30" fmla="*/ 67514 w 159"/>
                <a:gd name="T31" fmla="*/ 249237 h 213"/>
                <a:gd name="T32" fmla="*/ 74852 w 159"/>
                <a:gd name="T33" fmla="*/ 258762 h 213"/>
                <a:gd name="T34" fmla="*/ 86594 w 159"/>
                <a:gd name="T35" fmla="*/ 266700 h 213"/>
                <a:gd name="T36" fmla="*/ 93932 w 159"/>
                <a:gd name="T37" fmla="*/ 276225 h 213"/>
                <a:gd name="T38" fmla="*/ 96868 w 159"/>
                <a:gd name="T39" fmla="*/ 300037 h 213"/>
                <a:gd name="T40" fmla="*/ 108609 w 159"/>
                <a:gd name="T41" fmla="*/ 338137 h 213"/>
                <a:gd name="T42" fmla="*/ 121818 w 159"/>
                <a:gd name="T43" fmla="*/ 334962 h 213"/>
                <a:gd name="T44" fmla="*/ 135028 w 159"/>
                <a:gd name="T45" fmla="*/ 325437 h 213"/>
                <a:gd name="T46" fmla="*/ 145301 w 159"/>
                <a:gd name="T47" fmla="*/ 311150 h 213"/>
                <a:gd name="T48" fmla="*/ 157043 w 159"/>
                <a:gd name="T49" fmla="*/ 287337 h 213"/>
                <a:gd name="T50" fmla="*/ 170252 w 159"/>
                <a:gd name="T51" fmla="*/ 269875 h 213"/>
                <a:gd name="T52" fmla="*/ 180526 w 159"/>
                <a:gd name="T53" fmla="*/ 258762 h 213"/>
                <a:gd name="T54" fmla="*/ 183461 w 159"/>
                <a:gd name="T55" fmla="*/ 244475 h 213"/>
                <a:gd name="T56" fmla="*/ 183461 w 159"/>
                <a:gd name="T57" fmla="*/ 228600 h 213"/>
                <a:gd name="T58" fmla="*/ 199606 w 159"/>
                <a:gd name="T59" fmla="*/ 223837 h 213"/>
                <a:gd name="T60" fmla="*/ 215751 w 159"/>
                <a:gd name="T61" fmla="*/ 214312 h 213"/>
                <a:gd name="T62" fmla="*/ 211348 w 159"/>
                <a:gd name="T63" fmla="*/ 193675 h 213"/>
                <a:gd name="T64" fmla="*/ 208412 w 159"/>
                <a:gd name="T65" fmla="*/ 176212 h 213"/>
                <a:gd name="T66" fmla="*/ 218686 w 159"/>
                <a:gd name="T67" fmla="*/ 173037 h 213"/>
                <a:gd name="T68" fmla="*/ 233363 w 159"/>
                <a:gd name="T69" fmla="*/ 173037 h 213"/>
                <a:gd name="T70" fmla="*/ 233363 w 159"/>
                <a:gd name="T71" fmla="*/ 161925 h 213"/>
                <a:gd name="T72" fmla="*/ 227492 w 159"/>
                <a:gd name="T73" fmla="*/ 147637 h 213"/>
                <a:gd name="T74" fmla="*/ 215751 w 159"/>
                <a:gd name="T75" fmla="*/ 127000 h 213"/>
                <a:gd name="T76" fmla="*/ 202541 w 159"/>
                <a:gd name="T77" fmla="*/ 106362 h 213"/>
                <a:gd name="T78" fmla="*/ 189332 w 159"/>
                <a:gd name="T79" fmla="*/ 85725 h 213"/>
                <a:gd name="T80" fmla="*/ 173188 w 159"/>
                <a:gd name="T81" fmla="*/ 73025 h 213"/>
                <a:gd name="T82" fmla="*/ 143834 w 159"/>
                <a:gd name="T83" fmla="*/ 61912 h 213"/>
                <a:gd name="T84" fmla="*/ 113012 w 159"/>
                <a:gd name="T85" fmla="*/ 50800 h 213"/>
                <a:gd name="T86" fmla="*/ 80723 w 159"/>
                <a:gd name="T87" fmla="*/ 23812 h 213"/>
                <a:gd name="T88" fmla="*/ 48434 w 159"/>
                <a:gd name="T89" fmla="*/ 0 h 21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9"/>
                <a:gd name="T136" fmla="*/ 0 h 213"/>
                <a:gd name="T137" fmla="*/ 159 w 159"/>
                <a:gd name="T138" fmla="*/ 213 h 21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9" h="213">
                  <a:moveTo>
                    <a:pt x="33" y="0"/>
                  </a:moveTo>
                  <a:lnTo>
                    <a:pt x="14" y="11"/>
                  </a:lnTo>
                  <a:lnTo>
                    <a:pt x="0" y="22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7" y="43"/>
                  </a:lnTo>
                  <a:lnTo>
                    <a:pt x="13" y="52"/>
                  </a:lnTo>
                  <a:lnTo>
                    <a:pt x="13" y="61"/>
                  </a:lnTo>
                  <a:lnTo>
                    <a:pt x="11" y="70"/>
                  </a:lnTo>
                  <a:lnTo>
                    <a:pt x="13" y="80"/>
                  </a:lnTo>
                  <a:lnTo>
                    <a:pt x="16" y="87"/>
                  </a:lnTo>
                  <a:lnTo>
                    <a:pt x="40" y="98"/>
                  </a:lnTo>
                  <a:lnTo>
                    <a:pt x="61" y="109"/>
                  </a:lnTo>
                  <a:lnTo>
                    <a:pt x="53" y="128"/>
                  </a:lnTo>
                  <a:lnTo>
                    <a:pt x="44" y="150"/>
                  </a:lnTo>
                  <a:lnTo>
                    <a:pt x="46" y="157"/>
                  </a:lnTo>
                  <a:lnTo>
                    <a:pt x="51" y="163"/>
                  </a:lnTo>
                  <a:lnTo>
                    <a:pt x="59" y="168"/>
                  </a:lnTo>
                  <a:lnTo>
                    <a:pt x="64" y="174"/>
                  </a:lnTo>
                  <a:lnTo>
                    <a:pt x="66" y="189"/>
                  </a:lnTo>
                  <a:lnTo>
                    <a:pt x="74" y="213"/>
                  </a:lnTo>
                  <a:lnTo>
                    <a:pt x="83" y="211"/>
                  </a:lnTo>
                  <a:lnTo>
                    <a:pt x="92" y="205"/>
                  </a:lnTo>
                  <a:lnTo>
                    <a:pt x="99" y="196"/>
                  </a:lnTo>
                  <a:lnTo>
                    <a:pt x="107" y="181"/>
                  </a:lnTo>
                  <a:lnTo>
                    <a:pt x="116" y="170"/>
                  </a:lnTo>
                  <a:lnTo>
                    <a:pt x="123" y="163"/>
                  </a:lnTo>
                  <a:lnTo>
                    <a:pt x="125" y="154"/>
                  </a:lnTo>
                  <a:lnTo>
                    <a:pt x="125" y="144"/>
                  </a:lnTo>
                  <a:lnTo>
                    <a:pt x="136" y="141"/>
                  </a:lnTo>
                  <a:lnTo>
                    <a:pt x="147" y="135"/>
                  </a:lnTo>
                  <a:lnTo>
                    <a:pt x="144" y="122"/>
                  </a:lnTo>
                  <a:lnTo>
                    <a:pt x="142" y="111"/>
                  </a:lnTo>
                  <a:lnTo>
                    <a:pt x="149" y="109"/>
                  </a:lnTo>
                  <a:lnTo>
                    <a:pt x="159" y="109"/>
                  </a:lnTo>
                  <a:lnTo>
                    <a:pt x="159" y="102"/>
                  </a:lnTo>
                  <a:lnTo>
                    <a:pt x="155" y="93"/>
                  </a:lnTo>
                  <a:lnTo>
                    <a:pt x="147" y="80"/>
                  </a:lnTo>
                  <a:lnTo>
                    <a:pt x="138" y="67"/>
                  </a:lnTo>
                  <a:lnTo>
                    <a:pt x="129" y="54"/>
                  </a:lnTo>
                  <a:lnTo>
                    <a:pt x="118" y="46"/>
                  </a:lnTo>
                  <a:lnTo>
                    <a:pt x="98" y="39"/>
                  </a:lnTo>
                  <a:lnTo>
                    <a:pt x="77" y="32"/>
                  </a:lnTo>
                  <a:lnTo>
                    <a:pt x="55" y="15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89" name="Freeform 87"/>
            <p:cNvSpPr>
              <a:spLocks/>
            </p:cNvSpPr>
            <p:nvPr/>
          </p:nvSpPr>
          <p:spPr bwMode="auto">
            <a:xfrm>
              <a:off x="1683337" y="3661766"/>
              <a:ext cx="410267" cy="427205"/>
            </a:xfrm>
            <a:custGeom>
              <a:avLst/>
              <a:gdLst>
                <a:gd name="T0" fmla="*/ 0 w 236"/>
                <a:gd name="T1" fmla="*/ 246063 h 227"/>
                <a:gd name="T2" fmla="*/ 7332 w 236"/>
                <a:gd name="T3" fmla="*/ 255588 h 227"/>
                <a:gd name="T4" fmla="*/ 10265 w 236"/>
                <a:gd name="T5" fmla="*/ 273050 h 227"/>
                <a:gd name="T6" fmla="*/ 7332 w 236"/>
                <a:gd name="T7" fmla="*/ 300038 h 227"/>
                <a:gd name="T8" fmla="*/ 4399 w 236"/>
                <a:gd name="T9" fmla="*/ 320675 h 227"/>
                <a:gd name="T10" fmla="*/ 4399 w 236"/>
                <a:gd name="T11" fmla="*/ 320675 h 227"/>
                <a:gd name="T12" fmla="*/ 20530 w 236"/>
                <a:gd name="T13" fmla="*/ 331788 h 227"/>
                <a:gd name="T14" fmla="*/ 55724 w 236"/>
                <a:gd name="T15" fmla="*/ 352425 h 227"/>
                <a:gd name="T16" fmla="*/ 93851 w 236"/>
                <a:gd name="T17" fmla="*/ 360363 h 227"/>
                <a:gd name="T18" fmla="*/ 126112 w 236"/>
                <a:gd name="T19" fmla="*/ 349250 h 227"/>
                <a:gd name="T20" fmla="*/ 142243 w 236"/>
                <a:gd name="T21" fmla="*/ 342900 h 227"/>
                <a:gd name="T22" fmla="*/ 142243 w 236"/>
                <a:gd name="T23" fmla="*/ 342900 h 227"/>
                <a:gd name="T24" fmla="*/ 142243 w 236"/>
                <a:gd name="T25" fmla="*/ 342900 h 227"/>
                <a:gd name="T26" fmla="*/ 167172 w 236"/>
                <a:gd name="T27" fmla="*/ 341313 h 227"/>
                <a:gd name="T28" fmla="*/ 196500 w 236"/>
                <a:gd name="T29" fmla="*/ 307975 h 227"/>
                <a:gd name="T30" fmla="*/ 218497 w 236"/>
                <a:gd name="T31" fmla="*/ 287338 h 227"/>
                <a:gd name="T32" fmla="*/ 230228 w 236"/>
                <a:gd name="T33" fmla="*/ 293688 h 227"/>
                <a:gd name="T34" fmla="*/ 249291 w 236"/>
                <a:gd name="T35" fmla="*/ 307975 h 227"/>
                <a:gd name="T36" fmla="*/ 269821 w 236"/>
                <a:gd name="T37" fmla="*/ 334963 h 227"/>
                <a:gd name="T38" fmla="*/ 300616 w 236"/>
                <a:gd name="T39" fmla="*/ 349250 h 227"/>
                <a:gd name="T40" fmla="*/ 324079 w 236"/>
                <a:gd name="T41" fmla="*/ 352425 h 227"/>
                <a:gd name="T42" fmla="*/ 337276 w 236"/>
                <a:gd name="T43" fmla="*/ 342900 h 227"/>
                <a:gd name="T44" fmla="*/ 346075 w 236"/>
                <a:gd name="T45" fmla="*/ 317500 h 227"/>
                <a:gd name="T46" fmla="*/ 343142 w 236"/>
                <a:gd name="T47" fmla="*/ 284163 h 227"/>
                <a:gd name="T48" fmla="*/ 300616 w 236"/>
                <a:gd name="T49" fmla="*/ 225425 h 227"/>
                <a:gd name="T50" fmla="*/ 278620 w 236"/>
                <a:gd name="T51" fmla="*/ 182563 h 227"/>
                <a:gd name="T52" fmla="*/ 285952 w 236"/>
                <a:gd name="T53" fmla="*/ 169863 h 227"/>
                <a:gd name="T54" fmla="*/ 288885 w 236"/>
                <a:gd name="T55" fmla="*/ 161925 h 227"/>
                <a:gd name="T56" fmla="*/ 281553 w 236"/>
                <a:gd name="T57" fmla="*/ 141288 h 227"/>
                <a:gd name="T58" fmla="*/ 269821 w 236"/>
                <a:gd name="T59" fmla="*/ 127000 h 227"/>
                <a:gd name="T60" fmla="*/ 250758 w 236"/>
                <a:gd name="T61" fmla="*/ 117475 h 227"/>
                <a:gd name="T62" fmla="*/ 237560 w 236"/>
                <a:gd name="T63" fmla="*/ 79375 h 227"/>
                <a:gd name="T64" fmla="*/ 224362 w 236"/>
                <a:gd name="T65" fmla="*/ 41275 h 227"/>
                <a:gd name="T66" fmla="*/ 205299 w 236"/>
                <a:gd name="T67" fmla="*/ 12700 h 227"/>
                <a:gd name="T68" fmla="*/ 196500 w 236"/>
                <a:gd name="T69" fmla="*/ 3175 h 227"/>
                <a:gd name="T70" fmla="*/ 186235 w 236"/>
                <a:gd name="T71" fmla="*/ 6350 h 227"/>
                <a:gd name="T72" fmla="*/ 170105 w 236"/>
                <a:gd name="T73" fmla="*/ 20638 h 227"/>
                <a:gd name="T74" fmla="*/ 161306 w 236"/>
                <a:gd name="T75" fmla="*/ 17463 h 227"/>
                <a:gd name="T76" fmla="*/ 140776 w 236"/>
                <a:gd name="T77" fmla="*/ 33338 h 227"/>
                <a:gd name="T78" fmla="*/ 124646 w 236"/>
                <a:gd name="T79" fmla="*/ 68263 h 227"/>
                <a:gd name="T80" fmla="*/ 109981 w 236"/>
                <a:gd name="T81" fmla="*/ 76200 h 227"/>
                <a:gd name="T82" fmla="*/ 102649 w 236"/>
                <a:gd name="T83" fmla="*/ 96838 h 227"/>
                <a:gd name="T84" fmla="*/ 90918 w 236"/>
                <a:gd name="T85" fmla="*/ 127000 h 227"/>
                <a:gd name="T86" fmla="*/ 74787 w 236"/>
                <a:gd name="T87" fmla="*/ 147638 h 227"/>
                <a:gd name="T88" fmla="*/ 61590 w 236"/>
                <a:gd name="T89" fmla="*/ 173038 h 227"/>
                <a:gd name="T90" fmla="*/ 36660 w 236"/>
                <a:gd name="T91" fmla="*/ 214313 h 227"/>
                <a:gd name="T92" fmla="*/ 13198 w 236"/>
                <a:gd name="T93" fmla="*/ 238125 h 2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6"/>
                <a:gd name="T142" fmla="*/ 0 h 227"/>
                <a:gd name="T143" fmla="*/ 236 w 236"/>
                <a:gd name="T144" fmla="*/ 227 h 2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6" h="227">
                  <a:moveTo>
                    <a:pt x="0" y="152"/>
                  </a:moveTo>
                  <a:lnTo>
                    <a:pt x="0" y="155"/>
                  </a:lnTo>
                  <a:lnTo>
                    <a:pt x="1" y="157"/>
                  </a:lnTo>
                  <a:lnTo>
                    <a:pt x="5" y="161"/>
                  </a:lnTo>
                  <a:lnTo>
                    <a:pt x="5" y="167"/>
                  </a:lnTo>
                  <a:lnTo>
                    <a:pt x="7" y="172"/>
                  </a:lnTo>
                  <a:lnTo>
                    <a:pt x="7" y="178"/>
                  </a:lnTo>
                  <a:lnTo>
                    <a:pt x="5" y="189"/>
                  </a:lnTo>
                  <a:lnTo>
                    <a:pt x="3" y="202"/>
                  </a:lnTo>
                  <a:lnTo>
                    <a:pt x="14" y="209"/>
                  </a:lnTo>
                  <a:lnTo>
                    <a:pt x="27" y="216"/>
                  </a:lnTo>
                  <a:lnTo>
                    <a:pt x="38" y="222"/>
                  </a:lnTo>
                  <a:lnTo>
                    <a:pt x="51" y="227"/>
                  </a:lnTo>
                  <a:lnTo>
                    <a:pt x="64" y="227"/>
                  </a:lnTo>
                  <a:lnTo>
                    <a:pt x="75" y="224"/>
                  </a:lnTo>
                  <a:lnTo>
                    <a:pt x="86" y="220"/>
                  </a:lnTo>
                  <a:lnTo>
                    <a:pt x="97" y="216"/>
                  </a:lnTo>
                  <a:lnTo>
                    <a:pt x="114" y="215"/>
                  </a:lnTo>
                  <a:lnTo>
                    <a:pt x="127" y="209"/>
                  </a:lnTo>
                  <a:lnTo>
                    <a:pt x="134" y="194"/>
                  </a:lnTo>
                  <a:lnTo>
                    <a:pt x="144" y="181"/>
                  </a:lnTo>
                  <a:lnTo>
                    <a:pt x="149" y="181"/>
                  </a:lnTo>
                  <a:lnTo>
                    <a:pt x="153" y="183"/>
                  </a:lnTo>
                  <a:lnTo>
                    <a:pt x="157" y="185"/>
                  </a:lnTo>
                  <a:lnTo>
                    <a:pt x="162" y="187"/>
                  </a:lnTo>
                  <a:lnTo>
                    <a:pt x="170" y="194"/>
                  </a:lnTo>
                  <a:lnTo>
                    <a:pt x="177" y="203"/>
                  </a:lnTo>
                  <a:lnTo>
                    <a:pt x="184" y="211"/>
                  </a:lnTo>
                  <a:lnTo>
                    <a:pt x="195" y="216"/>
                  </a:lnTo>
                  <a:lnTo>
                    <a:pt x="205" y="220"/>
                  </a:lnTo>
                  <a:lnTo>
                    <a:pt x="216" y="224"/>
                  </a:lnTo>
                  <a:lnTo>
                    <a:pt x="221" y="222"/>
                  </a:lnTo>
                  <a:lnTo>
                    <a:pt x="225" y="220"/>
                  </a:lnTo>
                  <a:lnTo>
                    <a:pt x="230" y="216"/>
                  </a:lnTo>
                  <a:lnTo>
                    <a:pt x="234" y="213"/>
                  </a:lnTo>
                  <a:lnTo>
                    <a:pt x="236" y="200"/>
                  </a:lnTo>
                  <a:lnTo>
                    <a:pt x="236" y="189"/>
                  </a:lnTo>
                  <a:lnTo>
                    <a:pt x="234" y="179"/>
                  </a:lnTo>
                  <a:lnTo>
                    <a:pt x="230" y="170"/>
                  </a:lnTo>
                  <a:lnTo>
                    <a:pt x="205" y="142"/>
                  </a:lnTo>
                  <a:lnTo>
                    <a:pt x="188" y="120"/>
                  </a:lnTo>
                  <a:lnTo>
                    <a:pt x="190" y="115"/>
                  </a:lnTo>
                  <a:lnTo>
                    <a:pt x="194" y="111"/>
                  </a:lnTo>
                  <a:lnTo>
                    <a:pt x="195" y="107"/>
                  </a:lnTo>
                  <a:lnTo>
                    <a:pt x="197" y="106"/>
                  </a:lnTo>
                  <a:lnTo>
                    <a:pt x="197" y="102"/>
                  </a:lnTo>
                  <a:lnTo>
                    <a:pt x="195" y="98"/>
                  </a:lnTo>
                  <a:lnTo>
                    <a:pt x="192" y="89"/>
                  </a:lnTo>
                  <a:lnTo>
                    <a:pt x="188" y="83"/>
                  </a:lnTo>
                  <a:lnTo>
                    <a:pt x="184" y="80"/>
                  </a:lnTo>
                  <a:lnTo>
                    <a:pt x="181" y="78"/>
                  </a:lnTo>
                  <a:lnTo>
                    <a:pt x="171" y="74"/>
                  </a:lnTo>
                  <a:lnTo>
                    <a:pt x="164" y="69"/>
                  </a:lnTo>
                  <a:lnTo>
                    <a:pt x="162" y="50"/>
                  </a:lnTo>
                  <a:lnTo>
                    <a:pt x="160" y="33"/>
                  </a:lnTo>
                  <a:lnTo>
                    <a:pt x="153" y="26"/>
                  </a:lnTo>
                  <a:lnTo>
                    <a:pt x="147" y="21"/>
                  </a:lnTo>
                  <a:lnTo>
                    <a:pt x="140" y="8"/>
                  </a:lnTo>
                  <a:lnTo>
                    <a:pt x="134" y="2"/>
                  </a:lnTo>
                  <a:lnTo>
                    <a:pt x="133" y="0"/>
                  </a:lnTo>
                  <a:lnTo>
                    <a:pt x="127" y="4"/>
                  </a:lnTo>
                  <a:lnTo>
                    <a:pt x="118" y="6"/>
                  </a:lnTo>
                  <a:lnTo>
                    <a:pt x="116" y="13"/>
                  </a:lnTo>
                  <a:lnTo>
                    <a:pt x="114" y="19"/>
                  </a:lnTo>
                  <a:lnTo>
                    <a:pt x="110" y="11"/>
                  </a:lnTo>
                  <a:lnTo>
                    <a:pt x="105" y="8"/>
                  </a:lnTo>
                  <a:lnTo>
                    <a:pt x="96" y="21"/>
                  </a:lnTo>
                  <a:lnTo>
                    <a:pt x="83" y="35"/>
                  </a:lnTo>
                  <a:lnTo>
                    <a:pt x="85" y="43"/>
                  </a:lnTo>
                  <a:lnTo>
                    <a:pt x="85" y="48"/>
                  </a:lnTo>
                  <a:lnTo>
                    <a:pt x="75" y="48"/>
                  </a:lnTo>
                  <a:lnTo>
                    <a:pt x="68" y="50"/>
                  </a:lnTo>
                  <a:lnTo>
                    <a:pt x="70" y="61"/>
                  </a:lnTo>
                  <a:lnTo>
                    <a:pt x="73" y="74"/>
                  </a:lnTo>
                  <a:lnTo>
                    <a:pt x="62" y="80"/>
                  </a:lnTo>
                  <a:lnTo>
                    <a:pt x="51" y="83"/>
                  </a:lnTo>
                  <a:lnTo>
                    <a:pt x="51" y="93"/>
                  </a:lnTo>
                  <a:lnTo>
                    <a:pt x="49" y="102"/>
                  </a:lnTo>
                  <a:lnTo>
                    <a:pt x="42" y="109"/>
                  </a:lnTo>
                  <a:lnTo>
                    <a:pt x="33" y="120"/>
                  </a:lnTo>
                  <a:lnTo>
                    <a:pt x="25" y="135"/>
                  </a:lnTo>
                  <a:lnTo>
                    <a:pt x="18" y="144"/>
                  </a:lnTo>
                  <a:lnTo>
                    <a:pt x="9" y="150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90" name="Freeform 88"/>
            <p:cNvSpPr>
              <a:spLocks/>
            </p:cNvSpPr>
            <p:nvPr/>
          </p:nvSpPr>
          <p:spPr bwMode="auto">
            <a:xfrm>
              <a:off x="1587358" y="3362535"/>
              <a:ext cx="327460" cy="365100"/>
            </a:xfrm>
            <a:custGeom>
              <a:avLst/>
              <a:gdLst>
                <a:gd name="T0" fmla="*/ 64306 w 189"/>
                <a:gd name="T1" fmla="*/ 9525 h 194"/>
                <a:gd name="T2" fmla="*/ 29230 w 189"/>
                <a:gd name="T3" fmla="*/ 30163 h 194"/>
                <a:gd name="T4" fmla="*/ 0 w 189"/>
                <a:gd name="T5" fmla="*/ 44450 h 194"/>
                <a:gd name="T6" fmla="*/ 11692 w 189"/>
                <a:gd name="T7" fmla="*/ 65088 h 194"/>
                <a:gd name="T8" fmla="*/ 27769 w 189"/>
                <a:gd name="T9" fmla="*/ 96837 h 194"/>
                <a:gd name="T10" fmla="*/ 29230 w 189"/>
                <a:gd name="T11" fmla="*/ 117475 h 194"/>
                <a:gd name="T12" fmla="*/ 29230 w 189"/>
                <a:gd name="T13" fmla="*/ 134938 h 194"/>
                <a:gd name="T14" fmla="*/ 27769 w 189"/>
                <a:gd name="T15" fmla="*/ 147638 h 194"/>
                <a:gd name="T16" fmla="*/ 21923 w 189"/>
                <a:gd name="T17" fmla="*/ 155575 h 194"/>
                <a:gd name="T18" fmla="*/ 54076 w 189"/>
                <a:gd name="T19" fmla="*/ 179387 h 194"/>
                <a:gd name="T20" fmla="*/ 86229 w 189"/>
                <a:gd name="T21" fmla="*/ 206375 h 194"/>
                <a:gd name="T22" fmla="*/ 116921 w 189"/>
                <a:gd name="T23" fmla="*/ 217488 h 194"/>
                <a:gd name="T24" fmla="*/ 146151 w 189"/>
                <a:gd name="T25" fmla="*/ 228600 h 194"/>
                <a:gd name="T26" fmla="*/ 162227 w 189"/>
                <a:gd name="T27" fmla="*/ 241300 h 194"/>
                <a:gd name="T28" fmla="*/ 175381 w 189"/>
                <a:gd name="T29" fmla="*/ 261938 h 194"/>
                <a:gd name="T30" fmla="*/ 188535 w 189"/>
                <a:gd name="T31" fmla="*/ 282575 h 194"/>
                <a:gd name="T32" fmla="*/ 200227 w 189"/>
                <a:gd name="T33" fmla="*/ 303213 h 194"/>
                <a:gd name="T34" fmla="*/ 203150 w 189"/>
                <a:gd name="T35" fmla="*/ 304800 h 194"/>
                <a:gd name="T36" fmla="*/ 203150 w 189"/>
                <a:gd name="T37" fmla="*/ 307975 h 194"/>
                <a:gd name="T38" fmla="*/ 222149 w 189"/>
                <a:gd name="T39" fmla="*/ 285750 h 194"/>
                <a:gd name="T40" fmla="*/ 235303 w 189"/>
                <a:gd name="T41" fmla="*/ 265113 h 194"/>
                <a:gd name="T42" fmla="*/ 242610 w 189"/>
                <a:gd name="T43" fmla="*/ 269875 h 194"/>
                <a:gd name="T44" fmla="*/ 248456 w 189"/>
                <a:gd name="T45" fmla="*/ 282575 h 194"/>
                <a:gd name="T46" fmla="*/ 251379 w 189"/>
                <a:gd name="T47" fmla="*/ 273050 h 194"/>
                <a:gd name="T48" fmla="*/ 254302 w 189"/>
                <a:gd name="T49" fmla="*/ 261938 h 194"/>
                <a:gd name="T50" fmla="*/ 267456 w 189"/>
                <a:gd name="T51" fmla="*/ 258763 h 194"/>
                <a:gd name="T52" fmla="*/ 276225 w 189"/>
                <a:gd name="T53" fmla="*/ 252413 h 194"/>
                <a:gd name="T54" fmla="*/ 258687 w 189"/>
                <a:gd name="T55" fmla="*/ 247650 h 194"/>
                <a:gd name="T56" fmla="*/ 248456 w 189"/>
                <a:gd name="T57" fmla="*/ 238125 h 194"/>
                <a:gd name="T58" fmla="*/ 241149 w 189"/>
                <a:gd name="T59" fmla="*/ 228600 h 194"/>
                <a:gd name="T60" fmla="*/ 232380 w 189"/>
                <a:gd name="T61" fmla="*/ 217488 h 194"/>
                <a:gd name="T62" fmla="*/ 223611 w 189"/>
                <a:gd name="T63" fmla="*/ 214313 h 194"/>
                <a:gd name="T64" fmla="*/ 216303 w 189"/>
                <a:gd name="T65" fmla="*/ 211138 h 194"/>
                <a:gd name="T66" fmla="*/ 207534 w 189"/>
                <a:gd name="T67" fmla="*/ 203200 h 194"/>
                <a:gd name="T68" fmla="*/ 203150 w 189"/>
                <a:gd name="T69" fmla="*/ 193675 h 194"/>
                <a:gd name="T70" fmla="*/ 200227 w 189"/>
                <a:gd name="T71" fmla="*/ 173037 h 194"/>
                <a:gd name="T72" fmla="*/ 200227 w 189"/>
                <a:gd name="T73" fmla="*/ 150813 h 194"/>
                <a:gd name="T74" fmla="*/ 203150 w 189"/>
                <a:gd name="T75" fmla="*/ 127000 h 194"/>
                <a:gd name="T76" fmla="*/ 207534 w 189"/>
                <a:gd name="T77" fmla="*/ 103188 h 194"/>
                <a:gd name="T78" fmla="*/ 206073 w 189"/>
                <a:gd name="T79" fmla="*/ 93662 h 194"/>
                <a:gd name="T80" fmla="*/ 203150 w 189"/>
                <a:gd name="T81" fmla="*/ 85725 h 194"/>
                <a:gd name="T82" fmla="*/ 194381 w 189"/>
                <a:gd name="T83" fmla="*/ 76200 h 194"/>
                <a:gd name="T84" fmla="*/ 187073 w 189"/>
                <a:gd name="T85" fmla="*/ 73025 h 194"/>
                <a:gd name="T86" fmla="*/ 172458 w 189"/>
                <a:gd name="T87" fmla="*/ 65088 h 194"/>
                <a:gd name="T88" fmla="*/ 168073 w 189"/>
                <a:gd name="T89" fmla="*/ 55563 h 194"/>
                <a:gd name="T90" fmla="*/ 168073 w 189"/>
                <a:gd name="T91" fmla="*/ 50800 h 194"/>
                <a:gd name="T92" fmla="*/ 168073 w 189"/>
                <a:gd name="T93" fmla="*/ 44450 h 194"/>
                <a:gd name="T94" fmla="*/ 168073 w 189"/>
                <a:gd name="T95" fmla="*/ 38100 h 194"/>
                <a:gd name="T96" fmla="*/ 165150 w 189"/>
                <a:gd name="T97" fmla="*/ 34925 h 194"/>
                <a:gd name="T98" fmla="*/ 162227 w 189"/>
                <a:gd name="T99" fmla="*/ 30163 h 194"/>
                <a:gd name="T100" fmla="*/ 156381 w 189"/>
                <a:gd name="T101" fmla="*/ 23812 h 194"/>
                <a:gd name="T102" fmla="*/ 146151 w 189"/>
                <a:gd name="T103" fmla="*/ 15875 h 194"/>
                <a:gd name="T104" fmla="*/ 132997 w 189"/>
                <a:gd name="T105" fmla="*/ 3175 h 194"/>
                <a:gd name="T106" fmla="*/ 124228 w 189"/>
                <a:gd name="T107" fmla="*/ 9525 h 194"/>
                <a:gd name="T108" fmla="*/ 113998 w 189"/>
                <a:gd name="T109" fmla="*/ 17463 h 194"/>
                <a:gd name="T110" fmla="*/ 105229 w 189"/>
                <a:gd name="T111" fmla="*/ 17463 h 194"/>
                <a:gd name="T112" fmla="*/ 99383 w 189"/>
                <a:gd name="T113" fmla="*/ 12700 h 194"/>
                <a:gd name="T114" fmla="*/ 92075 w 189"/>
                <a:gd name="T115" fmla="*/ 6350 h 194"/>
                <a:gd name="T116" fmla="*/ 86229 w 189"/>
                <a:gd name="T117" fmla="*/ 0 h 194"/>
                <a:gd name="T118" fmla="*/ 78921 w 189"/>
                <a:gd name="T119" fmla="*/ 3175 h 194"/>
                <a:gd name="T120" fmla="*/ 64306 w 189"/>
                <a:gd name="T121" fmla="*/ 9525 h 19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9"/>
                <a:gd name="T184" fmla="*/ 0 h 194"/>
                <a:gd name="T185" fmla="*/ 189 w 189"/>
                <a:gd name="T186" fmla="*/ 194 h 19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9" h="194">
                  <a:moveTo>
                    <a:pt x="44" y="6"/>
                  </a:moveTo>
                  <a:lnTo>
                    <a:pt x="20" y="19"/>
                  </a:lnTo>
                  <a:lnTo>
                    <a:pt x="0" y="28"/>
                  </a:lnTo>
                  <a:lnTo>
                    <a:pt x="8" y="41"/>
                  </a:lnTo>
                  <a:lnTo>
                    <a:pt x="19" y="61"/>
                  </a:lnTo>
                  <a:lnTo>
                    <a:pt x="20" y="74"/>
                  </a:lnTo>
                  <a:lnTo>
                    <a:pt x="20" y="85"/>
                  </a:lnTo>
                  <a:lnTo>
                    <a:pt x="19" y="93"/>
                  </a:lnTo>
                  <a:lnTo>
                    <a:pt x="15" y="98"/>
                  </a:lnTo>
                  <a:lnTo>
                    <a:pt x="37" y="113"/>
                  </a:lnTo>
                  <a:lnTo>
                    <a:pt x="59" y="130"/>
                  </a:lnTo>
                  <a:lnTo>
                    <a:pt x="80" y="137"/>
                  </a:lnTo>
                  <a:lnTo>
                    <a:pt x="100" y="144"/>
                  </a:lnTo>
                  <a:lnTo>
                    <a:pt x="111" y="152"/>
                  </a:lnTo>
                  <a:lnTo>
                    <a:pt x="120" y="165"/>
                  </a:lnTo>
                  <a:lnTo>
                    <a:pt x="129" y="178"/>
                  </a:lnTo>
                  <a:lnTo>
                    <a:pt x="137" y="191"/>
                  </a:lnTo>
                  <a:lnTo>
                    <a:pt x="139" y="192"/>
                  </a:lnTo>
                  <a:lnTo>
                    <a:pt x="139" y="194"/>
                  </a:lnTo>
                  <a:lnTo>
                    <a:pt x="152" y="180"/>
                  </a:lnTo>
                  <a:lnTo>
                    <a:pt x="161" y="167"/>
                  </a:lnTo>
                  <a:lnTo>
                    <a:pt x="166" y="170"/>
                  </a:lnTo>
                  <a:lnTo>
                    <a:pt x="170" y="178"/>
                  </a:lnTo>
                  <a:lnTo>
                    <a:pt x="172" y="172"/>
                  </a:lnTo>
                  <a:lnTo>
                    <a:pt x="174" y="165"/>
                  </a:lnTo>
                  <a:lnTo>
                    <a:pt x="183" y="163"/>
                  </a:lnTo>
                  <a:lnTo>
                    <a:pt x="189" y="159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65" y="144"/>
                  </a:lnTo>
                  <a:lnTo>
                    <a:pt x="159" y="137"/>
                  </a:lnTo>
                  <a:lnTo>
                    <a:pt x="153" y="135"/>
                  </a:lnTo>
                  <a:lnTo>
                    <a:pt x="148" y="133"/>
                  </a:lnTo>
                  <a:lnTo>
                    <a:pt x="142" y="128"/>
                  </a:lnTo>
                  <a:lnTo>
                    <a:pt x="139" y="122"/>
                  </a:lnTo>
                  <a:lnTo>
                    <a:pt x="137" y="109"/>
                  </a:lnTo>
                  <a:lnTo>
                    <a:pt x="137" y="95"/>
                  </a:lnTo>
                  <a:lnTo>
                    <a:pt x="139" y="80"/>
                  </a:lnTo>
                  <a:lnTo>
                    <a:pt x="142" y="65"/>
                  </a:lnTo>
                  <a:lnTo>
                    <a:pt x="141" y="59"/>
                  </a:lnTo>
                  <a:lnTo>
                    <a:pt x="139" y="54"/>
                  </a:lnTo>
                  <a:lnTo>
                    <a:pt x="133" y="48"/>
                  </a:lnTo>
                  <a:lnTo>
                    <a:pt x="128" y="46"/>
                  </a:lnTo>
                  <a:lnTo>
                    <a:pt x="118" y="41"/>
                  </a:lnTo>
                  <a:lnTo>
                    <a:pt x="115" y="35"/>
                  </a:lnTo>
                  <a:lnTo>
                    <a:pt x="115" y="32"/>
                  </a:lnTo>
                  <a:lnTo>
                    <a:pt x="115" y="28"/>
                  </a:lnTo>
                  <a:lnTo>
                    <a:pt x="115" y="24"/>
                  </a:lnTo>
                  <a:lnTo>
                    <a:pt x="113" y="22"/>
                  </a:lnTo>
                  <a:lnTo>
                    <a:pt x="111" y="19"/>
                  </a:lnTo>
                  <a:lnTo>
                    <a:pt x="107" y="15"/>
                  </a:lnTo>
                  <a:lnTo>
                    <a:pt x="100" y="10"/>
                  </a:lnTo>
                  <a:lnTo>
                    <a:pt x="91" y="2"/>
                  </a:lnTo>
                  <a:lnTo>
                    <a:pt x="85" y="6"/>
                  </a:lnTo>
                  <a:lnTo>
                    <a:pt x="78" y="11"/>
                  </a:lnTo>
                  <a:lnTo>
                    <a:pt x="72" y="11"/>
                  </a:lnTo>
                  <a:lnTo>
                    <a:pt x="68" y="8"/>
                  </a:lnTo>
                  <a:lnTo>
                    <a:pt x="63" y="4"/>
                  </a:lnTo>
                  <a:lnTo>
                    <a:pt x="59" y="0"/>
                  </a:lnTo>
                  <a:lnTo>
                    <a:pt x="54" y="2"/>
                  </a:lnTo>
                  <a:lnTo>
                    <a:pt x="44" y="6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91" name="Freeform 89"/>
            <p:cNvSpPr>
              <a:spLocks/>
            </p:cNvSpPr>
            <p:nvPr/>
          </p:nvSpPr>
          <p:spPr bwMode="auto">
            <a:xfrm>
              <a:off x="1792491" y="2788537"/>
              <a:ext cx="395211" cy="363218"/>
            </a:xfrm>
            <a:custGeom>
              <a:avLst/>
              <a:gdLst>
                <a:gd name="T0" fmla="*/ 138906 w 228"/>
                <a:gd name="T1" fmla="*/ 9525 h 193"/>
                <a:gd name="T2" fmla="*/ 121360 w 228"/>
                <a:gd name="T3" fmla="*/ 17463 h 193"/>
                <a:gd name="T4" fmla="*/ 105276 w 228"/>
                <a:gd name="T5" fmla="*/ 30163 h 193"/>
                <a:gd name="T6" fmla="*/ 89192 w 228"/>
                <a:gd name="T7" fmla="*/ 41275 h 193"/>
                <a:gd name="T8" fmla="*/ 70184 w 228"/>
                <a:gd name="T9" fmla="*/ 53975 h 193"/>
                <a:gd name="T10" fmla="*/ 57025 w 228"/>
                <a:gd name="T11" fmla="*/ 71438 h 193"/>
                <a:gd name="T12" fmla="*/ 27781 w 228"/>
                <a:gd name="T13" fmla="*/ 106363 h 193"/>
                <a:gd name="T14" fmla="*/ 24857 w 228"/>
                <a:gd name="T15" fmla="*/ 130175 h 193"/>
                <a:gd name="T16" fmla="*/ 14622 w 228"/>
                <a:gd name="T17" fmla="*/ 182563 h 193"/>
                <a:gd name="T18" fmla="*/ 5849 w 228"/>
                <a:gd name="T19" fmla="*/ 220663 h 193"/>
                <a:gd name="T20" fmla="*/ 5849 w 228"/>
                <a:gd name="T21" fmla="*/ 244475 h 193"/>
                <a:gd name="T22" fmla="*/ 21933 w 228"/>
                <a:gd name="T23" fmla="*/ 268288 h 193"/>
                <a:gd name="T24" fmla="*/ 65798 w 228"/>
                <a:gd name="T25" fmla="*/ 282575 h 193"/>
                <a:gd name="T26" fmla="*/ 111125 w 228"/>
                <a:gd name="T27" fmla="*/ 265113 h 193"/>
                <a:gd name="T28" fmla="*/ 143293 w 228"/>
                <a:gd name="T29" fmla="*/ 265113 h 193"/>
                <a:gd name="T30" fmla="*/ 157914 w 228"/>
                <a:gd name="T31" fmla="*/ 290513 h 193"/>
                <a:gd name="T32" fmla="*/ 173998 w 228"/>
                <a:gd name="T33" fmla="*/ 303213 h 193"/>
                <a:gd name="T34" fmla="*/ 197393 w 228"/>
                <a:gd name="T35" fmla="*/ 306388 h 193"/>
                <a:gd name="T36" fmla="*/ 222250 w 228"/>
                <a:gd name="T37" fmla="*/ 303213 h 193"/>
                <a:gd name="T38" fmla="*/ 260266 w 228"/>
                <a:gd name="T39" fmla="*/ 290513 h 193"/>
                <a:gd name="T40" fmla="*/ 279275 w 228"/>
                <a:gd name="T41" fmla="*/ 276225 h 193"/>
                <a:gd name="T42" fmla="*/ 295359 w 228"/>
                <a:gd name="T43" fmla="*/ 258763 h 193"/>
                <a:gd name="T44" fmla="*/ 315829 w 228"/>
                <a:gd name="T45" fmla="*/ 252413 h 193"/>
                <a:gd name="T46" fmla="*/ 327526 w 228"/>
                <a:gd name="T47" fmla="*/ 247650 h 193"/>
                <a:gd name="T48" fmla="*/ 333375 w 228"/>
                <a:gd name="T49" fmla="*/ 230188 h 193"/>
                <a:gd name="T50" fmla="*/ 324602 w 228"/>
                <a:gd name="T51" fmla="*/ 203200 h 193"/>
                <a:gd name="T52" fmla="*/ 308518 w 228"/>
                <a:gd name="T53" fmla="*/ 182563 h 193"/>
                <a:gd name="T54" fmla="*/ 295359 w 228"/>
                <a:gd name="T55" fmla="*/ 152400 h 193"/>
                <a:gd name="T56" fmla="*/ 267577 w 228"/>
                <a:gd name="T57" fmla="*/ 141288 h 193"/>
                <a:gd name="T58" fmla="*/ 210553 w 228"/>
                <a:gd name="T59" fmla="*/ 106363 h 193"/>
                <a:gd name="T60" fmla="*/ 190082 w 228"/>
                <a:gd name="T61" fmla="*/ 57150 h 193"/>
                <a:gd name="T62" fmla="*/ 173998 w 228"/>
                <a:gd name="T63" fmla="*/ 23813 h 193"/>
                <a:gd name="T64" fmla="*/ 157914 w 228"/>
                <a:gd name="T65" fmla="*/ 9525 h 19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28"/>
                <a:gd name="T100" fmla="*/ 0 h 193"/>
                <a:gd name="T101" fmla="*/ 228 w 228"/>
                <a:gd name="T102" fmla="*/ 193 h 19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28" h="193">
                  <a:moveTo>
                    <a:pt x="100" y="0"/>
                  </a:moveTo>
                  <a:lnTo>
                    <a:pt x="95" y="6"/>
                  </a:lnTo>
                  <a:lnTo>
                    <a:pt x="89" y="8"/>
                  </a:lnTo>
                  <a:lnTo>
                    <a:pt x="83" y="11"/>
                  </a:lnTo>
                  <a:lnTo>
                    <a:pt x="76" y="13"/>
                  </a:lnTo>
                  <a:lnTo>
                    <a:pt x="72" y="19"/>
                  </a:lnTo>
                  <a:lnTo>
                    <a:pt x="67" y="24"/>
                  </a:lnTo>
                  <a:lnTo>
                    <a:pt x="61" y="26"/>
                  </a:lnTo>
                  <a:lnTo>
                    <a:pt x="54" y="30"/>
                  </a:lnTo>
                  <a:lnTo>
                    <a:pt x="48" y="34"/>
                  </a:lnTo>
                  <a:lnTo>
                    <a:pt x="43" y="37"/>
                  </a:lnTo>
                  <a:lnTo>
                    <a:pt x="39" y="45"/>
                  </a:lnTo>
                  <a:lnTo>
                    <a:pt x="35" y="54"/>
                  </a:lnTo>
                  <a:lnTo>
                    <a:pt x="19" y="67"/>
                  </a:lnTo>
                  <a:lnTo>
                    <a:pt x="15" y="74"/>
                  </a:lnTo>
                  <a:lnTo>
                    <a:pt x="17" y="82"/>
                  </a:lnTo>
                  <a:lnTo>
                    <a:pt x="19" y="100"/>
                  </a:lnTo>
                  <a:lnTo>
                    <a:pt x="10" y="115"/>
                  </a:lnTo>
                  <a:lnTo>
                    <a:pt x="2" y="130"/>
                  </a:lnTo>
                  <a:lnTo>
                    <a:pt x="4" y="139"/>
                  </a:lnTo>
                  <a:lnTo>
                    <a:pt x="6" y="150"/>
                  </a:lnTo>
                  <a:lnTo>
                    <a:pt x="4" y="154"/>
                  </a:lnTo>
                  <a:lnTo>
                    <a:pt x="0" y="161"/>
                  </a:lnTo>
                  <a:lnTo>
                    <a:pt x="15" y="169"/>
                  </a:lnTo>
                  <a:lnTo>
                    <a:pt x="30" y="174"/>
                  </a:lnTo>
                  <a:lnTo>
                    <a:pt x="45" y="178"/>
                  </a:lnTo>
                  <a:lnTo>
                    <a:pt x="59" y="180"/>
                  </a:lnTo>
                  <a:lnTo>
                    <a:pt x="76" y="167"/>
                  </a:lnTo>
                  <a:lnTo>
                    <a:pt x="89" y="159"/>
                  </a:lnTo>
                  <a:lnTo>
                    <a:pt x="98" y="167"/>
                  </a:lnTo>
                  <a:lnTo>
                    <a:pt x="104" y="178"/>
                  </a:lnTo>
                  <a:lnTo>
                    <a:pt x="108" y="183"/>
                  </a:lnTo>
                  <a:lnTo>
                    <a:pt x="113" y="187"/>
                  </a:lnTo>
                  <a:lnTo>
                    <a:pt x="119" y="191"/>
                  </a:lnTo>
                  <a:lnTo>
                    <a:pt x="124" y="193"/>
                  </a:lnTo>
                  <a:lnTo>
                    <a:pt x="135" y="193"/>
                  </a:lnTo>
                  <a:lnTo>
                    <a:pt x="144" y="193"/>
                  </a:lnTo>
                  <a:lnTo>
                    <a:pt x="152" y="191"/>
                  </a:lnTo>
                  <a:lnTo>
                    <a:pt x="161" y="189"/>
                  </a:lnTo>
                  <a:lnTo>
                    <a:pt x="178" y="183"/>
                  </a:lnTo>
                  <a:lnTo>
                    <a:pt x="191" y="181"/>
                  </a:lnTo>
                  <a:lnTo>
                    <a:pt x="191" y="174"/>
                  </a:lnTo>
                  <a:lnTo>
                    <a:pt x="194" y="167"/>
                  </a:lnTo>
                  <a:lnTo>
                    <a:pt x="202" y="163"/>
                  </a:lnTo>
                  <a:lnTo>
                    <a:pt x="211" y="161"/>
                  </a:lnTo>
                  <a:lnTo>
                    <a:pt x="216" y="159"/>
                  </a:lnTo>
                  <a:lnTo>
                    <a:pt x="220" y="157"/>
                  </a:lnTo>
                  <a:lnTo>
                    <a:pt x="224" y="156"/>
                  </a:lnTo>
                  <a:lnTo>
                    <a:pt x="226" y="152"/>
                  </a:lnTo>
                  <a:lnTo>
                    <a:pt x="228" y="145"/>
                  </a:lnTo>
                  <a:lnTo>
                    <a:pt x="228" y="133"/>
                  </a:lnTo>
                  <a:lnTo>
                    <a:pt x="222" y="128"/>
                  </a:lnTo>
                  <a:lnTo>
                    <a:pt x="216" y="122"/>
                  </a:lnTo>
                  <a:lnTo>
                    <a:pt x="211" y="115"/>
                  </a:lnTo>
                  <a:lnTo>
                    <a:pt x="207" y="109"/>
                  </a:lnTo>
                  <a:lnTo>
                    <a:pt x="202" y="96"/>
                  </a:lnTo>
                  <a:lnTo>
                    <a:pt x="196" y="89"/>
                  </a:lnTo>
                  <a:lnTo>
                    <a:pt x="183" y="89"/>
                  </a:lnTo>
                  <a:lnTo>
                    <a:pt x="154" y="82"/>
                  </a:lnTo>
                  <a:lnTo>
                    <a:pt x="144" y="67"/>
                  </a:lnTo>
                  <a:lnTo>
                    <a:pt x="137" y="52"/>
                  </a:lnTo>
                  <a:lnTo>
                    <a:pt x="130" y="36"/>
                  </a:lnTo>
                  <a:lnTo>
                    <a:pt x="124" y="21"/>
                  </a:lnTo>
                  <a:lnTo>
                    <a:pt x="119" y="15"/>
                  </a:lnTo>
                  <a:lnTo>
                    <a:pt x="113" y="10"/>
                  </a:lnTo>
                  <a:lnTo>
                    <a:pt x="108" y="6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92" name="Freeform 90"/>
            <p:cNvSpPr>
              <a:spLocks/>
            </p:cNvSpPr>
            <p:nvPr/>
          </p:nvSpPr>
          <p:spPr bwMode="auto">
            <a:xfrm>
              <a:off x="1570420" y="3025664"/>
              <a:ext cx="327460" cy="357572"/>
            </a:xfrm>
            <a:custGeom>
              <a:avLst/>
              <a:gdLst>
                <a:gd name="T0" fmla="*/ 185130 w 188"/>
                <a:gd name="T1" fmla="*/ 61913 h 190"/>
                <a:gd name="T2" fmla="*/ 173375 w 188"/>
                <a:gd name="T3" fmla="*/ 69850 h 190"/>
                <a:gd name="T4" fmla="*/ 141051 w 188"/>
                <a:gd name="T5" fmla="*/ 73025 h 190"/>
                <a:gd name="T6" fmla="*/ 119012 w 188"/>
                <a:gd name="T7" fmla="*/ 49212 h 190"/>
                <a:gd name="T8" fmla="*/ 108727 w 188"/>
                <a:gd name="T9" fmla="*/ 17463 h 190"/>
                <a:gd name="T10" fmla="*/ 95503 w 188"/>
                <a:gd name="T11" fmla="*/ 3175 h 190"/>
                <a:gd name="T12" fmla="*/ 76403 w 188"/>
                <a:gd name="T13" fmla="*/ 11112 h 190"/>
                <a:gd name="T14" fmla="*/ 38201 w 188"/>
                <a:gd name="T15" fmla="*/ 49212 h 190"/>
                <a:gd name="T16" fmla="*/ 2939 w 188"/>
                <a:gd name="T17" fmla="*/ 93662 h 190"/>
                <a:gd name="T18" fmla="*/ 5877 w 188"/>
                <a:gd name="T19" fmla="*/ 120650 h 190"/>
                <a:gd name="T20" fmla="*/ 32324 w 188"/>
                <a:gd name="T21" fmla="*/ 138113 h 190"/>
                <a:gd name="T22" fmla="*/ 64648 w 188"/>
                <a:gd name="T23" fmla="*/ 166687 h 190"/>
                <a:gd name="T24" fmla="*/ 96973 w 188"/>
                <a:gd name="T25" fmla="*/ 211138 h 190"/>
                <a:gd name="T26" fmla="*/ 108727 w 188"/>
                <a:gd name="T27" fmla="*/ 246063 h 190"/>
                <a:gd name="T28" fmla="*/ 96973 w 188"/>
                <a:gd name="T29" fmla="*/ 258763 h 190"/>
                <a:gd name="T30" fmla="*/ 80811 w 188"/>
                <a:gd name="T31" fmla="*/ 269875 h 190"/>
                <a:gd name="T32" fmla="*/ 76403 w 188"/>
                <a:gd name="T33" fmla="*/ 284163 h 190"/>
                <a:gd name="T34" fmla="*/ 77872 w 188"/>
                <a:gd name="T35" fmla="*/ 293688 h 190"/>
                <a:gd name="T36" fmla="*/ 92565 w 188"/>
                <a:gd name="T37" fmla="*/ 287338 h 190"/>
                <a:gd name="T38" fmla="*/ 105788 w 188"/>
                <a:gd name="T39" fmla="*/ 290513 h 190"/>
                <a:gd name="T40" fmla="*/ 119012 w 188"/>
                <a:gd name="T41" fmla="*/ 301625 h 190"/>
                <a:gd name="T42" fmla="*/ 135174 w 188"/>
                <a:gd name="T43" fmla="*/ 296863 h 190"/>
                <a:gd name="T44" fmla="*/ 143990 w 188"/>
                <a:gd name="T45" fmla="*/ 290513 h 190"/>
                <a:gd name="T46" fmla="*/ 146928 w 188"/>
                <a:gd name="T47" fmla="*/ 276225 h 190"/>
                <a:gd name="T48" fmla="*/ 163090 w 188"/>
                <a:gd name="T49" fmla="*/ 266700 h 190"/>
                <a:gd name="T50" fmla="*/ 185130 w 188"/>
                <a:gd name="T51" fmla="*/ 249238 h 190"/>
                <a:gd name="T52" fmla="*/ 192476 w 188"/>
                <a:gd name="T53" fmla="*/ 238125 h 190"/>
                <a:gd name="T54" fmla="*/ 208638 w 188"/>
                <a:gd name="T55" fmla="*/ 249238 h 190"/>
                <a:gd name="T56" fmla="*/ 221862 w 188"/>
                <a:gd name="T57" fmla="*/ 252413 h 190"/>
                <a:gd name="T58" fmla="*/ 243901 w 188"/>
                <a:gd name="T59" fmla="*/ 231775 h 190"/>
                <a:gd name="T60" fmla="*/ 263001 w 188"/>
                <a:gd name="T61" fmla="*/ 207963 h 190"/>
                <a:gd name="T62" fmla="*/ 263001 w 188"/>
                <a:gd name="T63" fmla="*/ 196850 h 190"/>
                <a:gd name="T64" fmla="*/ 257124 w 188"/>
                <a:gd name="T65" fmla="*/ 179387 h 190"/>
                <a:gd name="T66" fmla="*/ 265940 w 188"/>
                <a:gd name="T67" fmla="*/ 149225 h 190"/>
                <a:gd name="T68" fmla="*/ 276225 w 188"/>
                <a:gd name="T69" fmla="*/ 107950 h 190"/>
                <a:gd name="T70" fmla="*/ 271817 w 188"/>
                <a:gd name="T71" fmla="*/ 87312 h 190"/>
                <a:gd name="T72" fmla="*/ 252716 w 188"/>
                <a:gd name="T73" fmla="*/ 82550 h 190"/>
                <a:gd name="T74" fmla="*/ 208638 w 188"/>
                <a:gd name="T75" fmla="*/ 68263 h 1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88"/>
                <a:gd name="T115" fmla="*/ 0 h 190"/>
                <a:gd name="T116" fmla="*/ 188 w 188"/>
                <a:gd name="T117" fmla="*/ 190 h 1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88" h="190">
                  <a:moveTo>
                    <a:pt x="127" y="35"/>
                  </a:moveTo>
                  <a:lnTo>
                    <a:pt x="126" y="39"/>
                  </a:lnTo>
                  <a:lnTo>
                    <a:pt x="126" y="41"/>
                  </a:lnTo>
                  <a:lnTo>
                    <a:pt x="118" y="44"/>
                  </a:lnTo>
                  <a:lnTo>
                    <a:pt x="107" y="46"/>
                  </a:lnTo>
                  <a:lnTo>
                    <a:pt x="96" y="46"/>
                  </a:lnTo>
                  <a:lnTo>
                    <a:pt x="87" y="43"/>
                  </a:lnTo>
                  <a:lnTo>
                    <a:pt x="81" y="31"/>
                  </a:lnTo>
                  <a:lnTo>
                    <a:pt x="76" y="17"/>
                  </a:lnTo>
                  <a:lnTo>
                    <a:pt x="74" y="11"/>
                  </a:lnTo>
                  <a:lnTo>
                    <a:pt x="70" y="6"/>
                  </a:lnTo>
                  <a:lnTo>
                    <a:pt x="65" y="2"/>
                  </a:lnTo>
                  <a:lnTo>
                    <a:pt x="59" y="0"/>
                  </a:lnTo>
                  <a:lnTo>
                    <a:pt x="52" y="7"/>
                  </a:lnTo>
                  <a:lnTo>
                    <a:pt x="42" y="19"/>
                  </a:lnTo>
                  <a:lnTo>
                    <a:pt x="26" y="31"/>
                  </a:lnTo>
                  <a:lnTo>
                    <a:pt x="7" y="46"/>
                  </a:lnTo>
                  <a:lnTo>
                    <a:pt x="2" y="59"/>
                  </a:lnTo>
                  <a:lnTo>
                    <a:pt x="0" y="70"/>
                  </a:lnTo>
                  <a:lnTo>
                    <a:pt x="4" y="76"/>
                  </a:lnTo>
                  <a:lnTo>
                    <a:pt x="7" y="81"/>
                  </a:lnTo>
                  <a:lnTo>
                    <a:pt x="22" y="87"/>
                  </a:lnTo>
                  <a:lnTo>
                    <a:pt x="31" y="92"/>
                  </a:lnTo>
                  <a:lnTo>
                    <a:pt x="44" y="105"/>
                  </a:lnTo>
                  <a:lnTo>
                    <a:pt x="55" y="118"/>
                  </a:lnTo>
                  <a:lnTo>
                    <a:pt x="66" y="133"/>
                  </a:lnTo>
                  <a:lnTo>
                    <a:pt x="74" y="150"/>
                  </a:lnTo>
                  <a:lnTo>
                    <a:pt x="74" y="155"/>
                  </a:lnTo>
                  <a:lnTo>
                    <a:pt x="72" y="159"/>
                  </a:lnTo>
                  <a:lnTo>
                    <a:pt x="66" y="163"/>
                  </a:lnTo>
                  <a:lnTo>
                    <a:pt x="61" y="166"/>
                  </a:lnTo>
                  <a:lnTo>
                    <a:pt x="55" y="170"/>
                  </a:lnTo>
                  <a:lnTo>
                    <a:pt x="52" y="174"/>
                  </a:lnTo>
                  <a:lnTo>
                    <a:pt x="52" y="179"/>
                  </a:lnTo>
                  <a:lnTo>
                    <a:pt x="53" y="185"/>
                  </a:lnTo>
                  <a:lnTo>
                    <a:pt x="63" y="181"/>
                  </a:lnTo>
                  <a:lnTo>
                    <a:pt x="68" y="179"/>
                  </a:lnTo>
                  <a:lnTo>
                    <a:pt x="72" y="183"/>
                  </a:lnTo>
                  <a:lnTo>
                    <a:pt x="77" y="187"/>
                  </a:lnTo>
                  <a:lnTo>
                    <a:pt x="81" y="190"/>
                  </a:lnTo>
                  <a:lnTo>
                    <a:pt x="87" y="190"/>
                  </a:lnTo>
                  <a:lnTo>
                    <a:pt x="92" y="187"/>
                  </a:lnTo>
                  <a:lnTo>
                    <a:pt x="96" y="185"/>
                  </a:lnTo>
                  <a:lnTo>
                    <a:pt x="98" y="183"/>
                  </a:lnTo>
                  <a:lnTo>
                    <a:pt x="100" y="179"/>
                  </a:lnTo>
                  <a:lnTo>
                    <a:pt x="100" y="174"/>
                  </a:lnTo>
                  <a:lnTo>
                    <a:pt x="102" y="170"/>
                  </a:lnTo>
                  <a:lnTo>
                    <a:pt x="111" y="168"/>
                  </a:lnTo>
                  <a:lnTo>
                    <a:pt x="122" y="166"/>
                  </a:lnTo>
                  <a:lnTo>
                    <a:pt x="126" y="157"/>
                  </a:lnTo>
                  <a:lnTo>
                    <a:pt x="127" y="150"/>
                  </a:lnTo>
                  <a:lnTo>
                    <a:pt x="131" y="150"/>
                  </a:lnTo>
                  <a:lnTo>
                    <a:pt x="138" y="155"/>
                  </a:lnTo>
                  <a:lnTo>
                    <a:pt x="142" y="157"/>
                  </a:lnTo>
                  <a:lnTo>
                    <a:pt x="148" y="159"/>
                  </a:lnTo>
                  <a:lnTo>
                    <a:pt x="151" y="159"/>
                  </a:lnTo>
                  <a:lnTo>
                    <a:pt x="157" y="159"/>
                  </a:lnTo>
                  <a:lnTo>
                    <a:pt x="166" y="146"/>
                  </a:lnTo>
                  <a:lnTo>
                    <a:pt x="175" y="137"/>
                  </a:lnTo>
                  <a:lnTo>
                    <a:pt x="179" y="131"/>
                  </a:lnTo>
                  <a:lnTo>
                    <a:pt x="179" y="128"/>
                  </a:lnTo>
                  <a:lnTo>
                    <a:pt x="179" y="124"/>
                  </a:lnTo>
                  <a:lnTo>
                    <a:pt x="179" y="120"/>
                  </a:lnTo>
                  <a:lnTo>
                    <a:pt x="175" y="113"/>
                  </a:lnTo>
                  <a:lnTo>
                    <a:pt x="174" y="105"/>
                  </a:lnTo>
                  <a:lnTo>
                    <a:pt x="181" y="94"/>
                  </a:lnTo>
                  <a:lnTo>
                    <a:pt x="188" y="81"/>
                  </a:lnTo>
                  <a:lnTo>
                    <a:pt x="188" y="68"/>
                  </a:lnTo>
                  <a:lnTo>
                    <a:pt x="186" y="57"/>
                  </a:lnTo>
                  <a:lnTo>
                    <a:pt x="185" y="55"/>
                  </a:lnTo>
                  <a:lnTo>
                    <a:pt x="185" y="54"/>
                  </a:lnTo>
                  <a:lnTo>
                    <a:pt x="172" y="52"/>
                  </a:lnTo>
                  <a:lnTo>
                    <a:pt x="157" y="48"/>
                  </a:lnTo>
                  <a:lnTo>
                    <a:pt x="142" y="43"/>
                  </a:lnTo>
                  <a:lnTo>
                    <a:pt x="127" y="35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93" name="Freeform 91"/>
            <p:cNvSpPr>
              <a:spLocks/>
            </p:cNvSpPr>
            <p:nvPr/>
          </p:nvSpPr>
          <p:spPr bwMode="auto">
            <a:xfrm>
              <a:off x="2010798" y="3637301"/>
              <a:ext cx="284176" cy="380155"/>
            </a:xfrm>
            <a:custGeom>
              <a:avLst/>
              <a:gdLst>
                <a:gd name="T0" fmla="*/ 165168 w 164"/>
                <a:gd name="T1" fmla="*/ 276225 h 202"/>
                <a:gd name="T2" fmla="*/ 200248 w 164"/>
                <a:gd name="T3" fmla="*/ 265113 h 202"/>
                <a:gd name="T4" fmla="*/ 200248 w 164"/>
                <a:gd name="T5" fmla="*/ 234950 h 202"/>
                <a:gd name="T6" fmla="*/ 203171 w 164"/>
                <a:gd name="T7" fmla="*/ 206375 h 202"/>
                <a:gd name="T8" fmla="*/ 207556 w 164"/>
                <a:gd name="T9" fmla="*/ 193675 h 202"/>
                <a:gd name="T10" fmla="*/ 219250 w 164"/>
                <a:gd name="T11" fmla="*/ 190500 h 202"/>
                <a:gd name="T12" fmla="*/ 223635 w 164"/>
                <a:gd name="T13" fmla="*/ 161925 h 202"/>
                <a:gd name="T14" fmla="*/ 220711 w 164"/>
                <a:gd name="T15" fmla="*/ 127000 h 202"/>
                <a:gd name="T16" fmla="*/ 229481 w 164"/>
                <a:gd name="T17" fmla="*/ 111125 h 202"/>
                <a:gd name="T18" fmla="*/ 229481 w 164"/>
                <a:gd name="T19" fmla="*/ 85725 h 202"/>
                <a:gd name="T20" fmla="*/ 210480 w 164"/>
                <a:gd name="T21" fmla="*/ 68263 h 202"/>
                <a:gd name="T22" fmla="*/ 194401 w 164"/>
                <a:gd name="T23" fmla="*/ 71438 h 202"/>
                <a:gd name="T24" fmla="*/ 181246 w 164"/>
                <a:gd name="T25" fmla="*/ 79375 h 202"/>
                <a:gd name="T26" fmla="*/ 169553 w 164"/>
                <a:gd name="T27" fmla="*/ 53975 h 202"/>
                <a:gd name="T28" fmla="*/ 162245 w 164"/>
                <a:gd name="T29" fmla="*/ 30163 h 202"/>
                <a:gd name="T30" fmla="*/ 149090 w 164"/>
                <a:gd name="T31" fmla="*/ 30163 h 202"/>
                <a:gd name="T32" fmla="*/ 131550 w 164"/>
                <a:gd name="T33" fmla="*/ 30163 h 202"/>
                <a:gd name="T34" fmla="*/ 124241 w 164"/>
                <a:gd name="T35" fmla="*/ 17463 h 202"/>
                <a:gd name="T36" fmla="*/ 115472 w 164"/>
                <a:gd name="T37" fmla="*/ 3175 h 202"/>
                <a:gd name="T38" fmla="*/ 108163 w 164"/>
                <a:gd name="T39" fmla="*/ 15875 h 202"/>
                <a:gd name="T40" fmla="*/ 108163 w 164"/>
                <a:gd name="T41" fmla="*/ 34925 h 202"/>
                <a:gd name="T42" fmla="*/ 70160 w 164"/>
                <a:gd name="T43" fmla="*/ 61913 h 202"/>
                <a:gd name="T44" fmla="*/ 35080 w 164"/>
                <a:gd name="T45" fmla="*/ 111125 h 202"/>
                <a:gd name="T46" fmla="*/ 24848 w 164"/>
                <a:gd name="T47" fmla="*/ 161925 h 202"/>
                <a:gd name="T48" fmla="*/ 10232 w 164"/>
                <a:gd name="T49" fmla="*/ 173037 h 202"/>
                <a:gd name="T50" fmla="*/ 13155 w 164"/>
                <a:gd name="T51" fmla="*/ 182562 h 202"/>
                <a:gd name="T52" fmla="*/ 10232 w 164"/>
                <a:gd name="T53" fmla="*/ 190500 h 202"/>
                <a:gd name="T54" fmla="*/ 2923 w 164"/>
                <a:gd name="T55" fmla="*/ 203200 h 202"/>
                <a:gd name="T56" fmla="*/ 24848 w 164"/>
                <a:gd name="T57" fmla="*/ 246063 h 202"/>
                <a:gd name="T58" fmla="*/ 67237 w 164"/>
                <a:gd name="T59" fmla="*/ 304800 h 202"/>
                <a:gd name="T60" fmla="*/ 70160 w 164"/>
                <a:gd name="T61" fmla="*/ 320675 h 202"/>
                <a:gd name="T62" fmla="*/ 70160 w 164"/>
                <a:gd name="T63" fmla="*/ 320675 h 202"/>
                <a:gd name="T64" fmla="*/ 127165 w 164"/>
                <a:gd name="T65" fmla="*/ 293688 h 202"/>
                <a:gd name="T66" fmla="*/ 143243 w 164"/>
                <a:gd name="T67" fmla="*/ 279400 h 20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4"/>
                <a:gd name="T103" fmla="*/ 0 h 202"/>
                <a:gd name="T104" fmla="*/ 164 w 164"/>
                <a:gd name="T105" fmla="*/ 202 h 20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4" h="202">
                  <a:moveTo>
                    <a:pt x="98" y="176"/>
                  </a:moveTo>
                  <a:lnTo>
                    <a:pt x="113" y="174"/>
                  </a:lnTo>
                  <a:lnTo>
                    <a:pt x="131" y="172"/>
                  </a:lnTo>
                  <a:lnTo>
                    <a:pt x="137" y="167"/>
                  </a:lnTo>
                  <a:lnTo>
                    <a:pt x="139" y="157"/>
                  </a:lnTo>
                  <a:lnTo>
                    <a:pt x="137" y="148"/>
                  </a:lnTo>
                  <a:lnTo>
                    <a:pt x="137" y="139"/>
                  </a:lnTo>
                  <a:lnTo>
                    <a:pt x="139" y="130"/>
                  </a:lnTo>
                  <a:lnTo>
                    <a:pt x="140" y="126"/>
                  </a:lnTo>
                  <a:lnTo>
                    <a:pt x="142" y="122"/>
                  </a:lnTo>
                  <a:lnTo>
                    <a:pt x="144" y="120"/>
                  </a:lnTo>
                  <a:lnTo>
                    <a:pt x="150" y="120"/>
                  </a:lnTo>
                  <a:lnTo>
                    <a:pt x="153" y="117"/>
                  </a:lnTo>
                  <a:lnTo>
                    <a:pt x="153" y="102"/>
                  </a:lnTo>
                  <a:lnTo>
                    <a:pt x="151" y="87"/>
                  </a:lnTo>
                  <a:lnTo>
                    <a:pt x="151" y="80"/>
                  </a:lnTo>
                  <a:lnTo>
                    <a:pt x="153" y="74"/>
                  </a:lnTo>
                  <a:lnTo>
                    <a:pt x="157" y="70"/>
                  </a:lnTo>
                  <a:lnTo>
                    <a:pt x="164" y="69"/>
                  </a:lnTo>
                  <a:lnTo>
                    <a:pt x="157" y="54"/>
                  </a:lnTo>
                  <a:lnTo>
                    <a:pt x="151" y="45"/>
                  </a:lnTo>
                  <a:lnTo>
                    <a:pt x="144" y="43"/>
                  </a:lnTo>
                  <a:lnTo>
                    <a:pt x="139" y="43"/>
                  </a:lnTo>
                  <a:lnTo>
                    <a:pt x="133" y="45"/>
                  </a:lnTo>
                  <a:lnTo>
                    <a:pt x="127" y="48"/>
                  </a:lnTo>
                  <a:lnTo>
                    <a:pt x="124" y="50"/>
                  </a:lnTo>
                  <a:lnTo>
                    <a:pt x="118" y="48"/>
                  </a:lnTo>
                  <a:lnTo>
                    <a:pt x="116" y="34"/>
                  </a:lnTo>
                  <a:lnTo>
                    <a:pt x="115" y="21"/>
                  </a:lnTo>
                  <a:lnTo>
                    <a:pt x="111" y="19"/>
                  </a:lnTo>
                  <a:lnTo>
                    <a:pt x="107" y="19"/>
                  </a:lnTo>
                  <a:lnTo>
                    <a:pt x="102" y="19"/>
                  </a:lnTo>
                  <a:lnTo>
                    <a:pt x="96" y="21"/>
                  </a:lnTo>
                  <a:lnTo>
                    <a:pt x="90" y="19"/>
                  </a:lnTo>
                  <a:lnTo>
                    <a:pt x="87" y="17"/>
                  </a:lnTo>
                  <a:lnTo>
                    <a:pt x="85" y="11"/>
                  </a:lnTo>
                  <a:lnTo>
                    <a:pt x="85" y="0"/>
                  </a:lnTo>
                  <a:lnTo>
                    <a:pt x="79" y="2"/>
                  </a:lnTo>
                  <a:lnTo>
                    <a:pt x="76" y="6"/>
                  </a:lnTo>
                  <a:lnTo>
                    <a:pt x="74" y="10"/>
                  </a:lnTo>
                  <a:lnTo>
                    <a:pt x="72" y="13"/>
                  </a:lnTo>
                  <a:lnTo>
                    <a:pt x="74" y="22"/>
                  </a:lnTo>
                  <a:lnTo>
                    <a:pt x="72" y="28"/>
                  </a:lnTo>
                  <a:lnTo>
                    <a:pt x="48" y="39"/>
                  </a:lnTo>
                  <a:lnTo>
                    <a:pt x="26" y="50"/>
                  </a:lnTo>
                  <a:lnTo>
                    <a:pt x="24" y="70"/>
                  </a:lnTo>
                  <a:lnTo>
                    <a:pt x="24" y="95"/>
                  </a:lnTo>
                  <a:lnTo>
                    <a:pt x="17" y="102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11"/>
                  </a:lnTo>
                  <a:lnTo>
                    <a:pt x="9" y="115"/>
                  </a:lnTo>
                  <a:lnTo>
                    <a:pt x="9" y="119"/>
                  </a:lnTo>
                  <a:lnTo>
                    <a:pt x="7" y="120"/>
                  </a:lnTo>
                  <a:lnTo>
                    <a:pt x="6" y="124"/>
                  </a:lnTo>
                  <a:lnTo>
                    <a:pt x="2" y="128"/>
                  </a:lnTo>
                  <a:lnTo>
                    <a:pt x="0" y="133"/>
                  </a:lnTo>
                  <a:lnTo>
                    <a:pt x="17" y="155"/>
                  </a:lnTo>
                  <a:lnTo>
                    <a:pt x="42" y="183"/>
                  </a:lnTo>
                  <a:lnTo>
                    <a:pt x="46" y="192"/>
                  </a:lnTo>
                  <a:lnTo>
                    <a:pt x="48" y="202"/>
                  </a:lnTo>
                  <a:lnTo>
                    <a:pt x="68" y="194"/>
                  </a:lnTo>
                  <a:lnTo>
                    <a:pt x="87" y="185"/>
                  </a:lnTo>
                  <a:lnTo>
                    <a:pt x="92" y="180"/>
                  </a:lnTo>
                  <a:lnTo>
                    <a:pt x="98" y="176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94" name="Freeform 92"/>
            <p:cNvSpPr>
              <a:spLocks/>
            </p:cNvSpPr>
            <p:nvPr/>
          </p:nvSpPr>
          <p:spPr bwMode="auto">
            <a:xfrm>
              <a:off x="1864004" y="3526265"/>
              <a:ext cx="293585" cy="312405"/>
            </a:xfrm>
            <a:custGeom>
              <a:avLst/>
              <a:gdLst>
                <a:gd name="T0" fmla="*/ 247650 w 170"/>
                <a:gd name="T1" fmla="*/ 93662 h 166"/>
                <a:gd name="T2" fmla="*/ 247650 w 170"/>
                <a:gd name="T3" fmla="*/ 85725 h 166"/>
                <a:gd name="T4" fmla="*/ 244736 w 170"/>
                <a:gd name="T5" fmla="*/ 79375 h 166"/>
                <a:gd name="T6" fmla="*/ 228712 w 170"/>
                <a:gd name="T7" fmla="*/ 69850 h 166"/>
                <a:gd name="T8" fmla="*/ 212688 w 170"/>
                <a:gd name="T9" fmla="*/ 68262 h 166"/>
                <a:gd name="T10" fmla="*/ 215601 w 170"/>
                <a:gd name="T11" fmla="*/ 50800 h 166"/>
                <a:gd name="T12" fmla="*/ 215601 w 170"/>
                <a:gd name="T13" fmla="*/ 17462 h 166"/>
                <a:gd name="T14" fmla="*/ 171898 w 170"/>
                <a:gd name="T15" fmla="*/ 34925 h 166"/>
                <a:gd name="T16" fmla="*/ 150047 w 170"/>
                <a:gd name="T17" fmla="*/ 50800 h 166"/>
                <a:gd name="T18" fmla="*/ 145676 w 170"/>
                <a:gd name="T19" fmla="*/ 47625 h 166"/>
                <a:gd name="T20" fmla="*/ 136936 w 170"/>
                <a:gd name="T21" fmla="*/ 41275 h 166"/>
                <a:gd name="T22" fmla="*/ 132566 w 170"/>
                <a:gd name="T23" fmla="*/ 34925 h 166"/>
                <a:gd name="T24" fmla="*/ 123825 w 170"/>
                <a:gd name="T25" fmla="*/ 26988 h 166"/>
                <a:gd name="T26" fmla="*/ 115084 w 170"/>
                <a:gd name="T27" fmla="*/ 12700 h 166"/>
                <a:gd name="T28" fmla="*/ 110714 w 170"/>
                <a:gd name="T29" fmla="*/ 0 h 166"/>
                <a:gd name="T30" fmla="*/ 85949 w 170"/>
                <a:gd name="T31" fmla="*/ 12700 h 166"/>
                <a:gd name="T32" fmla="*/ 53900 w 170"/>
                <a:gd name="T33" fmla="*/ 26988 h 166"/>
                <a:gd name="T34" fmla="*/ 50987 w 170"/>
                <a:gd name="T35" fmla="*/ 41275 h 166"/>
                <a:gd name="T36" fmla="*/ 40789 w 170"/>
                <a:gd name="T37" fmla="*/ 55563 h 166"/>
                <a:gd name="T38" fmla="*/ 34962 w 170"/>
                <a:gd name="T39" fmla="*/ 61913 h 166"/>
                <a:gd name="T40" fmla="*/ 24765 w 170"/>
                <a:gd name="T41" fmla="*/ 69850 h 166"/>
                <a:gd name="T42" fmla="*/ 13111 w 170"/>
                <a:gd name="T43" fmla="*/ 76200 h 166"/>
                <a:gd name="T44" fmla="*/ 0 w 170"/>
                <a:gd name="T45" fmla="*/ 79375 h 166"/>
                <a:gd name="T46" fmla="*/ 0 w 170"/>
                <a:gd name="T47" fmla="*/ 79375 h 166"/>
                <a:gd name="T48" fmla="*/ 0 w 170"/>
                <a:gd name="T49" fmla="*/ 79375 h 166"/>
                <a:gd name="T50" fmla="*/ 8741 w 170"/>
                <a:gd name="T51" fmla="*/ 90487 h 166"/>
                <a:gd name="T52" fmla="*/ 16024 w 170"/>
                <a:gd name="T53" fmla="*/ 100012 h 166"/>
                <a:gd name="T54" fmla="*/ 26222 w 170"/>
                <a:gd name="T55" fmla="*/ 109538 h 166"/>
                <a:gd name="T56" fmla="*/ 43703 w 170"/>
                <a:gd name="T57" fmla="*/ 114300 h 166"/>
                <a:gd name="T58" fmla="*/ 43703 w 170"/>
                <a:gd name="T59" fmla="*/ 114300 h 166"/>
                <a:gd name="T60" fmla="*/ 43703 w 170"/>
                <a:gd name="T61" fmla="*/ 114300 h 166"/>
                <a:gd name="T62" fmla="*/ 43703 w 170"/>
                <a:gd name="T63" fmla="*/ 114300 h 166"/>
                <a:gd name="T64" fmla="*/ 45160 w 170"/>
                <a:gd name="T65" fmla="*/ 117475 h 166"/>
                <a:gd name="T66" fmla="*/ 45160 w 170"/>
                <a:gd name="T67" fmla="*/ 117475 h 166"/>
                <a:gd name="T68" fmla="*/ 53900 w 170"/>
                <a:gd name="T69" fmla="*/ 127000 h 166"/>
                <a:gd name="T70" fmla="*/ 64098 w 170"/>
                <a:gd name="T71" fmla="*/ 147637 h 166"/>
                <a:gd name="T72" fmla="*/ 72838 w 170"/>
                <a:gd name="T73" fmla="*/ 155575 h 166"/>
                <a:gd name="T74" fmla="*/ 83036 w 170"/>
                <a:gd name="T75" fmla="*/ 166687 h 166"/>
                <a:gd name="T76" fmla="*/ 85949 w 170"/>
                <a:gd name="T77" fmla="*/ 193675 h 166"/>
                <a:gd name="T78" fmla="*/ 88863 w 170"/>
                <a:gd name="T79" fmla="*/ 223838 h 166"/>
                <a:gd name="T80" fmla="*/ 99060 w 170"/>
                <a:gd name="T81" fmla="*/ 231775 h 166"/>
                <a:gd name="T82" fmla="*/ 110714 w 170"/>
                <a:gd name="T83" fmla="*/ 238125 h 166"/>
                <a:gd name="T84" fmla="*/ 117998 w 170"/>
                <a:gd name="T85" fmla="*/ 241300 h 166"/>
                <a:gd name="T86" fmla="*/ 123825 w 170"/>
                <a:gd name="T87" fmla="*/ 246063 h 166"/>
                <a:gd name="T88" fmla="*/ 129652 w 170"/>
                <a:gd name="T89" fmla="*/ 252413 h 166"/>
                <a:gd name="T90" fmla="*/ 134022 w 170"/>
                <a:gd name="T91" fmla="*/ 263525 h 166"/>
                <a:gd name="T92" fmla="*/ 148590 w 170"/>
                <a:gd name="T93" fmla="*/ 255588 h 166"/>
                <a:gd name="T94" fmla="*/ 158787 w 170"/>
                <a:gd name="T95" fmla="*/ 244475 h 166"/>
                <a:gd name="T96" fmla="*/ 158787 w 170"/>
                <a:gd name="T97" fmla="*/ 204788 h 166"/>
                <a:gd name="T98" fmla="*/ 161701 w 170"/>
                <a:gd name="T99" fmla="*/ 173037 h 166"/>
                <a:gd name="T100" fmla="*/ 193750 w 170"/>
                <a:gd name="T101" fmla="*/ 155575 h 166"/>
                <a:gd name="T102" fmla="*/ 228712 w 170"/>
                <a:gd name="T103" fmla="*/ 138112 h 166"/>
                <a:gd name="T104" fmla="*/ 231626 w 170"/>
                <a:gd name="T105" fmla="*/ 128588 h 166"/>
                <a:gd name="T106" fmla="*/ 228712 w 170"/>
                <a:gd name="T107" fmla="*/ 114300 h 166"/>
                <a:gd name="T108" fmla="*/ 231626 w 170"/>
                <a:gd name="T109" fmla="*/ 109538 h 166"/>
                <a:gd name="T110" fmla="*/ 234539 w 170"/>
                <a:gd name="T111" fmla="*/ 103188 h 166"/>
                <a:gd name="T112" fmla="*/ 238909 w 170"/>
                <a:gd name="T113" fmla="*/ 96837 h 166"/>
                <a:gd name="T114" fmla="*/ 247650 w 170"/>
                <a:gd name="T115" fmla="*/ 93662 h 1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70"/>
                <a:gd name="T175" fmla="*/ 0 h 166"/>
                <a:gd name="T176" fmla="*/ 170 w 170"/>
                <a:gd name="T177" fmla="*/ 166 h 1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70" h="166">
                  <a:moveTo>
                    <a:pt x="170" y="59"/>
                  </a:moveTo>
                  <a:lnTo>
                    <a:pt x="170" y="54"/>
                  </a:lnTo>
                  <a:lnTo>
                    <a:pt x="168" y="50"/>
                  </a:lnTo>
                  <a:lnTo>
                    <a:pt x="157" y="44"/>
                  </a:lnTo>
                  <a:lnTo>
                    <a:pt x="146" y="43"/>
                  </a:lnTo>
                  <a:lnTo>
                    <a:pt x="148" y="32"/>
                  </a:lnTo>
                  <a:lnTo>
                    <a:pt x="148" y="11"/>
                  </a:lnTo>
                  <a:lnTo>
                    <a:pt x="118" y="22"/>
                  </a:lnTo>
                  <a:lnTo>
                    <a:pt x="103" y="32"/>
                  </a:lnTo>
                  <a:lnTo>
                    <a:pt x="100" y="30"/>
                  </a:lnTo>
                  <a:lnTo>
                    <a:pt x="94" y="26"/>
                  </a:lnTo>
                  <a:lnTo>
                    <a:pt x="91" y="22"/>
                  </a:lnTo>
                  <a:lnTo>
                    <a:pt x="85" y="17"/>
                  </a:lnTo>
                  <a:lnTo>
                    <a:pt x="79" y="8"/>
                  </a:lnTo>
                  <a:lnTo>
                    <a:pt x="76" y="0"/>
                  </a:lnTo>
                  <a:lnTo>
                    <a:pt x="59" y="8"/>
                  </a:lnTo>
                  <a:lnTo>
                    <a:pt x="37" y="17"/>
                  </a:lnTo>
                  <a:lnTo>
                    <a:pt x="35" y="26"/>
                  </a:lnTo>
                  <a:lnTo>
                    <a:pt x="28" y="35"/>
                  </a:lnTo>
                  <a:lnTo>
                    <a:pt x="24" y="39"/>
                  </a:lnTo>
                  <a:lnTo>
                    <a:pt x="17" y="44"/>
                  </a:lnTo>
                  <a:lnTo>
                    <a:pt x="9" y="48"/>
                  </a:lnTo>
                  <a:lnTo>
                    <a:pt x="0" y="50"/>
                  </a:lnTo>
                  <a:lnTo>
                    <a:pt x="6" y="57"/>
                  </a:lnTo>
                  <a:lnTo>
                    <a:pt x="11" y="63"/>
                  </a:lnTo>
                  <a:lnTo>
                    <a:pt x="18" y="69"/>
                  </a:lnTo>
                  <a:lnTo>
                    <a:pt x="30" y="72"/>
                  </a:lnTo>
                  <a:lnTo>
                    <a:pt x="31" y="74"/>
                  </a:lnTo>
                  <a:lnTo>
                    <a:pt x="37" y="80"/>
                  </a:lnTo>
                  <a:lnTo>
                    <a:pt x="44" y="93"/>
                  </a:lnTo>
                  <a:lnTo>
                    <a:pt x="50" y="98"/>
                  </a:lnTo>
                  <a:lnTo>
                    <a:pt x="57" y="105"/>
                  </a:lnTo>
                  <a:lnTo>
                    <a:pt x="59" y="122"/>
                  </a:lnTo>
                  <a:lnTo>
                    <a:pt x="61" y="141"/>
                  </a:lnTo>
                  <a:lnTo>
                    <a:pt x="68" y="146"/>
                  </a:lnTo>
                  <a:lnTo>
                    <a:pt x="76" y="150"/>
                  </a:lnTo>
                  <a:lnTo>
                    <a:pt x="81" y="152"/>
                  </a:lnTo>
                  <a:lnTo>
                    <a:pt x="85" y="155"/>
                  </a:lnTo>
                  <a:lnTo>
                    <a:pt x="89" y="159"/>
                  </a:lnTo>
                  <a:lnTo>
                    <a:pt x="92" y="166"/>
                  </a:lnTo>
                  <a:lnTo>
                    <a:pt x="102" y="161"/>
                  </a:lnTo>
                  <a:lnTo>
                    <a:pt x="109" y="154"/>
                  </a:lnTo>
                  <a:lnTo>
                    <a:pt x="109" y="129"/>
                  </a:lnTo>
                  <a:lnTo>
                    <a:pt x="111" y="109"/>
                  </a:lnTo>
                  <a:lnTo>
                    <a:pt x="133" y="98"/>
                  </a:lnTo>
                  <a:lnTo>
                    <a:pt x="157" y="87"/>
                  </a:lnTo>
                  <a:lnTo>
                    <a:pt x="159" y="81"/>
                  </a:lnTo>
                  <a:lnTo>
                    <a:pt x="157" y="72"/>
                  </a:lnTo>
                  <a:lnTo>
                    <a:pt x="159" y="69"/>
                  </a:lnTo>
                  <a:lnTo>
                    <a:pt x="161" y="65"/>
                  </a:lnTo>
                  <a:lnTo>
                    <a:pt x="164" y="61"/>
                  </a:lnTo>
                  <a:lnTo>
                    <a:pt x="170" y="59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95" name="Freeform 93"/>
            <p:cNvSpPr>
              <a:spLocks/>
            </p:cNvSpPr>
            <p:nvPr/>
          </p:nvSpPr>
          <p:spPr bwMode="auto">
            <a:xfrm>
              <a:off x="1745442" y="3283492"/>
              <a:ext cx="250300" cy="336870"/>
            </a:xfrm>
            <a:custGeom>
              <a:avLst/>
              <a:gdLst>
                <a:gd name="T0" fmla="*/ 109967 w 144"/>
                <a:gd name="T1" fmla="*/ 0 h 179"/>
                <a:gd name="T2" fmla="*/ 131961 w 144"/>
                <a:gd name="T3" fmla="*/ 11112 h 179"/>
                <a:gd name="T4" fmla="*/ 156886 w 144"/>
                <a:gd name="T5" fmla="*/ 23812 h 179"/>
                <a:gd name="T6" fmla="*/ 159819 w 144"/>
                <a:gd name="T7" fmla="*/ 31750 h 179"/>
                <a:gd name="T8" fmla="*/ 164218 w 144"/>
                <a:gd name="T9" fmla="*/ 41275 h 179"/>
                <a:gd name="T10" fmla="*/ 167150 w 144"/>
                <a:gd name="T11" fmla="*/ 46037 h 179"/>
                <a:gd name="T12" fmla="*/ 175947 w 144"/>
                <a:gd name="T13" fmla="*/ 52387 h 179"/>
                <a:gd name="T14" fmla="*/ 173015 w 144"/>
                <a:gd name="T15" fmla="*/ 82550 h 179"/>
                <a:gd name="T16" fmla="*/ 170083 w 144"/>
                <a:gd name="T17" fmla="*/ 111125 h 179"/>
                <a:gd name="T18" fmla="*/ 175947 w 144"/>
                <a:gd name="T19" fmla="*/ 125412 h 179"/>
                <a:gd name="T20" fmla="*/ 180346 w 144"/>
                <a:gd name="T21" fmla="*/ 138112 h 179"/>
                <a:gd name="T22" fmla="*/ 189144 w 144"/>
                <a:gd name="T23" fmla="*/ 149225 h 179"/>
                <a:gd name="T24" fmla="*/ 199407 w 144"/>
                <a:gd name="T25" fmla="*/ 160337 h 179"/>
                <a:gd name="T26" fmla="*/ 205272 w 144"/>
                <a:gd name="T27" fmla="*/ 180975 h 179"/>
                <a:gd name="T28" fmla="*/ 211137 w 144"/>
                <a:gd name="T29" fmla="*/ 204787 h 179"/>
                <a:gd name="T30" fmla="*/ 186211 w 144"/>
                <a:gd name="T31" fmla="*/ 217487 h 179"/>
                <a:gd name="T32" fmla="*/ 153954 w 144"/>
                <a:gd name="T33" fmla="*/ 231775 h 179"/>
                <a:gd name="T34" fmla="*/ 151022 w 144"/>
                <a:gd name="T35" fmla="*/ 246062 h 179"/>
                <a:gd name="T36" fmla="*/ 140758 w 144"/>
                <a:gd name="T37" fmla="*/ 260350 h 179"/>
                <a:gd name="T38" fmla="*/ 134893 w 144"/>
                <a:gd name="T39" fmla="*/ 266700 h 179"/>
                <a:gd name="T40" fmla="*/ 124629 w 144"/>
                <a:gd name="T41" fmla="*/ 274637 h 179"/>
                <a:gd name="T42" fmla="*/ 112900 w 144"/>
                <a:gd name="T43" fmla="*/ 280987 h 179"/>
                <a:gd name="T44" fmla="*/ 99704 w 144"/>
                <a:gd name="T45" fmla="*/ 284162 h 179"/>
                <a:gd name="T46" fmla="*/ 90906 w 144"/>
                <a:gd name="T47" fmla="*/ 280987 h 179"/>
                <a:gd name="T48" fmla="*/ 83575 w 144"/>
                <a:gd name="T49" fmla="*/ 277812 h 179"/>
                <a:gd name="T50" fmla="*/ 74778 w 144"/>
                <a:gd name="T51" fmla="*/ 269875 h 179"/>
                <a:gd name="T52" fmla="*/ 70379 w 144"/>
                <a:gd name="T53" fmla="*/ 260350 h 179"/>
                <a:gd name="T54" fmla="*/ 67447 w 144"/>
                <a:gd name="T55" fmla="*/ 239712 h 179"/>
                <a:gd name="T56" fmla="*/ 67447 w 144"/>
                <a:gd name="T57" fmla="*/ 217487 h 179"/>
                <a:gd name="T58" fmla="*/ 70379 w 144"/>
                <a:gd name="T59" fmla="*/ 193675 h 179"/>
                <a:gd name="T60" fmla="*/ 74778 w 144"/>
                <a:gd name="T61" fmla="*/ 169862 h 179"/>
                <a:gd name="T62" fmla="*/ 73311 w 144"/>
                <a:gd name="T63" fmla="*/ 160337 h 179"/>
                <a:gd name="T64" fmla="*/ 70379 w 144"/>
                <a:gd name="T65" fmla="*/ 152400 h 179"/>
                <a:gd name="T66" fmla="*/ 61582 w 144"/>
                <a:gd name="T67" fmla="*/ 142875 h 179"/>
                <a:gd name="T68" fmla="*/ 54250 w 144"/>
                <a:gd name="T69" fmla="*/ 139700 h 179"/>
                <a:gd name="T70" fmla="*/ 39588 w 144"/>
                <a:gd name="T71" fmla="*/ 131762 h 179"/>
                <a:gd name="T72" fmla="*/ 35189 w 144"/>
                <a:gd name="T73" fmla="*/ 122237 h 179"/>
                <a:gd name="T74" fmla="*/ 35189 w 144"/>
                <a:gd name="T75" fmla="*/ 117475 h 179"/>
                <a:gd name="T76" fmla="*/ 35189 w 144"/>
                <a:gd name="T77" fmla="*/ 111125 h 179"/>
                <a:gd name="T78" fmla="*/ 35189 w 144"/>
                <a:gd name="T79" fmla="*/ 104775 h 179"/>
                <a:gd name="T80" fmla="*/ 32257 w 144"/>
                <a:gd name="T81" fmla="*/ 101600 h 179"/>
                <a:gd name="T82" fmla="*/ 29325 w 144"/>
                <a:gd name="T83" fmla="*/ 96837 h 179"/>
                <a:gd name="T84" fmla="*/ 23460 w 144"/>
                <a:gd name="T85" fmla="*/ 90487 h 179"/>
                <a:gd name="T86" fmla="*/ 13196 w 144"/>
                <a:gd name="T87" fmla="*/ 82550 h 179"/>
                <a:gd name="T88" fmla="*/ 0 w 144"/>
                <a:gd name="T89" fmla="*/ 69850 h 179"/>
                <a:gd name="T90" fmla="*/ 0 w 144"/>
                <a:gd name="T91" fmla="*/ 61912 h 179"/>
                <a:gd name="T92" fmla="*/ 2932 w 144"/>
                <a:gd name="T93" fmla="*/ 52387 h 179"/>
                <a:gd name="T94" fmla="*/ 16129 w 144"/>
                <a:gd name="T95" fmla="*/ 49212 h 179"/>
                <a:gd name="T96" fmla="*/ 32257 w 144"/>
                <a:gd name="T97" fmla="*/ 46037 h 179"/>
                <a:gd name="T98" fmla="*/ 38122 w 144"/>
                <a:gd name="T99" fmla="*/ 31750 h 179"/>
                <a:gd name="T100" fmla="*/ 39588 w 144"/>
                <a:gd name="T101" fmla="*/ 20637 h 179"/>
                <a:gd name="T102" fmla="*/ 45453 w 144"/>
                <a:gd name="T103" fmla="*/ 20637 h 179"/>
                <a:gd name="T104" fmla="*/ 55717 w 144"/>
                <a:gd name="T105" fmla="*/ 28575 h 179"/>
                <a:gd name="T106" fmla="*/ 61582 w 144"/>
                <a:gd name="T107" fmla="*/ 31750 h 179"/>
                <a:gd name="T108" fmla="*/ 70379 w 144"/>
                <a:gd name="T109" fmla="*/ 34925 h 179"/>
                <a:gd name="T110" fmla="*/ 74778 w 144"/>
                <a:gd name="T111" fmla="*/ 34925 h 179"/>
                <a:gd name="T112" fmla="*/ 83575 w 144"/>
                <a:gd name="T113" fmla="*/ 34925 h 179"/>
                <a:gd name="T114" fmla="*/ 96771 w 144"/>
                <a:gd name="T115" fmla="*/ 17462 h 179"/>
                <a:gd name="T116" fmla="*/ 109967 w 144"/>
                <a:gd name="T117" fmla="*/ 0 h 17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4"/>
                <a:gd name="T178" fmla="*/ 0 h 179"/>
                <a:gd name="T179" fmla="*/ 144 w 144"/>
                <a:gd name="T180" fmla="*/ 179 h 17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4" h="179">
                  <a:moveTo>
                    <a:pt x="75" y="0"/>
                  </a:moveTo>
                  <a:lnTo>
                    <a:pt x="90" y="7"/>
                  </a:lnTo>
                  <a:lnTo>
                    <a:pt x="107" y="15"/>
                  </a:lnTo>
                  <a:lnTo>
                    <a:pt x="109" y="20"/>
                  </a:lnTo>
                  <a:lnTo>
                    <a:pt x="112" y="26"/>
                  </a:lnTo>
                  <a:lnTo>
                    <a:pt x="114" y="29"/>
                  </a:lnTo>
                  <a:lnTo>
                    <a:pt x="120" y="33"/>
                  </a:lnTo>
                  <a:lnTo>
                    <a:pt x="118" y="52"/>
                  </a:lnTo>
                  <a:lnTo>
                    <a:pt x="116" y="70"/>
                  </a:lnTo>
                  <a:lnTo>
                    <a:pt x="120" y="79"/>
                  </a:lnTo>
                  <a:lnTo>
                    <a:pt x="123" y="87"/>
                  </a:lnTo>
                  <a:lnTo>
                    <a:pt x="129" y="94"/>
                  </a:lnTo>
                  <a:lnTo>
                    <a:pt x="136" y="101"/>
                  </a:lnTo>
                  <a:lnTo>
                    <a:pt x="140" y="114"/>
                  </a:lnTo>
                  <a:lnTo>
                    <a:pt x="144" y="129"/>
                  </a:lnTo>
                  <a:lnTo>
                    <a:pt x="127" y="137"/>
                  </a:lnTo>
                  <a:lnTo>
                    <a:pt x="105" y="146"/>
                  </a:lnTo>
                  <a:lnTo>
                    <a:pt x="103" y="155"/>
                  </a:lnTo>
                  <a:lnTo>
                    <a:pt x="96" y="164"/>
                  </a:lnTo>
                  <a:lnTo>
                    <a:pt x="92" y="168"/>
                  </a:lnTo>
                  <a:lnTo>
                    <a:pt x="85" y="173"/>
                  </a:lnTo>
                  <a:lnTo>
                    <a:pt x="77" y="177"/>
                  </a:lnTo>
                  <a:lnTo>
                    <a:pt x="68" y="179"/>
                  </a:lnTo>
                  <a:lnTo>
                    <a:pt x="62" y="177"/>
                  </a:lnTo>
                  <a:lnTo>
                    <a:pt x="57" y="175"/>
                  </a:lnTo>
                  <a:lnTo>
                    <a:pt x="51" y="170"/>
                  </a:lnTo>
                  <a:lnTo>
                    <a:pt x="48" y="164"/>
                  </a:lnTo>
                  <a:lnTo>
                    <a:pt x="46" y="151"/>
                  </a:lnTo>
                  <a:lnTo>
                    <a:pt x="46" y="137"/>
                  </a:lnTo>
                  <a:lnTo>
                    <a:pt x="48" y="122"/>
                  </a:lnTo>
                  <a:lnTo>
                    <a:pt x="51" y="107"/>
                  </a:lnTo>
                  <a:lnTo>
                    <a:pt x="50" y="101"/>
                  </a:lnTo>
                  <a:lnTo>
                    <a:pt x="48" y="96"/>
                  </a:lnTo>
                  <a:lnTo>
                    <a:pt x="42" y="90"/>
                  </a:lnTo>
                  <a:lnTo>
                    <a:pt x="37" y="88"/>
                  </a:lnTo>
                  <a:lnTo>
                    <a:pt x="27" y="83"/>
                  </a:lnTo>
                  <a:lnTo>
                    <a:pt x="24" y="77"/>
                  </a:lnTo>
                  <a:lnTo>
                    <a:pt x="24" y="74"/>
                  </a:lnTo>
                  <a:lnTo>
                    <a:pt x="24" y="70"/>
                  </a:lnTo>
                  <a:lnTo>
                    <a:pt x="24" y="66"/>
                  </a:lnTo>
                  <a:lnTo>
                    <a:pt x="22" y="64"/>
                  </a:lnTo>
                  <a:lnTo>
                    <a:pt x="20" y="61"/>
                  </a:lnTo>
                  <a:lnTo>
                    <a:pt x="16" y="57"/>
                  </a:lnTo>
                  <a:lnTo>
                    <a:pt x="9" y="52"/>
                  </a:lnTo>
                  <a:lnTo>
                    <a:pt x="0" y="44"/>
                  </a:lnTo>
                  <a:lnTo>
                    <a:pt x="0" y="39"/>
                  </a:lnTo>
                  <a:lnTo>
                    <a:pt x="2" y="33"/>
                  </a:lnTo>
                  <a:lnTo>
                    <a:pt x="11" y="31"/>
                  </a:lnTo>
                  <a:lnTo>
                    <a:pt x="22" y="29"/>
                  </a:lnTo>
                  <a:lnTo>
                    <a:pt x="26" y="20"/>
                  </a:lnTo>
                  <a:lnTo>
                    <a:pt x="27" y="13"/>
                  </a:lnTo>
                  <a:lnTo>
                    <a:pt x="31" y="13"/>
                  </a:lnTo>
                  <a:lnTo>
                    <a:pt x="38" y="18"/>
                  </a:lnTo>
                  <a:lnTo>
                    <a:pt x="42" y="20"/>
                  </a:lnTo>
                  <a:lnTo>
                    <a:pt x="48" y="22"/>
                  </a:lnTo>
                  <a:lnTo>
                    <a:pt x="51" y="22"/>
                  </a:lnTo>
                  <a:lnTo>
                    <a:pt x="57" y="22"/>
                  </a:lnTo>
                  <a:lnTo>
                    <a:pt x="66" y="11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96" name="Freeform 94"/>
            <p:cNvSpPr>
              <a:spLocks/>
            </p:cNvSpPr>
            <p:nvPr/>
          </p:nvSpPr>
          <p:spPr bwMode="auto">
            <a:xfrm>
              <a:off x="2007033" y="2696323"/>
              <a:ext cx="602226" cy="513774"/>
            </a:xfrm>
            <a:custGeom>
              <a:avLst/>
              <a:gdLst>
                <a:gd name="T0" fmla="*/ 207885 w 347"/>
                <a:gd name="T1" fmla="*/ 295275 h 273"/>
                <a:gd name="T2" fmla="*/ 223988 w 347"/>
                <a:gd name="T3" fmla="*/ 312737 h 273"/>
                <a:gd name="T4" fmla="*/ 232772 w 347"/>
                <a:gd name="T5" fmla="*/ 350837 h 273"/>
                <a:gd name="T6" fmla="*/ 254732 w 347"/>
                <a:gd name="T7" fmla="*/ 354012 h 273"/>
                <a:gd name="T8" fmla="*/ 276692 w 347"/>
                <a:gd name="T9" fmla="*/ 365125 h 273"/>
                <a:gd name="T10" fmla="*/ 316219 w 347"/>
                <a:gd name="T11" fmla="*/ 384174 h 273"/>
                <a:gd name="T12" fmla="*/ 341107 w 347"/>
                <a:gd name="T13" fmla="*/ 392112 h 273"/>
                <a:gd name="T14" fmla="*/ 357210 w 347"/>
                <a:gd name="T15" fmla="*/ 412750 h 273"/>
                <a:gd name="T16" fmla="*/ 386490 w 347"/>
                <a:gd name="T17" fmla="*/ 409575 h 273"/>
                <a:gd name="T18" fmla="*/ 417233 w 347"/>
                <a:gd name="T19" fmla="*/ 365125 h 273"/>
                <a:gd name="T20" fmla="*/ 430409 w 347"/>
                <a:gd name="T21" fmla="*/ 327025 h 273"/>
                <a:gd name="T22" fmla="*/ 437729 w 347"/>
                <a:gd name="T23" fmla="*/ 304800 h 273"/>
                <a:gd name="T24" fmla="*/ 443585 w 347"/>
                <a:gd name="T25" fmla="*/ 288925 h 273"/>
                <a:gd name="T26" fmla="*/ 462617 w 347"/>
                <a:gd name="T27" fmla="*/ 271462 h 273"/>
                <a:gd name="T28" fmla="*/ 487504 w 347"/>
                <a:gd name="T29" fmla="*/ 254000 h 273"/>
                <a:gd name="T30" fmla="*/ 503608 w 347"/>
                <a:gd name="T31" fmla="*/ 228600 h 273"/>
                <a:gd name="T32" fmla="*/ 508000 w 347"/>
                <a:gd name="T33" fmla="*/ 207962 h 273"/>
                <a:gd name="T34" fmla="*/ 500680 w 347"/>
                <a:gd name="T35" fmla="*/ 195262 h 273"/>
                <a:gd name="T36" fmla="*/ 478720 w 347"/>
                <a:gd name="T37" fmla="*/ 187325 h 273"/>
                <a:gd name="T38" fmla="*/ 462617 w 347"/>
                <a:gd name="T39" fmla="*/ 187325 h 273"/>
                <a:gd name="T40" fmla="*/ 446513 w 347"/>
                <a:gd name="T41" fmla="*/ 187325 h 273"/>
                <a:gd name="T42" fmla="*/ 421625 w 347"/>
                <a:gd name="T43" fmla="*/ 142875 h 273"/>
                <a:gd name="T44" fmla="*/ 392346 w 347"/>
                <a:gd name="T45" fmla="*/ 139700 h 273"/>
                <a:gd name="T46" fmla="*/ 373314 w 347"/>
                <a:gd name="T47" fmla="*/ 125412 h 273"/>
                <a:gd name="T48" fmla="*/ 354282 w 347"/>
                <a:gd name="T49" fmla="*/ 125412 h 273"/>
                <a:gd name="T50" fmla="*/ 351354 w 347"/>
                <a:gd name="T51" fmla="*/ 98425 h 273"/>
                <a:gd name="T52" fmla="*/ 357210 w 347"/>
                <a:gd name="T53" fmla="*/ 73025 h 273"/>
                <a:gd name="T54" fmla="*/ 338179 w 347"/>
                <a:gd name="T55" fmla="*/ 69850 h 273"/>
                <a:gd name="T56" fmla="*/ 303043 w 347"/>
                <a:gd name="T57" fmla="*/ 38100 h 273"/>
                <a:gd name="T58" fmla="*/ 303043 w 347"/>
                <a:gd name="T59" fmla="*/ 52387 h 273"/>
                <a:gd name="T60" fmla="*/ 303043 w 347"/>
                <a:gd name="T61" fmla="*/ 60325 h 273"/>
                <a:gd name="T62" fmla="*/ 294259 w 347"/>
                <a:gd name="T63" fmla="*/ 69850 h 273"/>
                <a:gd name="T64" fmla="*/ 281084 w 347"/>
                <a:gd name="T65" fmla="*/ 77787 h 273"/>
                <a:gd name="T66" fmla="*/ 259124 w 347"/>
                <a:gd name="T67" fmla="*/ 80962 h 273"/>
                <a:gd name="T68" fmla="*/ 226916 w 347"/>
                <a:gd name="T69" fmla="*/ 55562 h 273"/>
                <a:gd name="T70" fmla="*/ 187389 w 347"/>
                <a:gd name="T71" fmla="*/ 57150 h 273"/>
                <a:gd name="T72" fmla="*/ 149326 w 347"/>
                <a:gd name="T73" fmla="*/ 31750 h 273"/>
                <a:gd name="T74" fmla="*/ 114190 w 347"/>
                <a:gd name="T75" fmla="*/ 22225 h 273"/>
                <a:gd name="T76" fmla="*/ 92231 w 347"/>
                <a:gd name="T77" fmla="*/ 1587 h 273"/>
                <a:gd name="T78" fmla="*/ 76127 w 347"/>
                <a:gd name="T79" fmla="*/ 0 h 273"/>
                <a:gd name="T80" fmla="*/ 54167 w 347"/>
                <a:gd name="T81" fmla="*/ 17462 h 273"/>
                <a:gd name="T82" fmla="*/ 51239 w 347"/>
                <a:gd name="T83" fmla="*/ 34925 h 273"/>
                <a:gd name="T84" fmla="*/ 57095 w 347"/>
                <a:gd name="T85" fmla="*/ 57150 h 273"/>
                <a:gd name="T86" fmla="*/ 57095 w 347"/>
                <a:gd name="T87" fmla="*/ 69850 h 273"/>
                <a:gd name="T88" fmla="*/ 46847 w 347"/>
                <a:gd name="T89" fmla="*/ 87312 h 273"/>
                <a:gd name="T90" fmla="*/ 27816 w 347"/>
                <a:gd name="T91" fmla="*/ 101600 h 273"/>
                <a:gd name="T92" fmla="*/ 0 w 347"/>
                <a:gd name="T93" fmla="*/ 114300 h 273"/>
                <a:gd name="T94" fmla="*/ 19032 w 347"/>
                <a:gd name="T95" fmla="*/ 160337 h 273"/>
                <a:gd name="T96" fmla="*/ 43919 w 347"/>
                <a:gd name="T97" fmla="*/ 207962 h 273"/>
                <a:gd name="T98" fmla="*/ 105406 w 347"/>
                <a:gd name="T99" fmla="*/ 219075 h 273"/>
                <a:gd name="T100" fmla="*/ 121510 w 347"/>
                <a:gd name="T101" fmla="*/ 250825 h 273"/>
                <a:gd name="T102" fmla="*/ 134686 w 347"/>
                <a:gd name="T103" fmla="*/ 271462 h 273"/>
                <a:gd name="T104" fmla="*/ 152254 w 347"/>
                <a:gd name="T105" fmla="*/ 288925 h 273"/>
                <a:gd name="T106" fmla="*/ 181533 w 347"/>
                <a:gd name="T107" fmla="*/ 307975 h 27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47"/>
                <a:gd name="T163" fmla="*/ 0 h 273"/>
                <a:gd name="T164" fmla="*/ 347 w 347"/>
                <a:gd name="T165" fmla="*/ 273 h 27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47" h="273">
                  <a:moveTo>
                    <a:pt x="124" y="194"/>
                  </a:moveTo>
                  <a:lnTo>
                    <a:pt x="142" y="186"/>
                  </a:lnTo>
                  <a:lnTo>
                    <a:pt x="152" y="182"/>
                  </a:lnTo>
                  <a:lnTo>
                    <a:pt x="153" y="197"/>
                  </a:lnTo>
                  <a:lnTo>
                    <a:pt x="153" y="218"/>
                  </a:lnTo>
                  <a:lnTo>
                    <a:pt x="159" y="221"/>
                  </a:lnTo>
                  <a:lnTo>
                    <a:pt x="166" y="223"/>
                  </a:lnTo>
                  <a:lnTo>
                    <a:pt x="174" y="223"/>
                  </a:lnTo>
                  <a:lnTo>
                    <a:pt x="179" y="225"/>
                  </a:lnTo>
                  <a:lnTo>
                    <a:pt x="189" y="230"/>
                  </a:lnTo>
                  <a:lnTo>
                    <a:pt x="209" y="236"/>
                  </a:lnTo>
                  <a:lnTo>
                    <a:pt x="216" y="242"/>
                  </a:lnTo>
                  <a:lnTo>
                    <a:pt x="222" y="249"/>
                  </a:lnTo>
                  <a:lnTo>
                    <a:pt x="233" y="247"/>
                  </a:lnTo>
                  <a:lnTo>
                    <a:pt x="242" y="247"/>
                  </a:lnTo>
                  <a:lnTo>
                    <a:pt x="244" y="260"/>
                  </a:lnTo>
                  <a:lnTo>
                    <a:pt x="246" y="273"/>
                  </a:lnTo>
                  <a:lnTo>
                    <a:pt x="264" y="258"/>
                  </a:lnTo>
                  <a:lnTo>
                    <a:pt x="283" y="243"/>
                  </a:lnTo>
                  <a:lnTo>
                    <a:pt x="285" y="230"/>
                  </a:lnTo>
                  <a:lnTo>
                    <a:pt x="286" y="218"/>
                  </a:lnTo>
                  <a:lnTo>
                    <a:pt x="294" y="206"/>
                  </a:lnTo>
                  <a:lnTo>
                    <a:pt x="298" y="197"/>
                  </a:lnTo>
                  <a:lnTo>
                    <a:pt x="299" y="192"/>
                  </a:lnTo>
                  <a:lnTo>
                    <a:pt x="301" y="186"/>
                  </a:lnTo>
                  <a:lnTo>
                    <a:pt x="303" y="182"/>
                  </a:lnTo>
                  <a:lnTo>
                    <a:pt x="307" y="177"/>
                  </a:lnTo>
                  <a:lnTo>
                    <a:pt x="316" y="171"/>
                  </a:lnTo>
                  <a:lnTo>
                    <a:pt x="327" y="164"/>
                  </a:lnTo>
                  <a:lnTo>
                    <a:pt x="333" y="160"/>
                  </a:lnTo>
                  <a:lnTo>
                    <a:pt x="340" y="157"/>
                  </a:lnTo>
                  <a:lnTo>
                    <a:pt x="344" y="144"/>
                  </a:lnTo>
                  <a:lnTo>
                    <a:pt x="347" y="131"/>
                  </a:lnTo>
                  <a:lnTo>
                    <a:pt x="342" y="123"/>
                  </a:lnTo>
                  <a:lnTo>
                    <a:pt x="336" y="120"/>
                  </a:lnTo>
                  <a:lnTo>
                    <a:pt x="327" y="118"/>
                  </a:lnTo>
                  <a:lnTo>
                    <a:pt x="316" y="118"/>
                  </a:lnTo>
                  <a:lnTo>
                    <a:pt x="310" y="120"/>
                  </a:lnTo>
                  <a:lnTo>
                    <a:pt x="305" y="118"/>
                  </a:lnTo>
                  <a:lnTo>
                    <a:pt x="298" y="103"/>
                  </a:lnTo>
                  <a:lnTo>
                    <a:pt x="288" y="90"/>
                  </a:lnTo>
                  <a:lnTo>
                    <a:pt x="275" y="86"/>
                  </a:lnTo>
                  <a:lnTo>
                    <a:pt x="268" y="88"/>
                  </a:lnTo>
                  <a:lnTo>
                    <a:pt x="259" y="83"/>
                  </a:lnTo>
                  <a:lnTo>
                    <a:pt x="255" y="79"/>
                  </a:lnTo>
                  <a:lnTo>
                    <a:pt x="248" y="79"/>
                  </a:lnTo>
                  <a:lnTo>
                    <a:pt x="242" y="79"/>
                  </a:lnTo>
                  <a:lnTo>
                    <a:pt x="240" y="70"/>
                  </a:lnTo>
                  <a:lnTo>
                    <a:pt x="240" y="62"/>
                  </a:lnTo>
                  <a:lnTo>
                    <a:pt x="242" y="53"/>
                  </a:lnTo>
                  <a:lnTo>
                    <a:pt x="244" y="46"/>
                  </a:lnTo>
                  <a:lnTo>
                    <a:pt x="237" y="44"/>
                  </a:lnTo>
                  <a:lnTo>
                    <a:pt x="231" y="44"/>
                  </a:lnTo>
                  <a:lnTo>
                    <a:pt x="218" y="31"/>
                  </a:lnTo>
                  <a:lnTo>
                    <a:pt x="207" y="24"/>
                  </a:lnTo>
                  <a:lnTo>
                    <a:pt x="205" y="27"/>
                  </a:lnTo>
                  <a:lnTo>
                    <a:pt x="207" y="33"/>
                  </a:lnTo>
                  <a:lnTo>
                    <a:pt x="207" y="36"/>
                  </a:lnTo>
                  <a:lnTo>
                    <a:pt x="207" y="38"/>
                  </a:lnTo>
                  <a:lnTo>
                    <a:pt x="205" y="42"/>
                  </a:lnTo>
                  <a:lnTo>
                    <a:pt x="201" y="44"/>
                  </a:lnTo>
                  <a:lnTo>
                    <a:pt x="198" y="48"/>
                  </a:lnTo>
                  <a:lnTo>
                    <a:pt x="192" y="49"/>
                  </a:lnTo>
                  <a:lnTo>
                    <a:pt x="185" y="51"/>
                  </a:lnTo>
                  <a:lnTo>
                    <a:pt x="177" y="51"/>
                  </a:lnTo>
                  <a:lnTo>
                    <a:pt x="166" y="44"/>
                  </a:lnTo>
                  <a:lnTo>
                    <a:pt x="155" y="35"/>
                  </a:lnTo>
                  <a:lnTo>
                    <a:pt x="142" y="35"/>
                  </a:lnTo>
                  <a:lnTo>
                    <a:pt x="128" y="36"/>
                  </a:lnTo>
                  <a:lnTo>
                    <a:pt x="115" y="29"/>
                  </a:lnTo>
                  <a:lnTo>
                    <a:pt x="102" y="20"/>
                  </a:lnTo>
                  <a:lnTo>
                    <a:pt x="89" y="20"/>
                  </a:lnTo>
                  <a:lnTo>
                    <a:pt x="78" y="14"/>
                  </a:lnTo>
                  <a:lnTo>
                    <a:pt x="70" y="7"/>
                  </a:lnTo>
                  <a:lnTo>
                    <a:pt x="63" y="1"/>
                  </a:lnTo>
                  <a:lnTo>
                    <a:pt x="57" y="0"/>
                  </a:lnTo>
                  <a:lnTo>
                    <a:pt x="52" y="0"/>
                  </a:lnTo>
                  <a:lnTo>
                    <a:pt x="43" y="5"/>
                  </a:lnTo>
                  <a:lnTo>
                    <a:pt x="37" y="11"/>
                  </a:lnTo>
                  <a:lnTo>
                    <a:pt x="35" y="16"/>
                  </a:lnTo>
                  <a:lnTo>
                    <a:pt x="35" y="22"/>
                  </a:lnTo>
                  <a:lnTo>
                    <a:pt x="37" y="29"/>
                  </a:lnTo>
                  <a:lnTo>
                    <a:pt x="39" y="36"/>
                  </a:lnTo>
                  <a:lnTo>
                    <a:pt x="39" y="40"/>
                  </a:lnTo>
                  <a:lnTo>
                    <a:pt x="39" y="44"/>
                  </a:lnTo>
                  <a:lnTo>
                    <a:pt x="35" y="49"/>
                  </a:lnTo>
                  <a:lnTo>
                    <a:pt x="32" y="55"/>
                  </a:lnTo>
                  <a:lnTo>
                    <a:pt x="26" y="60"/>
                  </a:lnTo>
                  <a:lnTo>
                    <a:pt x="19" y="64"/>
                  </a:lnTo>
                  <a:lnTo>
                    <a:pt x="9" y="68"/>
                  </a:lnTo>
                  <a:lnTo>
                    <a:pt x="0" y="72"/>
                  </a:lnTo>
                  <a:lnTo>
                    <a:pt x="8" y="86"/>
                  </a:lnTo>
                  <a:lnTo>
                    <a:pt x="13" y="101"/>
                  </a:lnTo>
                  <a:lnTo>
                    <a:pt x="20" y="116"/>
                  </a:lnTo>
                  <a:lnTo>
                    <a:pt x="30" y="131"/>
                  </a:lnTo>
                  <a:lnTo>
                    <a:pt x="59" y="138"/>
                  </a:lnTo>
                  <a:lnTo>
                    <a:pt x="72" y="138"/>
                  </a:lnTo>
                  <a:lnTo>
                    <a:pt x="78" y="145"/>
                  </a:lnTo>
                  <a:lnTo>
                    <a:pt x="83" y="158"/>
                  </a:lnTo>
                  <a:lnTo>
                    <a:pt x="87" y="164"/>
                  </a:lnTo>
                  <a:lnTo>
                    <a:pt x="92" y="171"/>
                  </a:lnTo>
                  <a:lnTo>
                    <a:pt x="98" y="177"/>
                  </a:lnTo>
                  <a:lnTo>
                    <a:pt x="104" y="182"/>
                  </a:lnTo>
                  <a:lnTo>
                    <a:pt x="115" y="190"/>
                  </a:lnTo>
                  <a:lnTo>
                    <a:pt x="124" y="194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97" name="Freeform 95"/>
            <p:cNvSpPr>
              <a:spLocks/>
            </p:cNvSpPr>
            <p:nvPr/>
          </p:nvSpPr>
          <p:spPr bwMode="auto">
            <a:xfrm>
              <a:off x="1873415" y="3087770"/>
              <a:ext cx="327460" cy="257827"/>
            </a:xfrm>
            <a:custGeom>
              <a:avLst/>
              <a:gdLst>
                <a:gd name="T0" fmla="*/ 227739 w 188"/>
                <a:gd name="T1" fmla="*/ 44450 h 137"/>
                <a:gd name="T2" fmla="*/ 227739 w 188"/>
                <a:gd name="T3" fmla="*/ 61912 h 137"/>
                <a:gd name="T4" fmla="*/ 230677 w 188"/>
                <a:gd name="T5" fmla="*/ 79375 h 137"/>
                <a:gd name="T6" fmla="*/ 248309 w 188"/>
                <a:gd name="T7" fmla="*/ 92075 h 137"/>
                <a:gd name="T8" fmla="*/ 265940 w 188"/>
                <a:gd name="T9" fmla="*/ 100012 h 137"/>
                <a:gd name="T10" fmla="*/ 270348 w 188"/>
                <a:gd name="T11" fmla="*/ 109537 h 137"/>
                <a:gd name="T12" fmla="*/ 273286 w 188"/>
                <a:gd name="T13" fmla="*/ 114300 h 137"/>
                <a:gd name="T14" fmla="*/ 276225 w 188"/>
                <a:gd name="T15" fmla="*/ 123825 h 137"/>
                <a:gd name="T16" fmla="*/ 276225 w 188"/>
                <a:gd name="T17" fmla="*/ 131762 h 137"/>
                <a:gd name="T18" fmla="*/ 251247 w 188"/>
                <a:gd name="T19" fmla="*/ 169862 h 137"/>
                <a:gd name="T20" fmla="*/ 235085 w 188"/>
                <a:gd name="T21" fmla="*/ 209550 h 137"/>
                <a:gd name="T22" fmla="*/ 213046 w 188"/>
                <a:gd name="T23" fmla="*/ 196850 h 137"/>
                <a:gd name="T24" fmla="*/ 195415 w 188"/>
                <a:gd name="T25" fmla="*/ 190500 h 137"/>
                <a:gd name="T26" fmla="*/ 177783 w 188"/>
                <a:gd name="T27" fmla="*/ 182562 h 137"/>
                <a:gd name="T28" fmla="*/ 161621 w 188"/>
                <a:gd name="T29" fmla="*/ 182562 h 137"/>
                <a:gd name="T30" fmla="*/ 148397 w 188"/>
                <a:gd name="T31" fmla="*/ 176212 h 137"/>
                <a:gd name="T32" fmla="*/ 135174 w 188"/>
                <a:gd name="T33" fmla="*/ 173037 h 137"/>
                <a:gd name="T34" fmla="*/ 121950 w 188"/>
                <a:gd name="T35" fmla="*/ 185737 h 137"/>
                <a:gd name="T36" fmla="*/ 119012 w 188"/>
                <a:gd name="T37" fmla="*/ 196850 h 137"/>
                <a:gd name="T38" fmla="*/ 105788 w 188"/>
                <a:gd name="T39" fmla="*/ 193675 h 137"/>
                <a:gd name="T40" fmla="*/ 91095 w 188"/>
                <a:gd name="T41" fmla="*/ 190500 h 137"/>
                <a:gd name="T42" fmla="*/ 80811 w 188"/>
                <a:gd name="T43" fmla="*/ 203200 h 137"/>
                <a:gd name="T44" fmla="*/ 67587 w 188"/>
                <a:gd name="T45" fmla="*/ 217487 h 137"/>
                <a:gd name="T46" fmla="*/ 67587 w 188"/>
                <a:gd name="T47" fmla="*/ 217487 h 137"/>
                <a:gd name="T48" fmla="*/ 67587 w 188"/>
                <a:gd name="T49" fmla="*/ 217487 h 137"/>
                <a:gd name="T50" fmla="*/ 58771 w 188"/>
                <a:gd name="T51" fmla="*/ 211137 h 137"/>
                <a:gd name="T52" fmla="*/ 55833 w 188"/>
                <a:gd name="T53" fmla="*/ 206375 h 137"/>
                <a:gd name="T54" fmla="*/ 51425 w 188"/>
                <a:gd name="T55" fmla="*/ 196850 h 137"/>
                <a:gd name="T56" fmla="*/ 48486 w 188"/>
                <a:gd name="T57" fmla="*/ 188912 h 137"/>
                <a:gd name="T58" fmla="*/ 23509 w 188"/>
                <a:gd name="T59" fmla="*/ 176212 h 137"/>
                <a:gd name="T60" fmla="*/ 1469 w 188"/>
                <a:gd name="T61" fmla="*/ 165100 h 137"/>
                <a:gd name="T62" fmla="*/ 1469 w 188"/>
                <a:gd name="T63" fmla="*/ 165100 h 137"/>
                <a:gd name="T64" fmla="*/ 1469 w 188"/>
                <a:gd name="T65" fmla="*/ 165100 h 137"/>
                <a:gd name="T66" fmla="*/ 7346 w 188"/>
                <a:gd name="T67" fmla="*/ 155575 h 137"/>
                <a:gd name="T68" fmla="*/ 7346 w 188"/>
                <a:gd name="T69" fmla="*/ 150812 h 137"/>
                <a:gd name="T70" fmla="*/ 7346 w 188"/>
                <a:gd name="T71" fmla="*/ 144462 h 137"/>
                <a:gd name="T72" fmla="*/ 7346 w 188"/>
                <a:gd name="T73" fmla="*/ 138112 h 137"/>
                <a:gd name="T74" fmla="*/ 1469 w 188"/>
                <a:gd name="T75" fmla="*/ 127000 h 137"/>
                <a:gd name="T76" fmla="*/ 0 w 188"/>
                <a:gd name="T77" fmla="*/ 114300 h 137"/>
                <a:gd name="T78" fmla="*/ 10285 w 188"/>
                <a:gd name="T79" fmla="*/ 96837 h 137"/>
                <a:gd name="T80" fmla="*/ 20570 w 188"/>
                <a:gd name="T81" fmla="*/ 76200 h 137"/>
                <a:gd name="T82" fmla="*/ 20570 w 188"/>
                <a:gd name="T83" fmla="*/ 55562 h 137"/>
                <a:gd name="T84" fmla="*/ 17631 w 188"/>
                <a:gd name="T85" fmla="*/ 38100 h 137"/>
                <a:gd name="T86" fmla="*/ 16162 w 188"/>
                <a:gd name="T87" fmla="*/ 34925 h 137"/>
                <a:gd name="T88" fmla="*/ 16162 w 188"/>
                <a:gd name="T89" fmla="*/ 33337 h 137"/>
                <a:gd name="T90" fmla="*/ 16162 w 188"/>
                <a:gd name="T91" fmla="*/ 33337 h 137"/>
                <a:gd name="T92" fmla="*/ 17631 w 188"/>
                <a:gd name="T93" fmla="*/ 33337 h 137"/>
                <a:gd name="T94" fmla="*/ 42609 w 188"/>
                <a:gd name="T95" fmla="*/ 12700 h 137"/>
                <a:gd name="T96" fmla="*/ 61710 w 188"/>
                <a:gd name="T97" fmla="*/ 0 h 137"/>
                <a:gd name="T98" fmla="*/ 74933 w 188"/>
                <a:gd name="T99" fmla="*/ 12700 h 137"/>
                <a:gd name="T100" fmla="*/ 83749 w 188"/>
                <a:gd name="T101" fmla="*/ 30162 h 137"/>
                <a:gd name="T102" fmla="*/ 89626 w 188"/>
                <a:gd name="T103" fmla="*/ 38100 h 137"/>
                <a:gd name="T104" fmla="*/ 96973 w 188"/>
                <a:gd name="T105" fmla="*/ 44450 h 137"/>
                <a:gd name="T106" fmla="*/ 105788 w 188"/>
                <a:gd name="T107" fmla="*/ 50800 h 137"/>
                <a:gd name="T108" fmla="*/ 113135 w 188"/>
                <a:gd name="T109" fmla="*/ 53975 h 137"/>
                <a:gd name="T110" fmla="*/ 129297 w 188"/>
                <a:gd name="T111" fmla="*/ 53975 h 137"/>
                <a:gd name="T112" fmla="*/ 142520 w 188"/>
                <a:gd name="T113" fmla="*/ 53975 h 137"/>
                <a:gd name="T114" fmla="*/ 154275 w 188"/>
                <a:gd name="T115" fmla="*/ 50800 h 137"/>
                <a:gd name="T116" fmla="*/ 167498 w 188"/>
                <a:gd name="T117" fmla="*/ 47625 h 137"/>
                <a:gd name="T118" fmla="*/ 192476 w 188"/>
                <a:gd name="T119" fmla="*/ 38100 h 137"/>
                <a:gd name="T120" fmla="*/ 211577 w 188"/>
                <a:gd name="T121" fmla="*/ 34925 h 137"/>
                <a:gd name="T122" fmla="*/ 218923 w 188"/>
                <a:gd name="T123" fmla="*/ 38100 h 137"/>
                <a:gd name="T124" fmla="*/ 227739 w 188"/>
                <a:gd name="T125" fmla="*/ 44450 h 13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8"/>
                <a:gd name="T190" fmla="*/ 0 h 137"/>
                <a:gd name="T191" fmla="*/ 188 w 188"/>
                <a:gd name="T192" fmla="*/ 137 h 13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8" h="137">
                  <a:moveTo>
                    <a:pt x="155" y="28"/>
                  </a:moveTo>
                  <a:lnTo>
                    <a:pt x="155" y="39"/>
                  </a:lnTo>
                  <a:lnTo>
                    <a:pt x="157" y="50"/>
                  </a:lnTo>
                  <a:lnTo>
                    <a:pt x="169" y="58"/>
                  </a:lnTo>
                  <a:lnTo>
                    <a:pt x="181" y="63"/>
                  </a:lnTo>
                  <a:lnTo>
                    <a:pt x="184" y="69"/>
                  </a:lnTo>
                  <a:lnTo>
                    <a:pt x="186" y="72"/>
                  </a:lnTo>
                  <a:lnTo>
                    <a:pt x="188" y="78"/>
                  </a:lnTo>
                  <a:lnTo>
                    <a:pt x="188" y="83"/>
                  </a:lnTo>
                  <a:lnTo>
                    <a:pt x="171" y="107"/>
                  </a:lnTo>
                  <a:lnTo>
                    <a:pt x="160" y="132"/>
                  </a:lnTo>
                  <a:lnTo>
                    <a:pt x="145" y="124"/>
                  </a:lnTo>
                  <a:lnTo>
                    <a:pt x="133" y="120"/>
                  </a:lnTo>
                  <a:lnTo>
                    <a:pt x="121" y="115"/>
                  </a:lnTo>
                  <a:lnTo>
                    <a:pt x="110" y="115"/>
                  </a:lnTo>
                  <a:lnTo>
                    <a:pt x="101" y="111"/>
                  </a:lnTo>
                  <a:lnTo>
                    <a:pt x="92" y="109"/>
                  </a:lnTo>
                  <a:lnTo>
                    <a:pt x="83" y="117"/>
                  </a:lnTo>
                  <a:lnTo>
                    <a:pt x="81" y="124"/>
                  </a:lnTo>
                  <a:lnTo>
                    <a:pt x="72" y="122"/>
                  </a:lnTo>
                  <a:lnTo>
                    <a:pt x="62" y="120"/>
                  </a:lnTo>
                  <a:lnTo>
                    <a:pt x="55" y="128"/>
                  </a:lnTo>
                  <a:lnTo>
                    <a:pt x="46" y="137"/>
                  </a:lnTo>
                  <a:lnTo>
                    <a:pt x="40" y="133"/>
                  </a:lnTo>
                  <a:lnTo>
                    <a:pt x="38" y="130"/>
                  </a:lnTo>
                  <a:lnTo>
                    <a:pt x="35" y="124"/>
                  </a:lnTo>
                  <a:lnTo>
                    <a:pt x="33" y="119"/>
                  </a:lnTo>
                  <a:lnTo>
                    <a:pt x="16" y="111"/>
                  </a:lnTo>
                  <a:lnTo>
                    <a:pt x="1" y="104"/>
                  </a:lnTo>
                  <a:lnTo>
                    <a:pt x="5" y="98"/>
                  </a:lnTo>
                  <a:lnTo>
                    <a:pt x="5" y="95"/>
                  </a:lnTo>
                  <a:lnTo>
                    <a:pt x="5" y="91"/>
                  </a:lnTo>
                  <a:lnTo>
                    <a:pt x="5" y="87"/>
                  </a:lnTo>
                  <a:lnTo>
                    <a:pt x="1" y="80"/>
                  </a:lnTo>
                  <a:lnTo>
                    <a:pt x="0" y="72"/>
                  </a:lnTo>
                  <a:lnTo>
                    <a:pt x="7" y="61"/>
                  </a:lnTo>
                  <a:lnTo>
                    <a:pt x="14" y="48"/>
                  </a:lnTo>
                  <a:lnTo>
                    <a:pt x="14" y="35"/>
                  </a:lnTo>
                  <a:lnTo>
                    <a:pt x="12" y="24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29" y="8"/>
                  </a:lnTo>
                  <a:lnTo>
                    <a:pt x="42" y="0"/>
                  </a:lnTo>
                  <a:lnTo>
                    <a:pt x="51" y="8"/>
                  </a:lnTo>
                  <a:lnTo>
                    <a:pt x="57" y="19"/>
                  </a:lnTo>
                  <a:lnTo>
                    <a:pt x="61" y="24"/>
                  </a:lnTo>
                  <a:lnTo>
                    <a:pt x="66" y="28"/>
                  </a:lnTo>
                  <a:lnTo>
                    <a:pt x="72" y="32"/>
                  </a:lnTo>
                  <a:lnTo>
                    <a:pt x="77" y="34"/>
                  </a:lnTo>
                  <a:lnTo>
                    <a:pt x="88" y="34"/>
                  </a:lnTo>
                  <a:lnTo>
                    <a:pt x="97" y="34"/>
                  </a:lnTo>
                  <a:lnTo>
                    <a:pt x="105" y="32"/>
                  </a:lnTo>
                  <a:lnTo>
                    <a:pt x="114" y="30"/>
                  </a:lnTo>
                  <a:lnTo>
                    <a:pt x="131" y="24"/>
                  </a:lnTo>
                  <a:lnTo>
                    <a:pt x="144" y="22"/>
                  </a:lnTo>
                  <a:lnTo>
                    <a:pt x="149" y="24"/>
                  </a:lnTo>
                  <a:lnTo>
                    <a:pt x="155" y="28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98" name="Freeform 96"/>
            <p:cNvSpPr>
              <a:spLocks/>
            </p:cNvSpPr>
            <p:nvPr/>
          </p:nvSpPr>
          <p:spPr bwMode="auto">
            <a:xfrm>
              <a:off x="1946810" y="3292901"/>
              <a:ext cx="250301" cy="293585"/>
            </a:xfrm>
            <a:custGeom>
              <a:avLst/>
              <a:gdLst>
                <a:gd name="T0" fmla="*/ 41055 w 144"/>
                <a:gd name="T1" fmla="*/ 196850 h 156"/>
                <a:gd name="T2" fmla="*/ 41055 w 144"/>
                <a:gd name="T3" fmla="*/ 196850 h 156"/>
                <a:gd name="T4" fmla="*/ 41055 w 144"/>
                <a:gd name="T5" fmla="*/ 196850 h 156"/>
                <a:gd name="T6" fmla="*/ 45453 w 144"/>
                <a:gd name="T7" fmla="*/ 209550 h 156"/>
                <a:gd name="T8" fmla="*/ 54251 w 144"/>
                <a:gd name="T9" fmla="*/ 223838 h 156"/>
                <a:gd name="T10" fmla="*/ 63048 w 144"/>
                <a:gd name="T11" fmla="*/ 231775 h 156"/>
                <a:gd name="T12" fmla="*/ 67447 w 144"/>
                <a:gd name="T13" fmla="*/ 238125 h 156"/>
                <a:gd name="T14" fmla="*/ 76244 w 144"/>
                <a:gd name="T15" fmla="*/ 244475 h 156"/>
                <a:gd name="T16" fmla="*/ 80643 w 144"/>
                <a:gd name="T17" fmla="*/ 247650 h 156"/>
                <a:gd name="T18" fmla="*/ 102637 w 144"/>
                <a:gd name="T19" fmla="*/ 231775 h 156"/>
                <a:gd name="T20" fmla="*/ 146624 w 144"/>
                <a:gd name="T21" fmla="*/ 214313 h 156"/>
                <a:gd name="T22" fmla="*/ 153955 w 144"/>
                <a:gd name="T23" fmla="*/ 206375 h 156"/>
                <a:gd name="T24" fmla="*/ 162752 w 144"/>
                <a:gd name="T25" fmla="*/ 196850 h 156"/>
                <a:gd name="T26" fmla="*/ 178881 w 144"/>
                <a:gd name="T27" fmla="*/ 168275 h 156"/>
                <a:gd name="T28" fmla="*/ 189144 w 144"/>
                <a:gd name="T29" fmla="*/ 131762 h 156"/>
                <a:gd name="T30" fmla="*/ 197942 w 144"/>
                <a:gd name="T31" fmla="*/ 123825 h 156"/>
                <a:gd name="T32" fmla="*/ 205273 w 144"/>
                <a:gd name="T33" fmla="*/ 112713 h 156"/>
                <a:gd name="T34" fmla="*/ 208206 w 144"/>
                <a:gd name="T35" fmla="*/ 100012 h 156"/>
                <a:gd name="T36" fmla="*/ 211138 w 144"/>
                <a:gd name="T37" fmla="*/ 88900 h 156"/>
                <a:gd name="T38" fmla="*/ 203807 w 144"/>
                <a:gd name="T39" fmla="*/ 74612 h 156"/>
                <a:gd name="T40" fmla="*/ 195009 w 144"/>
                <a:gd name="T41" fmla="*/ 58738 h 156"/>
                <a:gd name="T42" fmla="*/ 184746 w 144"/>
                <a:gd name="T43" fmla="*/ 44450 h 156"/>
                <a:gd name="T44" fmla="*/ 173016 w 144"/>
                <a:gd name="T45" fmla="*/ 33337 h 156"/>
                <a:gd name="T46" fmla="*/ 173016 w 144"/>
                <a:gd name="T47" fmla="*/ 33337 h 156"/>
                <a:gd name="T48" fmla="*/ 173016 w 144"/>
                <a:gd name="T49" fmla="*/ 36512 h 156"/>
                <a:gd name="T50" fmla="*/ 151022 w 144"/>
                <a:gd name="T51" fmla="*/ 23812 h 156"/>
                <a:gd name="T52" fmla="*/ 133427 w 144"/>
                <a:gd name="T53" fmla="*/ 17462 h 156"/>
                <a:gd name="T54" fmla="*/ 115833 w 144"/>
                <a:gd name="T55" fmla="*/ 9525 h 156"/>
                <a:gd name="T56" fmla="*/ 99704 w 144"/>
                <a:gd name="T57" fmla="*/ 9525 h 156"/>
                <a:gd name="T58" fmla="*/ 86508 w 144"/>
                <a:gd name="T59" fmla="*/ 3175 h 156"/>
                <a:gd name="T60" fmla="*/ 73312 w 144"/>
                <a:gd name="T61" fmla="*/ 0 h 156"/>
                <a:gd name="T62" fmla="*/ 60116 w 144"/>
                <a:gd name="T63" fmla="*/ 12700 h 156"/>
                <a:gd name="T64" fmla="*/ 57183 w 144"/>
                <a:gd name="T65" fmla="*/ 23812 h 156"/>
                <a:gd name="T66" fmla="*/ 43987 w 144"/>
                <a:gd name="T67" fmla="*/ 20637 h 156"/>
                <a:gd name="T68" fmla="*/ 29325 w 144"/>
                <a:gd name="T69" fmla="*/ 17462 h 156"/>
                <a:gd name="T70" fmla="*/ 19061 w 144"/>
                <a:gd name="T71" fmla="*/ 30163 h 156"/>
                <a:gd name="T72" fmla="*/ 5865 w 144"/>
                <a:gd name="T73" fmla="*/ 44450 h 156"/>
                <a:gd name="T74" fmla="*/ 2932 w 144"/>
                <a:gd name="T75" fmla="*/ 74612 h 156"/>
                <a:gd name="T76" fmla="*/ 0 w 144"/>
                <a:gd name="T77" fmla="*/ 103188 h 156"/>
                <a:gd name="T78" fmla="*/ 5865 w 144"/>
                <a:gd name="T79" fmla="*/ 117475 h 156"/>
                <a:gd name="T80" fmla="*/ 10264 w 144"/>
                <a:gd name="T81" fmla="*/ 130175 h 156"/>
                <a:gd name="T82" fmla="*/ 19061 w 144"/>
                <a:gd name="T83" fmla="*/ 141287 h 156"/>
                <a:gd name="T84" fmla="*/ 29325 w 144"/>
                <a:gd name="T85" fmla="*/ 152400 h 156"/>
                <a:gd name="T86" fmla="*/ 35190 w 144"/>
                <a:gd name="T87" fmla="*/ 173037 h 156"/>
                <a:gd name="T88" fmla="*/ 41055 w 144"/>
                <a:gd name="T89" fmla="*/ 196850 h 15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156"/>
                <a:gd name="T137" fmla="*/ 144 w 144"/>
                <a:gd name="T138" fmla="*/ 156 h 15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156">
                  <a:moveTo>
                    <a:pt x="28" y="124"/>
                  </a:moveTo>
                  <a:lnTo>
                    <a:pt x="28" y="124"/>
                  </a:lnTo>
                  <a:lnTo>
                    <a:pt x="31" y="132"/>
                  </a:lnTo>
                  <a:lnTo>
                    <a:pt x="37" y="141"/>
                  </a:lnTo>
                  <a:lnTo>
                    <a:pt x="43" y="146"/>
                  </a:lnTo>
                  <a:lnTo>
                    <a:pt x="46" y="150"/>
                  </a:lnTo>
                  <a:lnTo>
                    <a:pt x="52" y="154"/>
                  </a:lnTo>
                  <a:lnTo>
                    <a:pt x="55" y="156"/>
                  </a:lnTo>
                  <a:lnTo>
                    <a:pt x="70" y="146"/>
                  </a:lnTo>
                  <a:lnTo>
                    <a:pt x="100" y="135"/>
                  </a:lnTo>
                  <a:lnTo>
                    <a:pt x="105" y="130"/>
                  </a:lnTo>
                  <a:lnTo>
                    <a:pt x="111" y="124"/>
                  </a:lnTo>
                  <a:lnTo>
                    <a:pt x="122" y="106"/>
                  </a:lnTo>
                  <a:lnTo>
                    <a:pt x="129" y="83"/>
                  </a:lnTo>
                  <a:lnTo>
                    <a:pt x="135" y="78"/>
                  </a:lnTo>
                  <a:lnTo>
                    <a:pt x="140" y="71"/>
                  </a:lnTo>
                  <a:lnTo>
                    <a:pt x="142" y="63"/>
                  </a:lnTo>
                  <a:lnTo>
                    <a:pt x="144" y="56"/>
                  </a:lnTo>
                  <a:lnTo>
                    <a:pt x="139" y="47"/>
                  </a:lnTo>
                  <a:lnTo>
                    <a:pt x="133" y="37"/>
                  </a:lnTo>
                  <a:lnTo>
                    <a:pt x="126" y="28"/>
                  </a:lnTo>
                  <a:lnTo>
                    <a:pt x="118" y="21"/>
                  </a:lnTo>
                  <a:lnTo>
                    <a:pt x="118" y="23"/>
                  </a:lnTo>
                  <a:lnTo>
                    <a:pt x="103" y="15"/>
                  </a:lnTo>
                  <a:lnTo>
                    <a:pt x="91" y="11"/>
                  </a:lnTo>
                  <a:lnTo>
                    <a:pt x="79" y="6"/>
                  </a:lnTo>
                  <a:lnTo>
                    <a:pt x="68" y="6"/>
                  </a:lnTo>
                  <a:lnTo>
                    <a:pt x="59" y="2"/>
                  </a:lnTo>
                  <a:lnTo>
                    <a:pt x="50" y="0"/>
                  </a:lnTo>
                  <a:lnTo>
                    <a:pt x="41" y="8"/>
                  </a:lnTo>
                  <a:lnTo>
                    <a:pt x="39" y="15"/>
                  </a:lnTo>
                  <a:lnTo>
                    <a:pt x="30" y="13"/>
                  </a:lnTo>
                  <a:lnTo>
                    <a:pt x="20" y="11"/>
                  </a:lnTo>
                  <a:lnTo>
                    <a:pt x="13" y="19"/>
                  </a:lnTo>
                  <a:lnTo>
                    <a:pt x="4" y="28"/>
                  </a:lnTo>
                  <a:lnTo>
                    <a:pt x="2" y="47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7" y="82"/>
                  </a:lnTo>
                  <a:lnTo>
                    <a:pt x="13" y="89"/>
                  </a:lnTo>
                  <a:lnTo>
                    <a:pt x="20" y="96"/>
                  </a:lnTo>
                  <a:lnTo>
                    <a:pt x="24" y="109"/>
                  </a:lnTo>
                  <a:lnTo>
                    <a:pt x="28" y="124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99" name="Freeform 97"/>
            <p:cNvSpPr>
              <a:spLocks/>
            </p:cNvSpPr>
            <p:nvPr/>
          </p:nvSpPr>
          <p:spPr bwMode="auto">
            <a:xfrm>
              <a:off x="2123715" y="3038838"/>
              <a:ext cx="306760" cy="434731"/>
            </a:xfrm>
            <a:custGeom>
              <a:avLst/>
              <a:gdLst>
                <a:gd name="T0" fmla="*/ 232448 w 177"/>
                <a:gd name="T1" fmla="*/ 171450 h 231"/>
                <a:gd name="T2" fmla="*/ 204671 w 177"/>
                <a:gd name="T3" fmla="*/ 203200 h 231"/>
                <a:gd name="T4" fmla="*/ 194438 w 177"/>
                <a:gd name="T5" fmla="*/ 234950 h 231"/>
                <a:gd name="T6" fmla="*/ 188590 w 177"/>
                <a:gd name="T7" fmla="*/ 258762 h 231"/>
                <a:gd name="T8" fmla="*/ 191514 w 177"/>
                <a:gd name="T9" fmla="*/ 285750 h 231"/>
                <a:gd name="T10" fmla="*/ 213443 w 177"/>
                <a:gd name="T11" fmla="*/ 300037 h 231"/>
                <a:gd name="T12" fmla="*/ 229524 w 177"/>
                <a:gd name="T13" fmla="*/ 306387 h 231"/>
                <a:gd name="T14" fmla="*/ 229524 w 177"/>
                <a:gd name="T15" fmla="*/ 338137 h 231"/>
                <a:gd name="T16" fmla="*/ 223677 w 177"/>
                <a:gd name="T17" fmla="*/ 358775 h 231"/>
                <a:gd name="T18" fmla="*/ 204671 w 177"/>
                <a:gd name="T19" fmla="*/ 355600 h 231"/>
                <a:gd name="T20" fmla="*/ 178356 w 177"/>
                <a:gd name="T21" fmla="*/ 358775 h 231"/>
                <a:gd name="T22" fmla="*/ 143270 w 177"/>
                <a:gd name="T23" fmla="*/ 365125 h 231"/>
                <a:gd name="T24" fmla="*/ 121341 w 177"/>
                <a:gd name="T25" fmla="*/ 355600 h 231"/>
                <a:gd name="T26" fmla="*/ 108183 w 177"/>
                <a:gd name="T27" fmla="*/ 344487 h 231"/>
                <a:gd name="T28" fmla="*/ 96488 w 177"/>
                <a:gd name="T29" fmla="*/ 334962 h 231"/>
                <a:gd name="T30" fmla="*/ 77483 w 177"/>
                <a:gd name="T31" fmla="*/ 349250 h 231"/>
                <a:gd name="T32" fmla="*/ 54092 w 177"/>
                <a:gd name="T33" fmla="*/ 361950 h 231"/>
                <a:gd name="T34" fmla="*/ 39472 w 177"/>
                <a:gd name="T35" fmla="*/ 349250 h 231"/>
                <a:gd name="T36" fmla="*/ 48244 w 177"/>
                <a:gd name="T37" fmla="*/ 338137 h 231"/>
                <a:gd name="T38" fmla="*/ 58478 w 177"/>
                <a:gd name="T39" fmla="*/ 314325 h 231"/>
                <a:gd name="T40" fmla="*/ 54092 w 177"/>
                <a:gd name="T41" fmla="*/ 288925 h 231"/>
                <a:gd name="T42" fmla="*/ 35087 w 177"/>
                <a:gd name="T43" fmla="*/ 258762 h 231"/>
                <a:gd name="T44" fmla="*/ 39472 w 177"/>
                <a:gd name="T45" fmla="*/ 211137 h 231"/>
                <a:gd name="T46" fmla="*/ 64325 w 177"/>
                <a:gd name="T47" fmla="*/ 165100 h 231"/>
                <a:gd name="T48" fmla="*/ 58478 w 177"/>
                <a:gd name="T49" fmla="*/ 150812 h 231"/>
                <a:gd name="T50" fmla="*/ 36548 w 177"/>
                <a:gd name="T51" fmla="*/ 133350 h 231"/>
                <a:gd name="T52" fmla="*/ 16081 w 177"/>
                <a:gd name="T53" fmla="*/ 103187 h 231"/>
                <a:gd name="T54" fmla="*/ 7310 w 177"/>
                <a:gd name="T55" fmla="*/ 79375 h 231"/>
                <a:gd name="T56" fmla="*/ 0 w 177"/>
                <a:gd name="T57" fmla="*/ 65087 h 231"/>
                <a:gd name="T58" fmla="*/ 16081 w 177"/>
                <a:gd name="T59" fmla="*/ 47625 h 231"/>
                <a:gd name="T60" fmla="*/ 36548 w 177"/>
                <a:gd name="T61" fmla="*/ 41275 h 231"/>
                <a:gd name="T62" fmla="*/ 48244 w 177"/>
                <a:gd name="T63" fmla="*/ 36512 h 231"/>
                <a:gd name="T64" fmla="*/ 54092 w 177"/>
                <a:gd name="T65" fmla="*/ 19050 h 231"/>
                <a:gd name="T66" fmla="*/ 70173 w 177"/>
                <a:gd name="T67" fmla="*/ 12700 h 231"/>
                <a:gd name="T68" fmla="*/ 109645 w 177"/>
                <a:gd name="T69" fmla="*/ 6350 h 231"/>
                <a:gd name="T70" fmla="*/ 125727 w 177"/>
                <a:gd name="T71" fmla="*/ 23812 h 231"/>
                <a:gd name="T72" fmla="*/ 134498 w 177"/>
                <a:gd name="T73" fmla="*/ 61912 h 231"/>
                <a:gd name="T74" fmla="*/ 156427 w 177"/>
                <a:gd name="T75" fmla="*/ 65087 h 231"/>
                <a:gd name="T76" fmla="*/ 178356 w 177"/>
                <a:gd name="T77" fmla="*/ 76200 h 231"/>
                <a:gd name="T78" fmla="*/ 217829 w 177"/>
                <a:gd name="T79" fmla="*/ 95250 h 231"/>
                <a:gd name="T80" fmla="*/ 242682 w 177"/>
                <a:gd name="T81" fmla="*/ 103187 h 231"/>
                <a:gd name="T82" fmla="*/ 258763 w 177"/>
                <a:gd name="T83" fmla="*/ 123825 h 231"/>
                <a:gd name="T84" fmla="*/ 255839 w 177"/>
                <a:gd name="T85" fmla="*/ 150812 h 23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7"/>
                <a:gd name="T130" fmla="*/ 0 h 231"/>
                <a:gd name="T131" fmla="*/ 177 w 177"/>
                <a:gd name="T132" fmla="*/ 231 h 23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7" h="231">
                  <a:moveTo>
                    <a:pt x="175" y="98"/>
                  </a:moveTo>
                  <a:lnTo>
                    <a:pt x="159" y="108"/>
                  </a:lnTo>
                  <a:lnTo>
                    <a:pt x="146" y="117"/>
                  </a:lnTo>
                  <a:lnTo>
                    <a:pt x="140" y="128"/>
                  </a:lnTo>
                  <a:lnTo>
                    <a:pt x="138" y="141"/>
                  </a:lnTo>
                  <a:lnTo>
                    <a:pt x="133" y="148"/>
                  </a:lnTo>
                  <a:lnTo>
                    <a:pt x="129" y="156"/>
                  </a:lnTo>
                  <a:lnTo>
                    <a:pt x="129" y="163"/>
                  </a:lnTo>
                  <a:lnTo>
                    <a:pt x="129" y="172"/>
                  </a:lnTo>
                  <a:lnTo>
                    <a:pt x="131" y="180"/>
                  </a:lnTo>
                  <a:lnTo>
                    <a:pt x="133" y="187"/>
                  </a:lnTo>
                  <a:lnTo>
                    <a:pt x="146" y="189"/>
                  </a:lnTo>
                  <a:lnTo>
                    <a:pt x="155" y="187"/>
                  </a:lnTo>
                  <a:lnTo>
                    <a:pt x="157" y="193"/>
                  </a:lnTo>
                  <a:lnTo>
                    <a:pt x="157" y="207"/>
                  </a:lnTo>
                  <a:lnTo>
                    <a:pt x="157" y="213"/>
                  </a:lnTo>
                  <a:lnTo>
                    <a:pt x="155" y="220"/>
                  </a:lnTo>
                  <a:lnTo>
                    <a:pt x="153" y="226"/>
                  </a:lnTo>
                  <a:lnTo>
                    <a:pt x="149" y="231"/>
                  </a:lnTo>
                  <a:lnTo>
                    <a:pt x="140" y="224"/>
                  </a:lnTo>
                  <a:lnTo>
                    <a:pt x="131" y="222"/>
                  </a:lnTo>
                  <a:lnTo>
                    <a:pt x="122" y="226"/>
                  </a:lnTo>
                  <a:lnTo>
                    <a:pt x="110" y="230"/>
                  </a:lnTo>
                  <a:lnTo>
                    <a:pt x="98" y="230"/>
                  </a:lnTo>
                  <a:lnTo>
                    <a:pt x="90" y="226"/>
                  </a:lnTo>
                  <a:lnTo>
                    <a:pt x="83" y="224"/>
                  </a:lnTo>
                  <a:lnTo>
                    <a:pt x="79" y="220"/>
                  </a:lnTo>
                  <a:lnTo>
                    <a:pt x="74" y="217"/>
                  </a:lnTo>
                  <a:lnTo>
                    <a:pt x="70" y="213"/>
                  </a:lnTo>
                  <a:lnTo>
                    <a:pt x="66" y="211"/>
                  </a:lnTo>
                  <a:lnTo>
                    <a:pt x="61" y="211"/>
                  </a:lnTo>
                  <a:lnTo>
                    <a:pt x="53" y="220"/>
                  </a:lnTo>
                  <a:lnTo>
                    <a:pt x="48" y="230"/>
                  </a:lnTo>
                  <a:lnTo>
                    <a:pt x="37" y="228"/>
                  </a:lnTo>
                  <a:lnTo>
                    <a:pt x="27" y="220"/>
                  </a:lnTo>
                  <a:lnTo>
                    <a:pt x="27" y="218"/>
                  </a:lnTo>
                  <a:lnTo>
                    <a:pt x="33" y="213"/>
                  </a:lnTo>
                  <a:lnTo>
                    <a:pt x="38" y="206"/>
                  </a:lnTo>
                  <a:lnTo>
                    <a:pt x="40" y="198"/>
                  </a:lnTo>
                  <a:lnTo>
                    <a:pt x="42" y="191"/>
                  </a:lnTo>
                  <a:lnTo>
                    <a:pt x="37" y="182"/>
                  </a:lnTo>
                  <a:lnTo>
                    <a:pt x="31" y="172"/>
                  </a:lnTo>
                  <a:lnTo>
                    <a:pt x="24" y="163"/>
                  </a:lnTo>
                  <a:lnTo>
                    <a:pt x="16" y="156"/>
                  </a:lnTo>
                  <a:lnTo>
                    <a:pt x="27" y="133"/>
                  </a:lnTo>
                  <a:lnTo>
                    <a:pt x="44" y="109"/>
                  </a:lnTo>
                  <a:lnTo>
                    <a:pt x="44" y="104"/>
                  </a:lnTo>
                  <a:lnTo>
                    <a:pt x="42" y="98"/>
                  </a:lnTo>
                  <a:lnTo>
                    <a:pt x="40" y="95"/>
                  </a:lnTo>
                  <a:lnTo>
                    <a:pt x="37" y="89"/>
                  </a:lnTo>
                  <a:lnTo>
                    <a:pt x="25" y="84"/>
                  </a:lnTo>
                  <a:lnTo>
                    <a:pt x="13" y="76"/>
                  </a:lnTo>
                  <a:lnTo>
                    <a:pt x="11" y="65"/>
                  </a:lnTo>
                  <a:lnTo>
                    <a:pt x="11" y="54"/>
                  </a:lnTo>
                  <a:lnTo>
                    <a:pt x="5" y="50"/>
                  </a:lnTo>
                  <a:lnTo>
                    <a:pt x="0" y="48"/>
                  </a:lnTo>
                  <a:lnTo>
                    <a:pt x="0" y="41"/>
                  </a:lnTo>
                  <a:lnTo>
                    <a:pt x="3" y="34"/>
                  </a:lnTo>
                  <a:lnTo>
                    <a:pt x="11" y="30"/>
                  </a:lnTo>
                  <a:lnTo>
                    <a:pt x="20" y="28"/>
                  </a:lnTo>
                  <a:lnTo>
                    <a:pt x="25" y="26"/>
                  </a:lnTo>
                  <a:lnTo>
                    <a:pt x="29" y="24"/>
                  </a:lnTo>
                  <a:lnTo>
                    <a:pt x="33" y="23"/>
                  </a:lnTo>
                  <a:lnTo>
                    <a:pt x="35" y="19"/>
                  </a:lnTo>
                  <a:lnTo>
                    <a:pt x="37" y="12"/>
                  </a:lnTo>
                  <a:lnTo>
                    <a:pt x="37" y="0"/>
                  </a:lnTo>
                  <a:lnTo>
                    <a:pt x="48" y="8"/>
                  </a:lnTo>
                  <a:lnTo>
                    <a:pt x="57" y="12"/>
                  </a:lnTo>
                  <a:lnTo>
                    <a:pt x="75" y="4"/>
                  </a:lnTo>
                  <a:lnTo>
                    <a:pt x="85" y="0"/>
                  </a:lnTo>
                  <a:lnTo>
                    <a:pt x="86" y="15"/>
                  </a:lnTo>
                  <a:lnTo>
                    <a:pt x="86" y="36"/>
                  </a:lnTo>
                  <a:lnTo>
                    <a:pt x="92" y="39"/>
                  </a:lnTo>
                  <a:lnTo>
                    <a:pt x="99" y="41"/>
                  </a:lnTo>
                  <a:lnTo>
                    <a:pt x="107" y="41"/>
                  </a:lnTo>
                  <a:lnTo>
                    <a:pt x="112" y="43"/>
                  </a:lnTo>
                  <a:lnTo>
                    <a:pt x="122" y="48"/>
                  </a:lnTo>
                  <a:lnTo>
                    <a:pt x="142" y="54"/>
                  </a:lnTo>
                  <a:lnTo>
                    <a:pt x="149" y="60"/>
                  </a:lnTo>
                  <a:lnTo>
                    <a:pt x="155" y="67"/>
                  </a:lnTo>
                  <a:lnTo>
                    <a:pt x="166" y="65"/>
                  </a:lnTo>
                  <a:lnTo>
                    <a:pt x="175" y="65"/>
                  </a:lnTo>
                  <a:lnTo>
                    <a:pt x="177" y="78"/>
                  </a:lnTo>
                  <a:lnTo>
                    <a:pt x="177" y="89"/>
                  </a:lnTo>
                  <a:lnTo>
                    <a:pt x="175" y="95"/>
                  </a:lnTo>
                  <a:lnTo>
                    <a:pt x="175" y="98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00" name="Freeform 98"/>
            <p:cNvSpPr>
              <a:spLocks/>
            </p:cNvSpPr>
            <p:nvPr/>
          </p:nvSpPr>
          <p:spPr bwMode="auto">
            <a:xfrm>
              <a:off x="2116187" y="3435931"/>
              <a:ext cx="344399" cy="344399"/>
            </a:xfrm>
            <a:custGeom>
              <a:avLst/>
              <a:gdLst>
                <a:gd name="T0" fmla="*/ 60157 w 198"/>
                <a:gd name="T1" fmla="*/ 26988 h 183"/>
                <a:gd name="T2" fmla="*/ 83633 w 198"/>
                <a:gd name="T3" fmla="*/ 14288 h 183"/>
                <a:gd name="T4" fmla="*/ 102707 w 198"/>
                <a:gd name="T5" fmla="*/ 0 h 183"/>
                <a:gd name="T6" fmla="*/ 114445 w 198"/>
                <a:gd name="T7" fmla="*/ 9525 h 183"/>
                <a:gd name="T8" fmla="*/ 127650 w 198"/>
                <a:gd name="T9" fmla="*/ 20638 h 183"/>
                <a:gd name="T10" fmla="*/ 149658 w 198"/>
                <a:gd name="T11" fmla="*/ 30163 h 183"/>
                <a:gd name="T12" fmla="*/ 184872 w 198"/>
                <a:gd name="T13" fmla="*/ 23813 h 183"/>
                <a:gd name="T14" fmla="*/ 208348 w 198"/>
                <a:gd name="T15" fmla="*/ 20638 h 183"/>
                <a:gd name="T16" fmla="*/ 230356 w 198"/>
                <a:gd name="T17" fmla="*/ 34925 h 183"/>
                <a:gd name="T18" fmla="*/ 240627 w 198"/>
                <a:gd name="T19" fmla="*/ 61913 h 183"/>
                <a:gd name="T20" fmla="*/ 256767 w 198"/>
                <a:gd name="T21" fmla="*/ 103188 h 183"/>
                <a:gd name="T22" fmla="*/ 275841 w 198"/>
                <a:gd name="T23" fmla="*/ 146050 h 183"/>
                <a:gd name="T24" fmla="*/ 287579 w 198"/>
                <a:gd name="T25" fmla="*/ 176213 h 183"/>
                <a:gd name="T26" fmla="*/ 284644 w 198"/>
                <a:gd name="T27" fmla="*/ 190500 h 183"/>
                <a:gd name="T28" fmla="*/ 275841 w 198"/>
                <a:gd name="T29" fmla="*/ 203200 h 183"/>
                <a:gd name="T30" fmla="*/ 275841 w 198"/>
                <a:gd name="T31" fmla="*/ 207963 h 183"/>
                <a:gd name="T32" fmla="*/ 262635 w 198"/>
                <a:gd name="T33" fmla="*/ 220663 h 183"/>
                <a:gd name="T34" fmla="*/ 246496 w 198"/>
                <a:gd name="T35" fmla="*/ 246063 h 183"/>
                <a:gd name="T36" fmla="*/ 227422 w 198"/>
                <a:gd name="T37" fmla="*/ 261938 h 183"/>
                <a:gd name="T38" fmla="*/ 217151 w 198"/>
                <a:gd name="T39" fmla="*/ 273050 h 183"/>
                <a:gd name="T40" fmla="*/ 201012 w 198"/>
                <a:gd name="T41" fmla="*/ 276225 h 183"/>
                <a:gd name="T42" fmla="*/ 179003 w 198"/>
                <a:gd name="T43" fmla="*/ 279400 h 183"/>
                <a:gd name="T44" fmla="*/ 173134 w 198"/>
                <a:gd name="T45" fmla="*/ 290513 h 183"/>
                <a:gd name="T46" fmla="*/ 162863 w 198"/>
                <a:gd name="T47" fmla="*/ 284163 h 183"/>
                <a:gd name="T48" fmla="*/ 151125 w 198"/>
                <a:gd name="T49" fmla="*/ 279400 h 183"/>
                <a:gd name="T50" fmla="*/ 140855 w 198"/>
                <a:gd name="T51" fmla="*/ 255588 h 183"/>
                <a:gd name="T52" fmla="*/ 121781 w 198"/>
                <a:gd name="T53" fmla="*/ 238125 h 183"/>
                <a:gd name="T54" fmla="*/ 105641 w 198"/>
                <a:gd name="T55" fmla="*/ 241300 h 183"/>
                <a:gd name="T56" fmla="*/ 92436 w 198"/>
                <a:gd name="T57" fmla="*/ 249238 h 183"/>
                <a:gd name="T58" fmla="*/ 80698 w 198"/>
                <a:gd name="T59" fmla="*/ 223838 h 183"/>
                <a:gd name="T60" fmla="*/ 73362 w 198"/>
                <a:gd name="T61" fmla="*/ 200025 h 183"/>
                <a:gd name="T62" fmla="*/ 60157 w 198"/>
                <a:gd name="T63" fmla="*/ 200025 h 183"/>
                <a:gd name="T64" fmla="*/ 42550 w 198"/>
                <a:gd name="T65" fmla="*/ 200025 h 183"/>
                <a:gd name="T66" fmla="*/ 35214 w 198"/>
                <a:gd name="T67" fmla="*/ 187325 h 183"/>
                <a:gd name="T68" fmla="*/ 35214 w 198"/>
                <a:gd name="T69" fmla="*/ 169863 h 183"/>
                <a:gd name="T70" fmla="*/ 35214 w 198"/>
                <a:gd name="T71" fmla="*/ 161925 h 183"/>
                <a:gd name="T72" fmla="*/ 16140 w 198"/>
                <a:gd name="T73" fmla="*/ 146050 h 183"/>
                <a:gd name="T74" fmla="*/ 2934 w 198"/>
                <a:gd name="T75" fmla="*/ 127000 h 183"/>
                <a:gd name="T76" fmla="*/ 2934 w 198"/>
                <a:gd name="T77" fmla="*/ 93663 h 183"/>
                <a:gd name="T78" fmla="*/ 2934 w 198"/>
                <a:gd name="T79" fmla="*/ 93663 h 183"/>
                <a:gd name="T80" fmla="*/ 19074 w 198"/>
                <a:gd name="T81" fmla="*/ 76200 h 183"/>
                <a:gd name="T82" fmla="*/ 45484 w 198"/>
                <a:gd name="T83" fmla="*/ 14288 h 18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98"/>
                <a:gd name="T127" fmla="*/ 0 h 183"/>
                <a:gd name="T128" fmla="*/ 198 w 198"/>
                <a:gd name="T129" fmla="*/ 183 h 18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98" h="183">
                  <a:moveTo>
                    <a:pt x="31" y="9"/>
                  </a:moveTo>
                  <a:lnTo>
                    <a:pt x="41" y="17"/>
                  </a:lnTo>
                  <a:lnTo>
                    <a:pt x="52" y="19"/>
                  </a:lnTo>
                  <a:lnTo>
                    <a:pt x="57" y="9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4" y="2"/>
                  </a:lnTo>
                  <a:lnTo>
                    <a:pt x="78" y="6"/>
                  </a:lnTo>
                  <a:lnTo>
                    <a:pt x="83" y="9"/>
                  </a:lnTo>
                  <a:lnTo>
                    <a:pt x="87" y="13"/>
                  </a:lnTo>
                  <a:lnTo>
                    <a:pt x="94" y="15"/>
                  </a:lnTo>
                  <a:lnTo>
                    <a:pt x="102" y="19"/>
                  </a:lnTo>
                  <a:lnTo>
                    <a:pt x="114" y="19"/>
                  </a:lnTo>
                  <a:lnTo>
                    <a:pt x="126" y="15"/>
                  </a:lnTo>
                  <a:lnTo>
                    <a:pt x="135" y="11"/>
                  </a:lnTo>
                  <a:lnTo>
                    <a:pt x="142" y="13"/>
                  </a:lnTo>
                  <a:lnTo>
                    <a:pt x="150" y="17"/>
                  </a:lnTo>
                  <a:lnTo>
                    <a:pt x="157" y="22"/>
                  </a:lnTo>
                  <a:lnTo>
                    <a:pt x="163" y="30"/>
                  </a:lnTo>
                  <a:lnTo>
                    <a:pt x="164" y="39"/>
                  </a:lnTo>
                  <a:lnTo>
                    <a:pt x="166" y="50"/>
                  </a:lnTo>
                  <a:lnTo>
                    <a:pt x="175" y="65"/>
                  </a:lnTo>
                  <a:lnTo>
                    <a:pt x="185" y="80"/>
                  </a:lnTo>
                  <a:lnTo>
                    <a:pt x="188" y="92"/>
                  </a:lnTo>
                  <a:lnTo>
                    <a:pt x="190" y="105"/>
                  </a:lnTo>
                  <a:lnTo>
                    <a:pt x="196" y="111"/>
                  </a:lnTo>
                  <a:lnTo>
                    <a:pt x="198" y="115"/>
                  </a:lnTo>
                  <a:lnTo>
                    <a:pt x="194" y="120"/>
                  </a:lnTo>
                  <a:lnTo>
                    <a:pt x="190" y="124"/>
                  </a:lnTo>
                  <a:lnTo>
                    <a:pt x="188" y="128"/>
                  </a:lnTo>
                  <a:lnTo>
                    <a:pt x="188" y="131"/>
                  </a:lnTo>
                  <a:lnTo>
                    <a:pt x="187" y="131"/>
                  </a:lnTo>
                  <a:lnTo>
                    <a:pt x="179" y="139"/>
                  </a:lnTo>
                  <a:lnTo>
                    <a:pt x="174" y="148"/>
                  </a:lnTo>
                  <a:lnTo>
                    <a:pt x="168" y="155"/>
                  </a:lnTo>
                  <a:lnTo>
                    <a:pt x="161" y="163"/>
                  </a:lnTo>
                  <a:lnTo>
                    <a:pt x="155" y="165"/>
                  </a:lnTo>
                  <a:lnTo>
                    <a:pt x="151" y="166"/>
                  </a:lnTo>
                  <a:lnTo>
                    <a:pt x="148" y="172"/>
                  </a:lnTo>
                  <a:lnTo>
                    <a:pt x="146" y="177"/>
                  </a:lnTo>
                  <a:lnTo>
                    <a:pt x="137" y="174"/>
                  </a:lnTo>
                  <a:lnTo>
                    <a:pt x="127" y="170"/>
                  </a:lnTo>
                  <a:lnTo>
                    <a:pt x="122" y="176"/>
                  </a:lnTo>
                  <a:lnTo>
                    <a:pt x="118" y="181"/>
                  </a:lnTo>
                  <a:lnTo>
                    <a:pt x="118" y="183"/>
                  </a:lnTo>
                  <a:lnTo>
                    <a:pt x="116" y="183"/>
                  </a:lnTo>
                  <a:lnTo>
                    <a:pt x="111" y="179"/>
                  </a:lnTo>
                  <a:lnTo>
                    <a:pt x="103" y="176"/>
                  </a:lnTo>
                  <a:lnTo>
                    <a:pt x="96" y="161"/>
                  </a:lnTo>
                  <a:lnTo>
                    <a:pt x="90" y="152"/>
                  </a:lnTo>
                  <a:lnTo>
                    <a:pt x="83" y="150"/>
                  </a:lnTo>
                  <a:lnTo>
                    <a:pt x="78" y="150"/>
                  </a:lnTo>
                  <a:lnTo>
                    <a:pt x="72" y="152"/>
                  </a:lnTo>
                  <a:lnTo>
                    <a:pt x="66" y="155"/>
                  </a:lnTo>
                  <a:lnTo>
                    <a:pt x="63" y="157"/>
                  </a:lnTo>
                  <a:lnTo>
                    <a:pt x="57" y="155"/>
                  </a:lnTo>
                  <a:lnTo>
                    <a:pt x="55" y="141"/>
                  </a:lnTo>
                  <a:lnTo>
                    <a:pt x="54" y="128"/>
                  </a:lnTo>
                  <a:lnTo>
                    <a:pt x="50" y="126"/>
                  </a:lnTo>
                  <a:lnTo>
                    <a:pt x="46" y="126"/>
                  </a:lnTo>
                  <a:lnTo>
                    <a:pt x="41" y="126"/>
                  </a:lnTo>
                  <a:lnTo>
                    <a:pt x="35" y="128"/>
                  </a:lnTo>
                  <a:lnTo>
                    <a:pt x="29" y="126"/>
                  </a:lnTo>
                  <a:lnTo>
                    <a:pt x="26" y="124"/>
                  </a:lnTo>
                  <a:lnTo>
                    <a:pt x="24" y="118"/>
                  </a:lnTo>
                  <a:lnTo>
                    <a:pt x="24" y="107"/>
                  </a:lnTo>
                  <a:lnTo>
                    <a:pt x="24" y="102"/>
                  </a:lnTo>
                  <a:lnTo>
                    <a:pt x="22" y="98"/>
                  </a:lnTo>
                  <a:lnTo>
                    <a:pt x="11" y="92"/>
                  </a:lnTo>
                  <a:lnTo>
                    <a:pt x="0" y="91"/>
                  </a:lnTo>
                  <a:lnTo>
                    <a:pt x="2" y="80"/>
                  </a:lnTo>
                  <a:lnTo>
                    <a:pt x="2" y="59"/>
                  </a:lnTo>
                  <a:lnTo>
                    <a:pt x="7" y="54"/>
                  </a:lnTo>
                  <a:lnTo>
                    <a:pt x="13" y="48"/>
                  </a:lnTo>
                  <a:lnTo>
                    <a:pt x="24" y="30"/>
                  </a:lnTo>
                  <a:lnTo>
                    <a:pt x="31" y="9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01" name="Freeform 99"/>
            <p:cNvSpPr>
              <a:spLocks/>
            </p:cNvSpPr>
            <p:nvPr/>
          </p:nvSpPr>
          <p:spPr bwMode="auto">
            <a:xfrm>
              <a:off x="2347667" y="3223271"/>
              <a:ext cx="284175" cy="385801"/>
            </a:xfrm>
            <a:custGeom>
              <a:avLst/>
              <a:gdLst>
                <a:gd name="T0" fmla="*/ 232404 w 164"/>
                <a:gd name="T1" fmla="*/ 255587 h 205"/>
                <a:gd name="T2" fmla="*/ 216325 w 164"/>
                <a:gd name="T3" fmla="*/ 241300 h 205"/>
                <a:gd name="T4" fmla="*/ 207556 w 164"/>
                <a:gd name="T5" fmla="*/ 227012 h 205"/>
                <a:gd name="T6" fmla="*/ 191477 w 164"/>
                <a:gd name="T7" fmla="*/ 211137 h 205"/>
                <a:gd name="T8" fmla="*/ 178322 w 164"/>
                <a:gd name="T9" fmla="*/ 193675 h 205"/>
                <a:gd name="T10" fmla="*/ 169552 w 164"/>
                <a:gd name="T11" fmla="*/ 179387 h 205"/>
                <a:gd name="T12" fmla="*/ 153474 w 164"/>
                <a:gd name="T13" fmla="*/ 144462 h 205"/>
                <a:gd name="T14" fmla="*/ 134473 w 164"/>
                <a:gd name="T15" fmla="*/ 120650 h 205"/>
                <a:gd name="T16" fmla="*/ 124241 w 164"/>
                <a:gd name="T17" fmla="*/ 95250 h 205"/>
                <a:gd name="T18" fmla="*/ 124241 w 164"/>
                <a:gd name="T19" fmla="*/ 65087 h 205"/>
                <a:gd name="T20" fmla="*/ 111086 w 164"/>
                <a:gd name="T21" fmla="*/ 50800 h 205"/>
                <a:gd name="T22" fmla="*/ 83315 w 164"/>
                <a:gd name="T23" fmla="*/ 33337 h 205"/>
                <a:gd name="T24" fmla="*/ 70160 w 164"/>
                <a:gd name="T25" fmla="*/ 15875 h 205"/>
                <a:gd name="T26" fmla="*/ 67236 w 164"/>
                <a:gd name="T27" fmla="*/ 0 h 205"/>
                <a:gd name="T28" fmla="*/ 43850 w 164"/>
                <a:gd name="T29" fmla="*/ 15875 h 205"/>
                <a:gd name="T30" fmla="*/ 16078 w 164"/>
                <a:gd name="T31" fmla="*/ 47625 h 205"/>
                <a:gd name="T32" fmla="*/ 5847 w 164"/>
                <a:gd name="T33" fmla="*/ 79375 h 205"/>
                <a:gd name="T34" fmla="*/ 0 w 164"/>
                <a:gd name="T35" fmla="*/ 103187 h 205"/>
                <a:gd name="T36" fmla="*/ 2923 w 164"/>
                <a:gd name="T37" fmla="*/ 130175 h 205"/>
                <a:gd name="T38" fmla="*/ 24848 w 164"/>
                <a:gd name="T39" fmla="*/ 144462 h 205"/>
                <a:gd name="T40" fmla="*/ 40926 w 164"/>
                <a:gd name="T41" fmla="*/ 150812 h 205"/>
                <a:gd name="T42" fmla="*/ 40926 w 164"/>
                <a:gd name="T43" fmla="*/ 182562 h 205"/>
                <a:gd name="T44" fmla="*/ 35080 w 164"/>
                <a:gd name="T45" fmla="*/ 203200 h 205"/>
                <a:gd name="T46" fmla="*/ 29233 w 164"/>
                <a:gd name="T47" fmla="*/ 211137 h 205"/>
                <a:gd name="T48" fmla="*/ 43850 w 164"/>
                <a:gd name="T49" fmla="*/ 227012 h 205"/>
                <a:gd name="T50" fmla="*/ 48235 w 164"/>
                <a:gd name="T51" fmla="*/ 258762 h 205"/>
                <a:gd name="T52" fmla="*/ 76006 w 164"/>
                <a:gd name="T53" fmla="*/ 306387 h 205"/>
                <a:gd name="T54" fmla="*/ 80391 w 164"/>
                <a:gd name="T55" fmla="*/ 325437 h 205"/>
                <a:gd name="T56" fmla="*/ 114009 w 164"/>
                <a:gd name="T57" fmla="*/ 317500 h 205"/>
                <a:gd name="T58" fmla="*/ 149089 w 164"/>
                <a:gd name="T59" fmla="*/ 314325 h 205"/>
                <a:gd name="T60" fmla="*/ 178322 w 164"/>
                <a:gd name="T61" fmla="*/ 317500 h 205"/>
                <a:gd name="T62" fmla="*/ 210479 w 164"/>
                <a:gd name="T63" fmla="*/ 325437 h 205"/>
                <a:gd name="T64" fmla="*/ 226557 w 164"/>
                <a:gd name="T65" fmla="*/ 325437 h 205"/>
                <a:gd name="T66" fmla="*/ 239712 w 164"/>
                <a:gd name="T67" fmla="*/ 320675 h 205"/>
                <a:gd name="T68" fmla="*/ 226557 w 164"/>
                <a:gd name="T69" fmla="*/ 290512 h 205"/>
                <a:gd name="T70" fmla="*/ 238250 w 164"/>
                <a:gd name="T71" fmla="*/ 265112 h 205"/>
                <a:gd name="T72" fmla="*/ 238250 w 164"/>
                <a:gd name="T73" fmla="*/ 265112 h 20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64"/>
                <a:gd name="T112" fmla="*/ 0 h 205"/>
                <a:gd name="T113" fmla="*/ 164 w 164"/>
                <a:gd name="T114" fmla="*/ 205 h 20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64" h="205">
                  <a:moveTo>
                    <a:pt x="163" y="167"/>
                  </a:moveTo>
                  <a:lnTo>
                    <a:pt x="159" y="161"/>
                  </a:lnTo>
                  <a:lnTo>
                    <a:pt x="155" y="156"/>
                  </a:lnTo>
                  <a:lnTo>
                    <a:pt x="148" y="152"/>
                  </a:lnTo>
                  <a:lnTo>
                    <a:pt x="142" y="148"/>
                  </a:lnTo>
                  <a:lnTo>
                    <a:pt x="142" y="143"/>
                  </a:lnTo>
                  <a:lnTo>
                    <a:pt x="142" y="137"/>
                  </a:lnTo>
                  <a:lnTo>
                    <a:pt x="131" y="133"/>
                  </a:lnTo>
                  <a:lnTo>
                    <a:pt x="120" y="128"/>
                  </a:lnTo>
                  <a:lnTo>
                    <a:pt x="122" y="122"/>
                  </a:lnTo>
                  <a:lnTo>
                    <a:pt x="124" y="119"/>
                  </a:lnTo>
                  <a:lnTo>
                    <a:pt x="116" y="113"/>
                  </a:lnTo>
                  <a:lnTo>
                    <a:pt x="111" y="108"/>
                  </a:lnTo>
                  <a:lnTo>
                    <a:pt x="105" y="91"/>
                  </a:lnTo>
                  <a:lnTo>
                    <a:pt x="103" y="76"/>
                  </a:lnTo>
                  <a:lnTo>
                    <a:pt x="92" y="76"/>
                  </a:lnTo>
                  <a:lnTo>
                    <a:pt x="81" y="72"/>
                  </a:lnTo>
                  <a:lnTo>
                    <a:pt x="85" y="60"/>
                  </a:lnTo>
                  <a:lnTo>
                    <a:pt x="85" y="41"/>
                  </a:lnTo>
                  <a:lnTo>
                    <a:pt x="76" y="32"/>
                  </a:lnTo>
                  <a:lnTo>
                    <a:pt x="63" y="2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8" y="10"/>
                  </a:lnTo>
                  <a:lnTo>
                    <a:pt x="46" y="0"/>
                  </a:lnTo>
                  <a:lnTo>
                    <a:pt x="30" y="10"/>
                  </a:lnTo>
                  <a:lnTo>
                    <a:pt x="17" y="19"/>
                  </a:lnTo>
                  <a:lnTo>
                    <a:pt x="11" y="30"/>
                  </a:lnTo>
                  <a:lnTo>
                    <a:pt x="9" y="43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65"/>
                  </a:lnTo>
                  <a:lnTo>
                    <a:pt x="0" y="74"/>
                  </a:lnTo>
                  <a:lnTo>
                    <a:pt x="2" y="82"/>
                  </a:lnTo>
                  <a:lnTo>
                    <a:pt x="4" y="89"/>
                  </a:lnTo>
                  <a:lnTo>
                    <a:pt x="17" y="91"/>
                  </a:lnTo>
                  <a:lnTo>
                    <a:pt x="26" y="89"/>
                  </a:lnTo>
                  <a:lnTo>
                    <a:pt x="28" y="95"/>
                  </a:lnTo>
                  <a:lnTo>
                    <a:pt x="28" y="109"/>
                  </a:lnTo>
                  <a:lnTo>
                    <a:pt x="28" y="115"/>
                  </a:lnTo>
                  <a:lnTo>
                    <a:pt x="26" y="122"/>
                  </a:lnTo>
                  <a:lnTo>
                    <a:pt x="24" y="128"/>
                  </a:lnTo>
                  <a:lnTo>
                    <a:pt x="20" y="133"/>
                  </a:lnTo>
                  <a:lnTo>
                    <a:pt x="26" y="137"/>
                  </a:lnTo>
                  <a:lnTo>
                    <a:pt x="30" y="143"/>
                  </a:lnTo>
                  <a:lnTo>
                    <a:pt x="31" y="152"/>
                  </a:lnTo>
                  <a:lnTo>
                    <a:pt x="33" y="163"/>
                  </a:lnTo>
                  <a:lnTo>
                    <a:pt x="42" y="178"/>
                  </a:lnTo>
                  <a:lnTo>
                    <a:pt x="52" y="193"/>
                  </a:lnTo>
                  <a:lnTo>
                    <a:pt x="55" y="200"/>
                  </a:lnTo>
                  <a:lnTo>
                    <a:pt x="55" y="205"/>
                  </a:lnTo>
                  <a:lnTo>
                    <a:pt x="66" y="204"/>
                  </a:lnTo>
                  <a:lnTo>
                    <a:pt x="78" y="200"/>
                  </a:lnTo>
                  <a:lnTo>
                    <a:pt x="89" y="198"/>
                  </a:lnTo>
                  <a:lnTo>
                    <a:pt x="102" y="198"/>
                  </a:lnTo>
                  <a:lnTo>
                    <a:pt x="113" y="198"/>
                  </a:lnTo>
                  <a:lnTo>
                    <a:pt x="122" y="200"/>
                  </a:lnTo>
                  <a:lnTo>
                    <a:pt x="133" y="202"/>
                  </a:lnTo>
                  <a:lnTo>
                    <a:pt x="144" y="205"/>
                  </a:lnTo>
                  <a:lnTo>
                    <a:pt x="150" y="205"/>
                  </a:lnTo>
                  <a:lnTo>
                    <a:pt x="155" y="205"/>
                  </a:lnTo>
                  <a:lnTo>
                    <a:pt x="161" y="204"/>
                  </a:lnTo>
                  <a:lnTo>
                    <a:pt x="164" y="202"/>
                  </a:lnTo>
                  <a:lnTo>
                    <a:pt x="161" y="193"/>
                  </a:lnTo>
                  <a:lnTo>
                    <a:pt x="155" y="183"/>
                  </a:lnTo>
                  <a:lnTo>
                    <a:pt x="157" y="176"/>
                  </a:lnTo>
                  <a:lnTo>
                    <a:pt x="163" y="167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02" name="Freeform 100"/>
            <p:cNvSpPr>
              <a:spLocks/>
            </p:cNvSpPr>
            <p:nvPr/>
          </p:nvSpPr>
          <p:spPr bwMode="auto">
            <a:xfrm>
              <a:off x="2428592" y="2942858"/>
              <a:ext cx="342516" cy="357572"/>
            </a:xfrm>
            <a:custGeom>
              <a:avLst/>
              <a:gdLst>
                <a:gd name="T0" fmla="*/ 0 w 198"/>
                <a:gd name="T1" fmla="*/ 231775 h 190"/>
                <a:gd name="T2" fmla="*/ 2918 w 198"/>
                <a:gd name="T3" fmla="*/ 252413 h 190"/>
                <a:gd name="T4" fmla="*/ 16051 w 198"/>
                <a:gd name="T5" fmla="*/ 269875 h 190"/>
                <a:gd name="T6" fmla="*/ 43777 w 198"/>
                <a:gd name="T7" fmla="*/ 287338 h 190"/>
                <a:gd name="T8" fmla="*/ 62746 w 198"/>
                <a:gd name="T9" fmla="*/ 295275 h 190"/>
                <a:gd name="T10" fmla="*/ 78798 w 198"/>
                <a:gd name="T11" fmla="*/ 284163 h 190"/>
                <a:gd name="T12" fmla="*/ 97768 w 198"/>
                <a:gd name="T13" fmla="*/ 280988 h 190"/>
                <a:gd name="T14" fmla="*/ 124033 w 198"/>
                <a:gd name="T15" fmla="*/ 287338 h 190"/>
                <a:gd name="T16" fmla="*/ 159055 w 198"/>
                <a:gd name="T17" fmla="*/ 295275 h 190"/>
                <a:gd name="T18" fmla="*/ 194076 w 198"/>
                <a:gd name="T19" fmla="*/ 287338 h 190"/>
                <a:gd name="T20" fmla="*/ 218883 w 198"/>
                <a:gd name="T21" fmla="*/ 263525 h 190"/>
                <a:gd name="T22" fmla="*/ 237852 w 198"/>
                <a:gd name="T23" fmla="*/ 249238 h 190"/>
                <a:gd name="T24" fmla="*/ 258281 w 198"/>
                <a:gd name="T25" fmla="*/ 236538 h 190"/>
                <a:gd name="T26" fmla="*/ 277251 w 198"/>
                <a:gd name="T27" fmla="*/ 225425 h 190"/>
                <a:gd name="T28" fmla="*/ 280170 w 198"/>
                <a:gd name="T29" fmla="*/ 207963 h 190"/>
                <a:gd name="T30" fmla="*/ 272874 w 198"/>
                <a:gd name="T31" fmla="*/ 193675 h 190"/>
                <a:gd name="T32" fmla="*/ 267037 w 198"/>
                <a:gd name="T33" fmla="*/ 166687 h 190"/>
                <a:gd name="T34" fmla="*/ 269955 w 198"/>
                <a:gd name="T35" fmla="*/ 131763 h 190"/>
                <a:gd name="T36" fmla="*/ 269955 w 198"/>
                <a:gd name="T37" fmla="*/ 100012 h 190"/>
                <a:gd name="T38" fmla="*/ 248067 w 198"/>
                <a:gd name="T39" fmla="*/ 90487 h 190"/>
                <a:gd name="T40" fmla="*/ 210127 w 198"/>
                <a:gd name="T41" fmla="*/ 76200 h 190"/>
                <a:gd name="T42" fmla="*/ 178024 w 198"/>
                <a:gd name="T43" fmla="*/ 52388 h 190"/>
                <a:gd name="T44" fmla="*/ 156136 w 198"/>
                <a:gd name="T45" fmla="*/ 22225 h 190"/>
                <a:gd name="T46" fmla="*/ 148840 w 198"/>
                <a:gd name="T47" fmla="*/ 20637 h 190"/>
                <a:gd name="T48" fmla="*/ 132789 w 198"/>
                <a:gd name="T49" fmla="*/ 46037 h 190"/>
                <a:gd name="T50" fmla="*/ 107982 w 198"/>
                <a:gd name="T51" fmla="*/ 63500 h 190"/>
                <a:gd name="T52" fmla="*/ 89012 w 198"/>
                <a:gd name="T53" fmla="*/ 80962 h 190"/>
                <a:gd name="T54" fmla="*/ 83175 w 198"/>
                <a:gd name="T55" fmla="*/ 96837 h 190"/>
                <a:gd name="T56" fmla="*/ 75879 w 198"/>
                <a:gd name="T57" fmla="*/ 119063 h 190"/>
                <a:gd name="T58" fmla="*/ 62746 w 198"/>
                <a:gd name="T59" fmla="*/ 157162 h 190"/>
                <a:gd name="T60" fmla="*/ 32103 w 198"/>
                <a:gd name="T61" fmla="*/ 201612 h 190"/>
                <a:gd name="T62" fmla="*/ 2918 w 198"/>
                <a:gd name="T63" fmla="*/ 222250 h 19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8"/>
                <a:gd name="T97" fmla="*/ 0 h 190"/>
                <a:gd name="T98" fmla="*/ 198 w 198"/>
                <a:gd name="T99" fmla="*/ 190 h 19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8" h="190">
                  <a:moveTo>
                    <a:pt x="2" y="140"/>
                  </a:moveTo>
                  <a:lnTo>
                    <a:pt x="0" y="146"/>
                  </a:lnTo>
                  <a:lnTo>
                    <a:pt x="0" y="149"/>
                  </a:lnTo>
                  <a:lnTo>
                    <a:pt x="2" y="159"/>
                  </a:lnTo>
                  <a:lnTo>
                    <a:pt x="6" y="164"/>
                  </a:lnTo>
                  <a:lnTo>
                    <a:pt x="11" y="170"/>
                  </a:lnTo>
                  <a:lnTo>
                    <a:pt x="17" y="173"/>
                  </a:lnTo>
                  <a:lnTo>
                    <a:pt x="30" y="181"/>
                  </a:lnTo>
                  <a:lnTo>
                    <a:pt x="39" y="190"/>
                  </a:lnTo>
                  <a:lnTo>
                    <a:pt x="43" y="186"/>
                  </a:lnTo>
                  <a:lnTo>
                    <a:pt x="48" y="181"/>
                  </a:lnTo>
                  <a:lnTo>
                    <a:pt x="54" y="179"/>
                  </a:lnTo>
                  <a:lnTo>
                    <a:pt x="59" y="177"/>
                  </a:lnTo>
                  <a:lnTo>
                    <a:pt x="67" y="177"/>
                  </a:lnTo>
                  <a:lnTo>
                    <a:pt x="76" y="177"/>
                  </a:lnTo>
                  <a:lnTo>
                    <a:pt x="85" y="181"/>
                  </a:lnTo>
                  <a:lnTo>
                    <a:pt x="94" y="186"/>
                  </a:lnTo>
                  <a:lnTo>
                    <a:pt x="109" y="186"/>
                  </a:lnTo>
                  <a:lnTo>
                    <a:pt x="122" y="184"/>
                  </a:lnTo>
                  <a:lnTo>
                    <a:pt x="133" y="181"/>
                  </a:lnTo>
                  <a:lnTo>
                    <a:pt x="142" y="173"/>
                  </a:lnTo>
                  <a:lnTo>
                    <a:pt x="150" y="166"/>
                  </a:lnTo>
                  <a:lnTo>
                    <a:pt x="155" y="160"/>
                  </a:lnTo>
                  <a:lnTo>
                    <a:pt x="163" y="157"/>
                  </a:lnTo>
                  <a:lnTo>
                    <a:pt x="170" y="153"/>
                  </a:lnTo>
                  <a:lnTo>
                    <a:pt x="177" y="149"/>
                  </a:lnTo>
                  <a:lnTo>
                    <a:pt x="185" y="146"/>
                  </a:lnTo>
                  <a:lnTo>
                    <a:pt x="190" y="142"/>
                  </a:lnTo>
                  <a:lnTo>
                    <a:pt x="198" y="135"/>
                  </a:lnTo>
                  <a:lnTo>
                    <a:pt x="192" y="131"/>
                  </a:lnTo>
                  <a:lnTo>
                    <a:pt x="189" y="125"/>
                  </a:lnTo>
                  <a:lnTo>
                    <a:pt x="187" y="122"/>
                  </a:lnTo>
                  <a:lnTo>
                    <a:pt x="185" y="116"/>
                  </a:lnTo>
                  <a:lnTo>
                    <a:pt x="183" y="105"/>
                  </a:lnTo>
                  <a:lnTo>
                    <a:pt x="183" y="94"/>
                  </a:lnTo>
                  <a:lnTo>
                    <a:pt x="185" y="83"/>
                  </a:lnTo>
                  <a:lnTo>
                    <a:pt x="185" y="72"/>
                  </a:lnTo>
                  <a:lnTo>
                    <a:pt x="185" y="63"/>
                  </a:lnTo>
                  <a:lnTo>
                    <a:pt x="179" y="55"/>
                  </a:lnTo>
                  <a:lnTo>
                    <a:pt x="170" y="57"/>
                  </a:lnTo>
                  <a:lnTo>
                    <a:pt x="157" y="59"/>
                  </a:lnTo>
                  <a:lnTo>
                    <a:pt x="144" y="48"/>
                  </a:lnTo>
                  <a:lnTo>
                    <a:pt x="135" y="35"/>
                  </a:lnTo>
                  <a:lnTo>
                    <a:pt x="122" y="33"/>
                  </a:lnTo>
                  <a:lnTo>
                    <a:pt x="107" y="29"/>
                  </a:lnTo>
                  <a:lnTo>
                    <a:pt x="107" y="14"/>
                  </a:lnTo>
                  <a:lnTo>
                    <a:pt x="105" y="0"/>
                  </a:lnTo>
                  <a:lnTo>
                    <a:pt x="102" y="13"/>
                  </a:lnTo>
                  <a:lnTo>
                    <a:pt x="98" y="26"/>
                  </a:lnTo>
                  <a:lnTo>
                    <a:pt x="91" y="29"/>
                  </a:lnTo>
                  <a:lnTo>
                    <a:pt x="85" y="33"/>
                  </a:lnTo>
                  <a:lnTo>
                    <a:pt x="74" y="40"/>
                  </a:lnTo>
                  <a:lnTo>
                    <a:pt x="65" y="46"/>
                  </a:lnTo>
                  <a:lnTo>
                    <a:pt x="61" y="51"/>
                  </a:lnTo>
                  <a:lnTo>
                    <a:pt x="59" y="55"/>
                  </a:lnTo>
                  <a:lnTo>
                    <a:pt x="57" y="61"/>
                  </a:lnTo>
                  <a:lnTo>
                    <a:pt x="56" y="66"/>
                  </a:lnTo>
                  <a:lnTo>
                    <a:pt x="52" y="75"/>
                  </a:lnTo>
                  <a:lnTo>
                    <a:pt x="44" y="87"/>
                  </a:lnTo>
                  <a:lnTo>
                    <a:pt x="43" y="99"/>
                  </a:lnTo>
                  <a:lnTo>
                    <a:pt x="41" y="112"/>
                  </a:lnTo>
                  <a:lnTo>
                    <a:pt x="22" y="127"/>
                  </a:lnTo>
                  <a:lnTo>
                    <a:pt x="4" y="142"/>
                  </a:lnTo>
                  <a:lnTo>
                    <a:pt x="2" y="140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03" name="Freeform 101"/>
            <p:cNvSpPr>
              <a:spLocks/>
            </p:cNvSpPr>
            <p:nvPr/>
          </p:nvSpPr>
          <p:spPr bwMode="auto">
            <a:xfrm>
              <a:off x="2488814" y="3275964"/>
              <a:ext cx="308641" cy="261591"/>
            </a:xfrm>
            <a:custGeom>
              <a:avLst/>
              <a:gdLst>
                <a:gd name="T0" fmla="*/ 119937 w 178"/>
                <a:gd name="T1" fmla="*/ 220662 h 139"/>
                <a:gd name="T2" fmla="*/ 114086 w 178"/>
                <a:gd name="T3" fmla="*/ 211137 h 139"/>
                <a:gd name="T4" fmla="*/ 108235 w 178"/>
                <a:gd name="T5" fmla="*/ 203200 h 139"/>
                <a:gd name="T6" fmla="*/ 97997 w 178"/>
                <a:gd name="T7" fmla="*/ 196850 h 139"/>
                <a:gd name="T8" fmla="*/ 89221 w 178"/>
                <a:gd name="T9" fmla="*/ 190500 h 139"/>
                <a:gd name="T10" fmla="*/ 89221 w 178"/>
                <a:gd name="T11" fmla="*/ 182562 h 139"/>
                <a:gd name="T12" fmla="*/ 89221 w 178"/>
                <a:gd name="T13" fmla="*/ 173037 h 139"/>
                <a:gd name="T14" fmla="*/ 73132 w 178"/>
                <a:gd name="T15" fmla="*/ 166687 h 139"/>
                <a:gd name="T16" fmla="*/ 57043 w 178"/>
                <a:gd name="T17" fmla="*/ 158750 h 139"/>
                <a:gd name="T18" fmla="*/ 59968 w 178"/>
                <a:gd name="T19" fmla="*/ 149225 h 139"/>
                <a:gd name="T20" fmla="*/ 62894 w 178"/>
                <a:gd name="T21" fmla="*/ 144462 h 139"/>
                <a:gd name="T22" fmla="*/ 51192 w 178"/>
                <a:gd name="T23" fmla="*/ 134937 h 139"/>
                <a:gd name="T24" fmla="*/ 43879 w 178"/>
                <a:gd name="T25" fmla="*/ 127000 h 139"/>
                <a:gd name="T26" fmla="*/ 35103 w 178"/>
                <a:gd name="T27" fmla="*/ 100012 h 139"/>
                <a:gd name="T28" fmla="*/ 32178 w 178"/>
                <a:gd name="T29" fmla="*/ 76200 h 139"/>
                <a:gd name="T30" fmla="*/ 16089 w 178"/>
                <a:gd name="T31" fmla="*/ 76200 h 139"/>
                <a:gd name="T32" fmla="*/ 0 w 178"/>
                <a:gd name="T33" fmla="*/ 69850 h 139"/>
                <a:gd name="T34" fmla="*/ 5851 w 178"/>
                <a:gd name="T35" fmla="*/ 50800 h 139"/>
                <a:gd name="T36" fmla="*/ 5851 w 178"/>
                <a:gd name="T37" fmla="*/ 20637 h 139"/>
                <a:gd name="T38" fmla="*/ 5851 w 178"/>
                <a:gd name="T39" fmla="*/ 20637 h 139"/>
                <a:gd name="T40" fmla="*/ 11701 w 178"/>
                <a:gd name="T41" fmla="*/ 14287 h 139"/>
                <a:gd name="T42" fmla="*/ 21940 w 178"/>
                <a:gd name="T43" fmla="*/ 6350 h 139"/>
                <a:gd name="T44" fmla="*/ 27790 w 178"/>
                <a:gd name="T45" fmla="*/ 3175 h 139"/>
                <a:gd name="T46" fmla="*/ 35103 w 178"/>
                <a:gd name="T47" fmla="*/ 0 h 139"/>
                <a:gd name="T48" fmla="*/ 46805 w 178"/>
                <a:gd name="T49" fmla="*/ 0 h 139"/>
                <a:gd name="T50" fmla="*/ 59968 w 178"/>
                <a:gd name="T51" fmla="*/ 0 h 139"/>
                <a:gd name="T52" fmla="*/ 73132 w 178"/>
                <a:gd name="T53" fmla="*/ 6350 h 139"/>
                <a:gd name="T54" fmla="*/ 86296 w 178"/>
                <a:gd name="T55" fmla="*/ 14287 h 139"/>
                <a:gd name="T56" fmla="*/ 102385 w 178"/>
                <a:gd name="T57" fmla="*/ 23812 h 139"/>
                <a:gd name="T58" fmla="*/ 121399 w 178"/>
                <a:gd name="T59" fmla="*/ 38100 h 139"/>
                <a:gd name="T60" fmla="*/ 137488 w 178"/>
                <a:gd name="T61" fmla="*/ 52387 h 139"/>
                <a:gd name="T62" fmla="*/ 155040 w 178"/>
                <a:gd name="T63" fmla="*/ 68262 h 139"/>
                <a:gd name="T64" fmla="*/ 172592 w 178"/>
                <a:gd name="T65" fmla="*/ 68262 h 139"/>
                <a:gd name="T66" fmla="*/ 190143 w 178"/>
                <a:gd name="T67" fmla="*/ 65087 h 139"/>
                <a:gd name="T68" fmla="*/ 191606 w 178"/>
                <a:gd name="T69" fmla="*/ 76200 h 139"/>
                <a:gd name="T70" fmla="*/ 191606 w 178"/>
                <a:gd name="T71" fmla="*/ 90487 h 139"/>
                <a:gd name="T72" fmla="*/ 210620 w 178"/>
                <a:gd name="T73" fmla="*/ 100012 h 139"/>
                <a:gd name="T74" fmla="*/ 226709 w 178"/>
                <a:gd name="T75" fmla="*/ 111125 h 139"/>
                <a:gd name="T76" fmla="*/ 219396 w 178"/>
                <a:gd name="T77" fmla="*/ 128587 h 139"/>
                <a:gd name="T78" fmla="*/ 213546 w 178"/>
                <a:gd name="T79" fmla="*/ 144462 h 139"/>
                <a:gd name="T80" fmla="*/ 226709 w 178"/>
                <a:gd name="T81" fmla="*/ 141287 h 139"/>
                <a:gd name="T82" fmla="*/ 245724 w 178"/>
                <a:gd name="T83" fmla="*/ 138112 h 139"/>
                <a:gd name="T84" fmla="*/ 257425 w 178"/>
                <a:gd name="T85" fmla="*/ 152400 h 139"/>
                <a:gd name="T86" fmla="*/ 260350 w 178"/>
                <a:gd name="T87" fmla="*/ 169862 h 139"/>
                <a:gd name="T88" fmla="*/ 254499 w 178"/>
                <a:gd name="T89" fmla="*/ 176212 h 139"/>
                <a:gd name="T90" fmla="*/ 245724 w 178"/>
                <a:gd name="T91" fmla="*/ 179387 h 139"/>
                <a:gd name="T92" fmla="*/ 213546 w 178"/>
                <a:gd name="T93" fmla="*/ 187325 h 139"/>
                <a:gd name="T94" fmla="*/ 181367 w 178"/>
                <a:gd name="T95" fmla="*/ 196850 h 139"/>
                <a:gd name="T96" fmla="*/ 165278 w 178"/>
                <a:gd name="T97" fmla="*/ 204787 h 139"/>
                <a:gd name="T98" fmla="*/ 149189 w 178"/>
                <a:gd name="T99" fmla="*/ 214312 h 139"/>
                <a:gd name="T100" fmla="*/ 136026 w 178"/>
                <a:gd name="T101" fmla="*/ 220662 h 139"/>
                <a:gd name="T102" fmla="*/ 119937 w 178"/>
                <a:gd name="T103" fmla="*/ 220662 h 13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8"/>
                <a:gd name="T157" fmla="*/ 0 h 139"/>
                <a:gd name="T158" fmla="*/ 178 w 178"/>
                <a:gd name="T159" fmla="*/ 139 h 13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8" h="139">
                  <a:moveTo>
                    <a:pt x="82" y="139"/>
                  </a:moveTo>
                  <a:lnTo>
                    <a:pt x="78" y="133"/>
                  </a:lnTo>
                  <a:lnTo>
                    <a:pt x="74" y="128"/>
                  </a:lnTo>
                  <a:lnTo>
                    <a:pt x="67" y="124"/>
                  </a:lnTo>
                  <a:lnTo>
                    <a:pt x="61" y="120"/>
                  </a:lnTo>
                  <a:lnTo>
                    <a:pt x="61" y="115"/>
                  </a:lnTo>
                  <a:lnTo>
                    <a:pt x="61" y="109"/>
                  </a:lnTo>
                  <a:lnTo>
                    <a:pt x="50" y="105"/>
                  </a:lnTo>
                  <a:lnTo>
                    <a:pt x="39" y="100"/>
                  </a:lnTo>
                  <a:lnTo>
                    <a:pt x="41" y="94"/>
                  </a:lnTo>
                  <a:lnTo>
                    <a:pt x="43" y="91"/>
                  </a:lnTo>
                  <a:lnTo>
                    <a:pt x="35" y="85"/>
                  </a:lnTo>
                  <a:lnTo>
                    <a:pt x="30" y="80"/>
                  </a:lnTo>
                  <a:lnTo>
                    <a:pt x="24" y="63"/>
                  </a:lnTo>
                  <a:lnTo>
                    <a:pt x="22" y="48"/>
                  </a:lnTo>
                  <a:lnTo>
                    <a:pt x="11" y="48"/>
                  </a:lnTo>
                  <a:lnTo>
                    <a:pt x="0" y="44"/>
                  </a:lnTo>
                  <a:lnTo>
                    <a:pt x="4" y="32"/>
                  </a:lnTo>
                  <a:lnTo>
                    <a:pt x="4" y="13"/>
                  </a:lnTo>
                  <a:lnTo>
                    <a:pt x="8" y="9"/>
                  </a:lnTo>
                  <a:lnTo>
                    <a:pt x="15" y="4"/>
                  </a:lnTo>
                  <a:lnTo>
                    <a:pt x="19" y="2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41" y="0"/>
                  </a:lnTo>
                  <a:lnTo>
                    <a:pt x="50" y="4"/>
                  </a:lnTo>
                  <a:lnTo>
                    <a:pt x="59" y="9"/>
                  </a:lnTo>
                  <a:lnTo>
                    <a:pt x="70" y="15"/>
                  </a:lnTo>
                  <a:lnTo>
                    <a:pt x="83" y="24"/>
                  </a:lnTo>
                  <a:lnTo>
                    <a:pt x="94" y="33"/>
                  </a:lnTo>
                  <a:lnTo>
                    <a:pt x="106" y="43"/>
                  </a:lnTo>
                  <a:lnTo>
                    <a:pt x="118" y="43"/>
                  </a:lnTo>
                  <a:lnTo>
                    <a:pt x="130" y="41"/>
                  </a:lnTo>
                  <a:lnTo>
                    <a:pt x="131" y="48"/>
                  </a:lnTo>
                  <a:lnTo>
                    <a:pt x="131" y="57"/>
                  </a:lnTo>
                  <a:lnTo>
                    <a:pt x="144" y="63"/>
                  </a:lnTo>
                  <a:lnTo>
                    <a:pt x="155" y="70"/>
                  </a:lnTo>
                  <a:lnTo>
                    <a:pt x="150" y="81"/>
                  </a:lnTo>
                  <a:lnTo>
                    <a:pt x="146" y="91"/>
                  </a:lnTo>
                  <a:lnTo>
                    <a:pt x="155" y="89"/>
                  </a:lnTo>
                  <a:lnTo>
                    <a:pt x="168" y="87"/>
                  </a:lnTo>
                  <a:lnTo>
                    <a:pt x="176" y="96"/>
                  </a:lnTo>
                  <a:lnTo>
                    <a:pt x="178" y="107"/>
                  </a:lnTo>
                  <a:lnTo>
                    <a:pt x="174" y="111"/>
                  </a:lnTo>
                  <a:lnTo>
                    <a:pt x="168" y="113"/>
                  </a:lnTo>
                  <a:lnTo>
                    <a:pt x="146" y="118"/>
                  </a:lnTo>
                  <a:lnTo>
                    <a:pt x="124" y="124"/>
                  </a:lnTo>
                  <a:lnTo>
                    <a:pt x="113" y="129"/>
                  </a:lnTo>
                  <a:lnTo>
                    <a:pt x="102" y="135"/>
                  </a:lnTo>
                  <a:lnTo>
                    <a:pt x="93" y="139"/>
                  </a:lnTo>
                  <a:lnTo>
                    <a:pt x="82" y="139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04" name="Freeform 102"/>
            <p:cNvSpPr>
              <a:spLocks/>
            </p:cNvSpPr>
            <p:nvPr/>
          </p:nvSpPr>
          <p:spPr bwMode="auto">
            <a:xfrm>
              <a:off x="2590439" y="3161165"/>
              <a:ext cx="602226" cy="410267"/>
            </a:xfrm>
            <a:custGeom>
              <a:avLst/>
              <a:gdLst>
                <a:gd name="T0" fmla="*/ 328879 w 346"/>
                <a:gd name="T1" fmla="*/ 338138 h 218"/>
                <a:gd name="T2" fmla="*/ 296578 w 346"/>
                <a:gd name="T3" fmla="*/ 325438 h 218"/>
                <a:gd name="T4" fmla="*/ 290705 w 346"/>
                <a:gd name="T5" fmla="*/ 307975 h 218"/>
                <a:gd name="T6" fmla="*/ 284832 w 346"/>
                <a:gd name="T7" fmla="*/ 293688 h 218"/>
                <a:gd name="T8" fmla="*/ 274555 w 346"/>
                <a:gd name="T9" fmla="*/ 287338 h 218"/>
                <a:gd name="T10" fmla="*/ 255468 w 346"/>
                <a:gd name="T11" fmla="*/ 290513 h 218"/>
                <a:gd name="T12" fmla="*/ 233445 w 346"/>
                <a:gd name="T13" fmla="*/ 300038 h 218"/>
                <a:gd name="T14" fmla="*/ 204081 w 346"/>
                <a:gd name="T15" fmla="*/ 300038 h 218"/>
                <a:gd name="T16" fmla="*/ 179121 w 346"/>
                <a:gd name="T17" fmla="*/ 282575 h 218"/>
                <a:gd name="T18" fmla="*/ 174717 w 346"/>
                <a:gd name="T19" fmla="*/ 266700 h 218"/>
                <a:gd name="T20" fmla="*/ 174717 w 346"/>
                <a:gd name="T21" fmla="*/ 266700 h 218"/>
                <a:gd name="T22" fmla="*/ 171780 w 346"/>
                <a:gd name="T23" fmla="*/ 249238 h 218"/>
                <a:gd name="T24" fmla="*/ 140948 w 346"/>
                <a:gd name="T25" fmla="*/ 238125 h 218"/>
                <a:gd name="T26" fmla="*/ 133607 w 346"/>
                <a:gd name="T27" fmla="*/ 225425 h 218"/>
                <a:gd name="T28" fmla="*/ 124798 w 346"/>
                <a:gd name="T29" fmla="*/ 196850 h 218"/>
                <a:gd name="T30" fmla="*/ 105711 w 346"/>
                <a:gd name="T31" fmla="*/ 173038 h 218"/>
                <a:gd name="T32" fmla="*/ 86624 w 346"/>
                <a:gd name="T33" fmla="*/ 165100 h 218"/>
                <a:gd name="T34" fmla="*/ 51387 w 346"/>
                <a:gd name="T35" fmla="*/ 149225 h 218"/>
                <a:gd name="T36" fmla="*/ 16150 w 346"/>
                <a:gd name="T37" fmla="*/ 120650 h 218"/>
                <a:gd name="T38" fmla="*/ 22023 w 346"/>
                <a:gd name="T39" fmla="*/ 111125 h 218"/>
                <a:gd name="T40" fmla="*/ 57260 w 346"/>
                <a:gd name="T41" fmla="*/ 103188 h 218"/>
                <a:gd name="T42" fmla="*/ 82220 w 346"/>
                <a:gd name="T43" fmla="*/ 79375 h 218"/>
                <a:gd name="T44" fmla="*/ 101306 w 346"/>
                <a:gd name="T45" fmla="*/ 65088 h 218"/>
                <a:gd name="T46" fmla="*/ 121861 w 346"/>
                <a:gd name="T47" fmla="*/ 52388 h 218"/>
                <a:gd name="T48" fmla="*/ 140948 w 346"/>
                <a:gd name="T49" fmla="*/ 41275 h 218"/>
                <a:gd name="T50" fmla="*/ 152694 w 346"/>
                <a:gd name="T51" fmla="*/ 30163 h 218"/>
                <a:gd name="T52" fmla="*/ 174717 w 346"/>
                <a:gd name="T53" fmla="*/ 17463 h 218"/>
                <a:gd name="T54" fmla="*/ 204081 w 346"/>
                <a:gd name="T55" fmla="*/ 3175 h 218"/>
                <a:gd name="T56" fmla="*/ 220231 w 346"/>
                <a:gd name="T57" fmla="*/ 12700 h 218"/>
                <a:gd name="T58" fmla="*/ 236382 w 346"/>
                <a:gd name="T59" fmla="*/ 23812 h 218"/>
                <a:gd name="T60" fmla="*/ 252532 w 346"/>
                <a:gd name="T61" fmla="*/ 26988 h 218"/>
                <a:gd name="T62" fmla="*/ 268682 w 346"/>
                <a:gd name="T63" fmla="*/ 23812 h 218"/>
                <a:gd name="T64" fmla="*/ 274555 w 346"/>
                <a:gd name="T65" fmla="*/ 26988 h 218"/>
                <a:gd name="T66" fmla="*/ 281896 w 346"/>
                <a:gd name="T67" fmla="*/ 44450 h 218"/>
                <a:gd name="T68" fmla="*/ 303919 w 346"/>
                <a:gd name="T69" fmla="*/ 68263 h 218"/>
                <a:gd name="T70" fmla="*/ 328879 w 346"/>
                <a:gd name="T71" fmla="*/ 111125 h 218"/>
                <a:gd name="T72" fmla="*/ 347965 w 346"/>
                <a:gd name="T73" fmla="*/ 161925 h 218"/>
                <a:gd name="T74" fmla="*/ 371457 w 346"/>
                <a:gd name="T75" fmla="*/ 182562 h 218"/>
                <a:gd name="T76" fmla="*/ 396416 w 346"/>
                <a:gd name="T77" fmla="*/ 204788 h 218"/>
                <a:gd name="T78" fmla="*/ 415503 w 346"/>
                <a:gd name="T79" fmla="*/ 225425 h 218"/>
                <a:gd name="T80" fmla="*/ 431653 w 346"/>
                <a:gd name="T81" fmla="*/ 234950 h 218"/>
                <a:gd name="T82" fmla="*/ 456613 w 346"/>
                <a:gd name="T83" fmla="*/ 231775 h 218"/>
                <a:gd name="T84" fmla="*/ 469827 w 346"/>
                <a:gd name="T85" fmla="*/ 214313 h 218"/>
                <a:gd name="T86" fmla="*/ 480104 w 346"/>
                <a:gd name="T87" fmla="*/ 204788 h 218"/>
                <a:gd name="T88" fmla="*/ 491850 w 346"/>
                <a:gd name="T89" fmla="*/ 223838 h 218"/>
                <a:gd name="T90" fmla="*/ 499191 w 346"/>
                <a:gd name="T91" fmla="*/ 242888 h 218"/>
                <a:gd name="T92" fmla="*/ 508000 w 346"/>
                <a:gd name="T93" fmla="*/ 252413 h 218"/>
                <a:gd name="T94" fmla="*/ 488913 w 346"/>
                <a:gd name="T95" fmla="*/ 266700 h 218"/>
                <a:gd name="T96" fmla="*/ 483040 w 346"/>
                <a:gd name="T97" fmla="*/ 284163 h 218"/>
                <a:gd name="T98" fmla="*/ 483040 w 346"/>
                <a:gd name="T99" fmla="*/ 314325 h 218"/>
                <a:gd name="T100" fmla="*/ 477168 w 346"/>
                <a:gd name="T101" fmla="*/ 325438 h 218"/>
                <a:gd name="T102" fmla="*/ 466890 w 346"/>
                <a:gd name="T103" fmla="*/ 322263 h 218"/>
                <a:gd name="T104" fmla="*/ 444867 w 346"/>
                <a:gd name="T105" fmla="*/ 320675 h 218"/>
                <a:gd name="T106" fmla="*/ 406694 w 346"/>
                <a:gd name="T107" fmla="*/ 328613 h 218"/>
                <a:gd name="T108" fmla="*/ 380266 w 346"/>
                <a:gd name="T109" fmla="*/ 322263 h 218"/>
                <a:gd name="T110" fmla="*/ 367052 w 346"/>
                <a:gd name="T111" fmla="*/ 334963 h 218"/>
                <a:gd name="T112" fmla="*/ 352370 w 346"/>
                <a:gd name="T113" fmla="*/ 346075 h 21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46"/>
                <a:gd name="T172" fmla="*/ 0 h 218"/>
                <a:gd name="T173" fmla="*/ 346 w 346"/>
                <a:gd name="T174" fmla="*/ 218 h 21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46" h="218">
                  <a:moveTo>
                    <a:pt x="240" y="218"/>
                  </a:moveTo>
                  <a:lnTo>
                    <a:pt x="224" y="213"/>
                  </a:lnTo>
                  <a:lnTo>
                    <a:pt x="211" y="209"/>
                  </a:lnTo>
                  <a:lnTo>
                    <a:pt x="202" y="205"/>
                  </a:lnTo>
                  <a:lnTo>
                    <a:pt x="198" y="202"/>
                  </a:lnTo>
                  <a:lnTo>
                    <a:pt x="198" y="194"/>
                  </a:lnTo>
                  <a:lnTo>
                    <a:pt x="196" y="190"/>
                  </a:lnTo>
                  <a:lnTo>
                    <a:pt x="194" y="185"/>
                  </a:lnTo>
                  <a:lnTo>
                    <a:pt x="191" y="183"/>
                  </a:lnTo>
                  <a:lnTo>
                    <a:pt x="187" y="181"/>
                  </a:lnTo>
                  <a:lnTo>
                    <a:pt x="181" y="181"/>
                  </a:lnTo>
                  <a:lnTo>
                    <a:pt x="174" y="183"/>
                  </a:lnTo>
                  <a:lnTo>
                    <a:pt x="167" y="187"/>
                  </a:lnTo>
                  <a:lnTo>
                    <a:pt x="159" y="189"/>
                  </a:lnTo>
                  <a:lnTo>
                    <a:pt x="150" y="189"/>
                  </a:lnTo>
                  <a:lnTo>
                    <a:pt x="139" y="189"/>
                  </a:lnTo>
                  <a:lnTo>
                    <a:pt x="126" y="185"/>
                  </a:lnTo>
                  <a:lnTo>
                    <a:pt x="122" y="178"/>
                  </a:lnTo>
                  <a:lnTo>
                    <a:pt x="120" y="168"/>
                  </a:lnTo>
                  <a:lnTo>
                    <a:pt x="119" y="168"/>
                  </a:lnTo>
                  <a:lnTo>
                    <a:pt x="117" y="157"/>
                  </a:lnTo>
                  <a:lnTo>
                    <a:pt x="109" y="148"/>
                  </a:lnTo>
                  <a:lnTo>
                    <a:pt x="96" y="150"/>
                  </a:lnTo>
                  <a:lnTo>
                    <a:pt x="87" y="152"/>
                  </a:lnTo>
                  <a:lnTo>
                    <a:pt x="91" y="142"/>
                  </a:lnTo>
                  <a:lnTo>
                    <a:pt x="96" y="131"/>
                  </a:lnTo>
                  <a:lnTo>
                    <a:pt x="85" y="124"/>
                  </a:lnTo>
                  <a:lnTo>
                    <a:pt x="72" y="118"/>
                  </a:lnTo>
                  <a:lnTo>
                    <a:pt x="72" y="109"/>
                  </a:lnTo>
                  <a:lnTo>
                    <a:pt x="71" y="102"/>
                  </a:lnTo>
                  <a:lnTo>
                    <a:pt x="59" y="104"/>
                  </a:lnTo>
                  <a:lnTo>
                    <a:pt x="47" y="104"/>
                  </a:lnTo>
                  <a:lnTo>
                    <a:pt x="35" y="94"/>
                  </a:lnTo>
                  <a:lnTo>
                    <a:pt x="24" y="85"/>
                  </a:lnTo>
                  <a:lnTo>
                    <a:pt x="11" y="76"/>
                  </a:lnTo>
                  <a:lnTo>
                    <a:pt x="0" y="70"/>
                  </a:lnTo>
                  <a:lnTo>
                    <a:pt x="15" y="70"/>
                  </a:lnTo>
                  <a:lnTo>
                    <a:pt x="28" y="68"/>
                  </a:lnTo>
                  <a:lnTo>
                    <a:pt x="39" y="65"/>
                  </a:lnTo>
                  <a:lnTo>
                    <a:pt x="48" y="57"/>
                  </a:lnTo>
                  <a:lnTo>
                    <a:pt x="56" y="50"/>
                  </a:lnTo>
                  <a:lnTo>
                    <a:pt x="61" y="44"/>
                  </a:lnTo>
                  <a:lnTo>
                    <a:pt x="69" y="41"/>
                  </a:lnTo>
                  <a:lnTo>
                    <a:pt x="76" y="37"/>
                  </a:lnTo>
                  <a:lnTo>
                    <a:pt x="83" y="33"/>
                  </a:lnTo>
                  <a:lnTo>
                    <a:pt x="91" y="30"/>
                  </a:lnTo>
                  <a:lnTo>
                    <a:pt x="96" y="26"/>
                  </a:lnTo>
                  <a:lnTo>
                    <a:pt x="104" y="19"/>
                  </a:lnTo>
                  <a:lnTo>
                    <a:pt x="106" y="20"/>
                  </a:lnTo>
                  <a:lnTo>
                    <a:pt x="119" y="11"/>
                  </a:lnTo>
                  <a:lnTo>
                    <a:pt x="133" y="0"/>
                  </a:lnTo>
                  <a:lnTo>
                    <a:pt x="139" y="2"/>
                  </a:lnTo>
                  <a:lnTo>
                    <a:pt x="144" y="4"/>
                  </a:lnTo>
                  <a:lnTo>
                    <a:pt x="150" y="8"/>
                  </a:lnTo>
                  <a:lnTo>
                    <a:pt x="156" y="11"/>
                  </a:lnTo>
                  <a:lnTo>
                    <a:pt x="161" y="15"/>
                  </a:lnTo>
                  <a:lnTo>
                    <a:pt x="167" y="17"/>
                  </a:lnTo>
                  <a:lnTo>
                    <a:pt x="172" y="17"/>
                  </a:lnTo>
                  <a:lnTo>
                    <a:pt x="181" y="15"/>
                  </a:lnTo>
                  <a:lnTo>
                    <a:pt x="183" y="15"/>
                  </a:lnTo>
                  <a:lnTo>
                    <a:pt x="185" y="15"/>
                  </a:lnTo>
                  <a:lnTo>
                    <a:pt x="187" y="17"/>
                  </a:lnTo>
                  <a:lnTo>
                    <a:pt x="189" y="20"/>
                  </a:lnTo>
                  <a:lnTo>
                    <a:pt x="192" y="28"/>
                  </a:lnTo>
                  <a:lnTo>
                    <a:pt x="198" y="33"/>
                  </a:lnTo>
                  <a:lnTo>
                    <a:pt x="207" y="43"/>
                  </a:lnTo>
                  <a:lnTo>
                    <a:pt x="216" y="54"/>
                  </a:lnTo>
                  <a:lnTo>
                    <a:pt x="224" y="70"/>
                  </a:lnTo>
                  <a:lnTo>
                    <a:pt x="233" y="96"/>
                  </a:lnTo>
                  <a:lnTo>
                    <a:pt x="237" y="102"/>
                  </a:lnTo>
                  <a:lnTo>
                    <a:pt x="244" y="109"/>
                  </a:lnTo>
                  <a:lnTo>
                    <a:pt x="253" y="115"/>
                  </a:lnTo>
                  <a:lnTo>
                    <a:pt x="263" y="120"/>
                  </a:lnTo>
                  <a:lnTo>
                    <a:pt x="270" y="129"/>
                  </a:lnTo>
                  <a:lnTo>
                    <a:pt x="277" y="139"/>
                  </a:lnTo>
                  <a:lnTo>
                    <a:pt x="283" y="142"/>
                  </a:lnTo>
                  <a:lnTo>
                    <a:pt x="289" y="146"/>
                  </a:lnTo>
                  <a:lnTo>
                    <a:pt x="294" y="148"/>
                  </a:lnTo>
                  <a:lnTo>
                    <a:pt x="303" y="148"/>
                  </a:lnTo>
                  <a:lnTo>
                    <a:pt x="311" y="146"/>
                  </a:lnTo>
                  <a:lnTo>
                    <a:pt x="316" y="141"/>
                  </a:lnTo>
                  <a:lnTo>
                    <a:pt x="320" y="135"/>
                  </a:lnTo>
                  <a:lnTo>
                    <a:pt x="324" y="128"/>
                  </a:lnTo>
                  <a:lnTo>
                    <a:pt x="327" y="129"/>
                  </a:lnTo>
                  <a:lnTo>
                    <a:pt x="331" y="133"/>
                  </a:lnTo>
                  <a:lnTo>
                    <a:pt x="335" y="141"/>
                  </a:lnTo>
                  <a:lnTo>
                    <a:pt x="337" y="148"/>
                  </a:lnTo>
                  <a:lnTo>
                    <a:pt x="340" y="153"/>
                  </a:lnTo>
                  <a:lnTo>
                    <a:pt x="346" y="159"/>
                  </a:lnTo>
                  <a:lnTo>
                    <a:pt x="338" y="163"/>
                  </a:lnTo>
                  <a:lnTo>
                    <a:pt x="333" y="168"/>
                  </a:lnTo>
                  <a:lnTo>
                    <a:pt x="329" y="174"/>
                  </a:lnTo>
                  <a:lnTo>
                    <a:pt x="329" y="179"/>
                  </a:lnTo>
                  <a:lnTo>
                    <a:pt x="329" y="189"/>
                  </a:lnTo>
                  <a:lnTo>
                    <a:pt x="329" y="198"/>
                  </a:lnTo>
                  <a:lnTo>
                    <a:pt x="327" y="203"/>
                  </a:lnTo>
                  <a:lnTo>
                    <a:pt x="325" y="205"/>
                  </a:lnTo>
                  <a:lnTo>
                    <a:pt x="324" y="205"/>
                  </a:lnTo>
                  <a:lnTo>
                    <a:pt x="318" y="203"/>
                  </a:lnTo>
                  <a:lnTo>
                    <a:pt x="313" y="203"/>
                  </a:lnTo>
                  <a:lnTo>
                    <a:pt x="303" y="202"/>
                  </a:lnTo>
                  <a:lnTo>
                    <a:pt x="292" y="203"/>
                  </a:lnTo>
                  <a:lnTo>
                    <a:pt x="277" y="207"/>
                  </a:lnTo>
                  <a:lnTo>
                    <a:pt x="266" y="203"/>
                  </a:lnTo>
                  <a:lnTo>
                    <a:pt x="259" y="203"/>
                  </a:lnTo>
                  <a:lnTo>
                    <a:pt x="255" y="207"/>
                  </a:lnTo>
                  <a:lnTo>
                    <a:pt x="250" y="211"/>
                  </a:lnTo>
                  <a:lnTo>
                    <a:pt x="244" y="216"/>
                  </a:lnTo>
                  <a:lnTo>
                    <a:pt x="240" y="218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05" name="Freeform 192"/>
            <p:cNvSpPr>
              <a:spLocks noEditPoints="1"/>
            </p:cNvSpPr>
            <p:nvPr/>
          </p:nvSpPr>
          <p:spPr bwMode="auto">
            <a:xfrm>
              <a:off x="5684376" y="1106067"/>
              <a:ext cx="543886" cy="378274"/>
            </a:xfrm>
            <a:custGeom>
              <a:avLst/>
              <a:gdLst>
                <a:gd name="T0" fmla="*/ 161925 w 289"/>
                <a:gd name="T1" fmla="*/ 44450 h 201"/>
                <a:gd name="T2" fmla="*/ 334963 w 289"/>
                <a:gd name="T3" fmla="*/ 131763 h 201"/>
                <a:gd name="T4" fmla="*/ 358775 w 289"/>
                <a:gd name="T5" fmla="*/ 106363 h 201"/>
                <a:gd name="T6" fmla="*/ 352425 w 289"/>
                <a:gd name="T7" fmla="*/ 87313 h 201"/>
                <a:gd name="T8" fmla="*/ 438150 w 289"/>
                <a:gd name="T9" fmla="*/ 182563 h 201"/>
                <a:gd name="T10" fmla="*/ 331788 w 289"/>
                <a:gd name="T11" fmla="*/ 144463 h 201"/>
                <a:gd name="T12" fmla="*/ 338138 w 289"/>
                <a:gd name="T13" fmla="*/ 141288 h 201"/>
                <a:gd name="T14" fmla="*/ 303213 w 289"/>
                <a:gd name="T15" fmla="*/ 152400 h 201"/>
                <a:gd name="T16" fmla="*/ 247650 w 289"/>
                <a:gd name="T17" fmla="*/ 120650 h 201"/>
                <a:gd name="T18" fmla="*/ 234950 w 289"/>
                <a:gd name="T19" fmla="*/ 155575 h 201"/>
                <a:gd name="T20" fmla="*/ 265113 w 289"/>
                <a:gd name="T21" fmla="*/ 161925 h 201"/>
                <a:gd name="T22" fmla="*/ 300038 w 289"/>
                <a:gd name="T23" fmla="*/ 173038 h 201"/>
                <a:gd name="T24" fmla="*/ 279400 w 289"/>
                <a:gd name="T25" fmla="*/ 146050 h 201"/>
                <a:gd name="T26" fmla="*/ 231775 w 289"/>
                <a:gd name="T27" fmla="*/ 161925 h 201"/>
                <a:gd name="T28" fmla="*/ 200025 w 289"/>
                <a:gd name="T29" fmla="*/ 149225 h 201"/>
                <a:gd name="T30" fmla="*/ 241300 w 289"/>
                <a:gd name="T31" fmla="*/ 187325 h 201"/>
                <a:gd name="T32" fmla="*/ 403225 w 289"/>
                <a:gd name="T33" fmla="*/ 161925 h 201"/>
                <a:gd name="T34" fmla="*/ 285750 w 289"/>
                <a:gd name="T35" fmla="*/ 200025 h 201"/>
                <a:gd name="T36" fmla="*/ 300038 w 289"/>
                <a:gd name="T37" fmla="*/ 211138 h 201"/>
                <a:gd name="T38" fmla="*/ 252413 w 289"/>
                <a:gd name="T39" fmla="*/ 204788 h 201"/>
                <a:gd name="T40" fmla="*/ 268288 w 289"/>
                <a:gd name="T41" fmla="*/ 238125 h 201"/>
                <a:gd name="T42" fmla="*/ 268288 w 289"/>
                <a:gd name="T43" fmla="*/ 217488 h 201"/>
                <a:gd name="T44" fmla="*/ 244475 w 289"/>
                <a:gd name="T45" fmla="*/ 279400 h 201"/>
                <a:gd name="T46" fmla="*/ 255588 w 289"/>
                <a:gd name="T47" fmla="*/ 276225 h 201"/>
                <a:gd name="T48" fmla="*/ 258763 w 289"/>
                <a:gd name="T49" fmla="*/ 307975 h 201"/>
                <a:gd name="T50" fmla="*/ 211138 w 289"/>
                <a:gd name="T51" fmla="*/ 307975 h 201"/>
                <a:gd name="T52" fmla="*/ 161925 w 289"/>
                <a:gd name="T53" fmla="*/ 134938 h 201"/>
                <a:gd name="T54" fmla="*/ 168275 w 289"/>
                <a:gd name="T55" fmla="*/ 134938 h 201"/>
                <a:gd name="T56" fmla="*/ 296863 w 289"/>
                <a:gd name="T57" fmla="*/ 138113 h 201"/>
                <a:gd name="T58" fmla="*/ 282575 w 289"/>
                <a:gd name="T59" fmla="*/ 107950 h 201"/>
                <a:gd name="T60" fmla="*/ 373063 w 289"/>
                <a:gd name="T61" fmla="*/ 287338 h 201"/>
                <a:gd name="T62" fmla="*/ 441325 w 289"/>
                <a:gd name="T63" fmla="*/ 280988 h 201"/>
                <a:gd name="T64" fmla="*/ 446088 w 289"/>
                <a:gd name="T65" fmla="*/ 246063 h 201"/>
                <a:gd name="T66" fmla="*/ 422275 w 289"/>
                <a:gd name="T67" fmla="*/ 249238 h 201"/>
                <a:gd name="T68" fmla="*/ 366713 w 289"/>
                <a:gd name="T69" fmla="*/ 276225 h 201"/>
                <a:gd name="T70" fmla="*/ 349250 w 289"/>
                <a:gd name="T71" fmla="*/ 234950 h 201"/>
                <a:gd name="T72" fmla="*/ 376238 w 289"/>
                <a:gd name="T73" fmla="*/ 211138 h 201"/>
                <a:gd name="T74" fmla="*/ 273050 w 289"/>
                <a:gd name="T75" fmla="*/ 261938 h 201"/>
                <a:gd name="T76" fmla="*/ 314325 w 289"/>
                <a:gd name="T77" fmla="*/ 287338 h 201"/>
                <a:gd name="T78" fmla="*/ 361950 w 289"/>
                <a:gd name="T79" fmla="*/ 252413 h 201"/>
                <a:gd name="T80" fmla="*/ 300038 w 289"/>
                <a:gd name="T81" fmla="*/ 228600 h 201"/>
                <a:gd name="T82" fmla="*/ 214313 w 289"/>
                <a:gd name="T83" fmla="*/ 266700 h 201"/>
                <a:gd name="T84" fmla="*/ 249238 w 289"/>
                <a:gd name="T85" fmla="*/ 269875 h 201"/>
                <a:gd name="T86" fmla="*/ 249238 w 289"/>
                <a:gd name="T87" fmla="*/ 228600 h 201"/>
                <a:gd name="T88" fmla="*/ 206375 w 289"/>
                <a:gd name="T89" fmla="*/ 220663 h 201"/>
                <a:gd name="T90" fmla="*/ 179388 w 289"/>
                <a:gd name="T91" fmla="*/ 252413 h 201"/>
                <a:gd name="T92" fmla="*/ 106363 w 289"/>
                <a:gd name="T93" fmla="*/ 173038 h 201"/>
                <a:gd name="T94" fmla="*/ 134938 w 289"/>
                <a:gd name="T95" fmla="*/ 200025 h 201"/>
                <a:gd name="T96" fmla="*/ 133350 w 289"/>
                <a:gd name="T97" fmla="*/ 165100 h 201"/>
                <a:gd name="T98" fmla="*/ 76200 w 289"/>
                <a:gd name="T99" fmla="*/ 158750 h 201"/>
                <a:gd name="T100" fmla="*/ 50800 w 289"/>
                <a:gd name="T101" fmla="*/ 169863 h 201"/>
                <a:gd name="T102" fmla="*/ 9525 w 289"/>
                <a:gd name="T103" fmla="*/ 100013 h 201"/>
                <a:gd name="T104" fmla="*/ 47625 w 289"/>
                <a:gd name="T105" fmla="*/ 107950 h 201"/>
                <a:gd name="T106" fmla="*/ 112713 w 289"/>
                <a:gd name="T107" fmla="*/ 123825 h 201"/>
                <a:gd name="T108" fmla="*/ 138113 w 289"/>
                <a:gd name="T109" fmla="*/ 87313 h 201"/>
                <a:gd name="T110" fmla="*/ 106363 w 289"/>
                <a:gd name="T111" fmla="*/ 61913 h 201"/>
                <a:gd name="T112" fmla="*/ 41275 w 289"/>
                <a:gd name="T113" fmla="*/ 73025 h 201"/>
                <a:gd name="T114" fmla="*/ 9525 w 289"/>
                <a:gd name="T115" fmla="*/ 100013 h 201"/>
                <a:gd name="T116" fmla="*/ 76200 w 289"/>
                <a:gd name="T117" fmla="*/ 55563 h 201"/>
                <a:gd name="T118" fmla="*/ 100013 w 289"/>
                <a:gd name="T119" fmla="*/ 47625 h 201"/>
                <a:gd name="T120" fmla="*/ 30163 w 289"/>
                <a:gd name="T121" fmla="*/ 6350 h 201"/>
                <a:gd name="T122" fmla="*/ 6350 w 289"/>
                <a:gd name="T123" fmla="*/ 20638 h 20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9"/>
                <a:gd name="T187" fmla="*/ 0 h 201"/>
                <a:gd name="T188" fmla="*/ 289 w 289"/>
                <a:gd name="T189" fmla="*/ 201 h 20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9" h="201">
                  <a:moveTo>
                    <a:pt x="100" y="28"/>
                  </a:moveTo>
                  <a:lnTo>
                    <a:pt x="100" y="28"/>
                  </a:lnTo>
                  <a:lnTo>
                    <a:pt x="97" y="28"/>
                  </a:lnTo>
                  <a:lnTo>
                    <a:pt x="97" y="31"/>
                  </a:lnTo>
                  <a:lnTo>
                    <a:pt x="97" y="35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4" y="37"/>
                  </a:lnTo>
                  <a:lnTo>
                    <a:pt x="106" y="33"/>
                  </a:lnTo>
                  <a:lnTo>
                    <a:pt x="106" y="31"/>
                  </a:lnTo>
                  <a:lnTo>
                    <a:pt x="106" y="30"/>
                  </a:lnTo>
                  <a:lnTo>
                    <a:pt x="104" y="28"/>
                  </a:lnTo>
                  <a:lnTo>
                    <a:pt x="102" y="28"/>
                  </a:lnTo>
                  <a:lnTo>
                    <a:pt x="100" y="28"/>
                  </a:lnTo>
                  <a:close/>
                  <a:moveTo>
                    <a:pt x="198" y="65"/>
                  </a:moveTo>
                  <a:lnTo>
                    <a:pt x="196" y="67"/>
                  </a:lnTo>
                  <a:lnTo>
                    <a:pt x="196" y="68"/>
                  </a:lnTo>
                  <a:lnTo>
                    <a:pt x="194" y="68"/>
                  </a:lnTo>
                  <a:lnTo>
                    <a:pt x="194" y="70"/>
                  </a:lnTo>
                  <a:lnTo>
                    <a:pt x="194" y="72"/>
                  </a:lnTo>
                  <a:lnTo>
                    <a:pt x="194" y="74"/>
                  </a:lnTo>
                  <a:lnTo>
                    <a:pt x="196" y="74"/>
                  </a:lnTo>
                  <a:lnTo>
                    <a:pt x="196" y="76"/>
                  </a:lnTo>
                  <a:lnTo>
                    <a:pt x="200" y="78"/>
                  </a:lnTo>
                  <a:lnTo>
                    <a:pt x="206" y="81"/>
                  </a:lnTo>
                  <a:lnTo>
                    <a:pt x="207" y="81"/>
                  </a:lnTo>
                  <a:lnTo>
                    <a:pt x="211" y="83"/>
                  </a:lnTo>
                  <a:lnTo>
                    <a:pt x="211" y="78"/>
                  </a:lnTo>
                  <a:lnTo>
                    <a:pt x="211" y="74"/>
                  </a:lnTo>
                  <a:lnTo>
                    <a:pt x="211" y="72"/>
                  </a:lnTo>
                  <a:lnTo>
                    <a:pt x="209" y="70"/>
                  </a:lnTo>
                  <a:lnTo>
                    <a:pt x="209" y="68"/>
                  </a:lnTo>
                  <a:lnTo>
                    <a:pt x="207" y="68"/>
                  </a:lnTo>
                  <a:lnTo>
                    <a:pt x="204" y="67"/>
                  </a:lnTo>
                  <a:lnTo>
                    <a:pt x="200" y="65"/>
                  </a:lnTo>
                  <a:lnTo>
                    <a:pt x="198" y="65"/>
                  </a:lnTo>
                  <a:close/>
                  <a:moveTo>
                    <a:pt x="215" y="59"/>
                  </a:moveTo>
                  <a:lnTo>
                    <a:pt x="217" y="61"/>
                  </a:lnTo>
                  <a:lnTo>
                    <a:pt x="218" y="65"/>
                  </a:lnTo>
                  <a:lnTo>
                    <a:pt x="222" y="65"/>
                  </a:lnTo>
                  <a:lnTo>
                    <a:pt x="224" y="67"/>
                  </a:lnTo>
                  <a:lnTo>
                    <a:pt x="226" y="67"/>
                  </a:lnTo>
                  <a:lnTo>
                    <a:pt x="228" y="68"/>
                  </a:lnTo>
                  <a:lnTo>
                    <a:pt x="230" y="68"/>
                  </a:lnTo>
                  <a:lnTo>
                    <a:pt x="231" y="68"/>
                  </a:lnTo>
                  <a:lnTo>
                    <a:pt x="235" y="67"/>
                  </a:lnTo>
                  <a:lnTo>
                    <a:pt x="239" y="67"/>
                  </a:lnTo>
                  <a:lnTo>
                    <a:pt x="244" y="65"/>
                  </a:lnTo>
                  <a:lnTo>
                    <a:pt x="248" y="63"/>
                  </a:lnTo>
                  <a:lnTo>
                    <a:pt x="244" y="61"/>
                  </a:lnTo>
                  <a:lnTo>
                    <a:pt x="239" y="57"/>
                  </a:lnTo>
                  <a:lnTo>
                    <a:pt x="235" y="55"/>
                  </a:lnTo>
                  <a:lnTo>
                    <a:pt x="231" y="55"/>
                  </a:lnTo>
                  <a:lnTo>
                    <a:pt x="230" y="55"/>
                  </a:lnTo>
                  <a:lnTo>
                    <a:pt x="228" y="55"/>
                  </a:lnTo>
                  <a:lnTo>
                    <a:pt x="224" y="55"/>
                  </a:lnTo>
                  <a:lnTo>
                    <a:pt x="222" y="55"/>
                  </a:lnTo>
                  <a:lnTo>
                    <a:pt x="220" y="55"/>
                  </a:lnTo>
                  <a:lnTo>
                    <a:pt x="218" y="57"/>
                  </a:lnTo>
                  <a:lnTo>
                    <a:pt x="215" y="59"/>
                  </a:lnTo>
                  <a:close/>
                  <a:moveTo>
                    <a:pt x="276" y="92"/>
                  </a:moveTo>
                  <a:lnTo>
                    <a:pt x="272" y="96"/>
                  </a:lnTo>
                  <a:lnTo>
                    <a:pt x="272" y="98"/>
                  </a:lnTo>
                  <a:lnTo>
                    <a:pt x="270" y="100"/>
                  </a:lnTo>
                  <a:lnTo>
                    <a:pt x="270" y="102"/>
                  </a:lnTo>
                  <a:lnTo>
                    <a:pt x="270" y="104"/>
                  </a:lnTo>
                  <a:lnTo>
                    <a:pt x="272" y="107"/>
                  </a:lnTo>
                  <a:lnTo>
                    <a:pt x="272" y="109"/>
                  </a:lnTo>
                  <a:lnTo>
                    <a:pt x="274" y="113"/>
                  </a:lnTo>
                  <a:lnTo>
                    <a:pt x="276" y="115"/>
                  </a:lnTo>
                  <a:lnTo>
                    <a:pt x="278" y="115"/>
                  </a:lnTo>
                  <a:lnTo>
                    <a:pt x="278" y="116"/>
                  </a:lnTo>
                  <a:lnTo>
                    <a:pt x="279" y="116"/>
                  </a:lnTo>
                  <a:lnTo>
                    <a:pt x="281" y="118"/>
                  </a:lnTo>
                  <a:lnTo>
                    <a:pt x="283" y="118"/>
                  </a:lnTo>
                  <a:lnTo>
                    <a:pt x="289" y="118"/>
                  </a:lnTo>
                  <a:lnTo>
                    <a:pt x="283" y="105"/>
                  </a:lnTo>
                  <a:lnTo>
                    <a:pt x="276" y="92"/>
                  </a:lnTo>
                  <a:close/>
                  <a:moveTo>
                    <a:pt x="213" y="89"/>
                  </a:moveTo>
                  <a:lnTo>
                    <a:pt x="213" y="89"/>
                  </a:lnTo>
                  <a:lnTo>
                    <a:pt x="211" y="89"/>
                  </a:lnTo>
                  <a:lnTo>
                    <a:pt x="209" y="89"/>
                  </a:lnTo>
                  <a:lnTo>
                    <a:pt x="209" y="91"/>
                  </a:lnTo>
                  <a:lnTo>
                    <a:pt x="207" y="92"/>
                  </a:lnTo>
                  <a:lnTo>
                    <a:pt x="207" y="94"/>
                  </a:lnTo>
                  <a:lnTo>
                    <a:pt x="209" y="96"/>
                  </a:lnTo>
                  <a:lnTo>
                    <a:pt x="209" y="98"/>
                  </a:lnTo>
                  <a:lnTo>
                    <a:pt x="211" y="100"/>
                  </a:lnTo>
                  <a:lnTo>
                    <a:pt x="211" y="102"/>
                  </a:lnTo>
                  <a:lnTo>
                    <a:pt x="213" y="104"/>
                  </a:lnTo>
                  <a:lnTo>
                    <a:pt x="215" y="105"/>
                  </a:lnTo>
                  <a:lnTo>
                    <a:pt x="218" y="107"/>
                  </a:lnTo>
                  <a:lnTo>
                    <a:pt x="220" y="102"/>
                  </a:lnTo>
                  <a:lnTo>
                    <a:pt x="220" y="98"/>
                  </a:lnTo>
                  <a:lnTo>
                    <a:pt x="220" y="94"/>
                  </a:lnTo>
                  <a:lnTo>
                    <a:pt x="218" y="92"/>
                  </a:lnTo>
                  <a:lnTo>
                    <a:pt x="217" y="91"/>
                  </a:lnTo>
                  <a:lnTo>
                    <a:pt x="213" y="89"/>
                  </a:lnTo>
                  <a:close/>
                  <a:moveTo>
                    <a:pt x="185" y="92"/>
                  </a:moveTo>
                  <a:lnTo>
                    <a:pt x="183" y="92"/>
                  </a:lnTo>
                  <a:lnTo>
                    <a:pt x="183" y="94"/>
                  </a:lnTo>
                  <a:lnTo>
                    <a:pt x="181" y="94"/>
                  </a:lnTo>
                  <a:lnTo>
                    <a:pt x="181" y="96"/>
                  </a:lnTo>
                  <a:lnTo>
                    <a:pt x="180" y="98"/>
                  </a:lnTo>
                  <a:lnTo>
                    <a:pt x="181" y="100"/>
                  </a:lnTo>
                  <a:lnTo>
                    <a:pt x="183" y="102"/>
                  </a:lnTo>
                  <a:lnTo>
                    <a:pt x="187" y="104"/>
                  </a:lnTo>
                  <a:lnTo>
                    <a:pt x="189" y="102"/>
                  </a:lnTo>
                  <a:lnTo>
                    <a:pt x="191" y="102"/>
                  </a:lnTo>
                  <a:lnTo>
                    <a:pt x="191" y="100"/>
                  </a:lnTo>
                  <a:lnTo>
                    <a:pt x="191" y="96"/>
                  </a:lnTo>
                  <a:lnTo>
                    <a:pt x="189" y="94"/>
                  </a:lnTo>
                  <a:lnTo>
                    <a:pt x="187" y="92"/>
                  </a:lnTo>
                  <a:lnTo>
                    <a:pt x="185" y="92"/>
                  </a:lnTo>
                  <a:close/>
                  <a:moveTo>
                    <a:pt x="167" y="92"/>
                  </a:moveTo>
                  <a:lnTo>
                    <a:pt x="167" y="96"/>
                  </a:lnTo>
                  <a:lnTo>
                    <a:pt x="167" y="98"/>
                  </a:lnTo>
                  <a:lnTo>
                    <a:pt x="165" y="96"/>
                  </a:lnTo>
                  <a:lnTo>
                    <a:pt x="163" y="92"/>
                  </a:lnTo>
                  <a:lnTo>
                    <a:pt x="161" y="91"/>
                  </a:lnTo>
                  <a:lnTo>
                    <a:pt x="161" y="89"/>
                  </a:lnTo>
                  <a:lnTo>
                    <a:pt x="159" y="87"/>
                  </a:lnTo>
                  <a:lnTo>
                    <a:pt x="157" y="81"/>
                  </a:lnTo>
                  <a:lnTo>
                    <a:pt x="156" y="76"/>
                  </a:lnTo>
                  <a:lnTo>
                    <a:pt x="154" y="74"/>
                  </a:lnTo>
                  <a:lnTo>
                    <a:pt x="152" y="72"/>
                  </a:lnTo>
                  <a:lnTo>
                    <a:pt x="150" y="72"/>
                  </a:lnTo>
                  <a:lnTo>
                    <a:pt x="148" y="72"/>
                  </a:lnTo>
                  <a:lnTo>
                    <a:pt x="146" y="72"/>
                  </a:lnTo>
                  <a:lnTo>
                    <a:pt x="145" y="74"/>
                  </a:lnTo>
                  <a:lnTo>
                    <a:pt x="143" y="81"/>
                  </a:lnTo>
                  <a:lnTo>
                    <a:pt x="145" y="87"/>
                  </a:lnTo>
                  <a:lnTo>
                    <a:pt x="146" y="92"/>
                  </a:lnTo>
                  <a:lnTo>
                    <a:pt x="148" y="98"/>
                  </a:lnTo>
                  <a:lnTo>
                    <a:pt x="150" y="102"/>
                  </a:lnTo>
                  <a:lnTo>
                    <a:pt x="150" y="107"/>
                  </a:lnTo>
                  <a:lnTo>
                    <a:pt x="152" y="111"/>
                  </a:lnTo>
                  <a:lnTo>
                    <a:pt x="154" y="115"/>
                  </a:lnTo>
                  <a:lnTo>
                    <a:pt x="154" y="118"/>
                  </a:lnTo>
                  <a:lnTo>
                    <a:pt x="156" y="120"/>
                  </a:lnTo>
                  <a:lnTo>
                    <a:pt x="157" y="122"/>
                  </a:lnTo>
                  <a:lnTo>
                    <a:pt x="159" y="124"/>
                  </a:lnTo>
                  <a:lnTo>
                    <a:pt x="163" y="128"/>
                  </a:lnTo>
                  <a:lnTo>
                    <a:pt x="165" y="124"/>
                  </a:lnTo>
                  <a:lnTo>
                    <a:pt x="165" y="122"/>
                  </a:lnTo>
                  <a:lnTo>
                    <a:pt x="167" y="122"/>
                  </a:lnTo>
                  <a:lnTo>
                    <a:pt x="167" y="120"/>
                  </a:lnTo>
                  <a:lnTo>
                    <a:pt x="165" y="111"/>
                  </a:lnTo>
                  <a:lnTo>
                    <a:pt x="167" y="102"/>
                  </a:lnTo>
                  <a:lnTo>
                    <a:pt x="167" y="107"/>
                  </a:lnTo>
                  <a:lnTo>
                    <a:pt x="167" y="111"/>
                  </a:lnTo>
                  <a:lnTo>
                    <a:pt x="169" y="118"/>
                  </a:lnTo>
                  <a:lnTo>
                    <a:pt x="178" y="120"/>
                  </a:lnTo>
                  <a:lnTo>
                    <a:pt x="180" y="116"/>
                  </a:lnTo>
                  <a:lnTo>
                    <a:pt x="181" y="118"/>
                  </a:lnTo>
                  <a:lnTo>
                    <a:pt x="181" y="120"/>
                  </a:lnTo>
                  <a:lnTo>
                    <a:pt x="183" y="120"/>
                  </a:lnTo>
                  <a:lnTo>
                    <a:pt x="185" y="120"/>
                  </a:lnTo>
                  <a:lnTo>
                    <a:pt x="187" y="120"/>
                  </a:lnTo>
                  <a:lnTo>
                    <a:pt x="187" y="118"/>
                  </a:lnTo>
                  <a:lnTo>
                    <a:pt x="189" y="116"/>
                  </a:lnTo>
                  <a:lnTo>
                    <a:pt x="189" y="109"/>
                  </a:lnTo>
                  <a:lnTo>
                    <a:pt x="187" y="105"/>
                  </a:lnTo>
                  <a:lnTo>
                    <a:pt x="185" y="105"/>
                  </a:lnTo>
                  <a:lnTo>
                    <a:pt x="183" y="105"/>
                  </a:lnTo>
                  <a:lnTo>
                    <a:pt x="181" y="105"/>
                  </a:lnTo>
                  <a:lnTo>
                    <a:pt x="181" y="107"/>
                  </a:lnTo>
                  <a:lnTo>
                    <a:pt x="180" y="109"/>
                  </a:lnTo>
                  <a:lnTo>
                    <a:pt x="180" y="105"/>
                  </a:lnTo>
                  <a:lnTo>
                    <a:pt x="178" y="100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74" y="91"/>
                  </a:lnTo>
                  <a:lnTo>
                    <a:pt x="172" y="91"/>
                  </a:lnTo>
                  <a:lnTo>
                    <a:pt x="170" y="91"/>
                  </a:lnTo>
                  <a:lnTo>
                    <a:pt x="169" y="91"/>
                  </a:lnTo>
                  <a:lnTo>
                    <a:pt x="169" y="92"/>
                  </a:lnTo>
                  <a:lnTo>
                    <a:pt x="167" y="92"/>
                  </a:lnTo>
                  <a:close/>
                  <a:moveTo>
                    <a:pt x="130" y="96"/>
                  </a:moveTo>
                  <a:lnTo>
                    <a:pt x="133" y="98"/>
                  </a:lnTo>
                  <a:lnTo>
                    <a:pt x="137" y="98"/>
                  </a:lnTo>
                  <a:lnTo>
                    <a:pt x="139" y="100"/>
                  </a:lnTo>
                  <a:lnTo>
                    <a:pt x="141" y="102"/>
                  </a:lnTo>
                  <a:lnTo>
                    <a:pt x="143" y="102"/>
                  </a:lnTo>
                  <a:lnTo>
                    <a:pt x="145" y="102"/>
                  </a:lnTo>
                  <a:lnTo>
                    <a:pt x="146" y="102"/>
                  </a:lnTo>
                  <a:lnTo>
                    <a:pt x="148" y="100"/>
                  </a:lnTo>
                  <a:lnTo>
                    <a:pt x="146" y="96"/>
                  </a:lnTo>
                  <a:lnTo>
                    <a:pt x="145" y="92"/>
                  </a:lnTo>
                  <a:lnTo>
                    <a:pt x="143" y="89"/>
                  </a:lnTo>
                  <a:lnTo>
                    <a:pt x="141" y="87"/>
                  </a:lnTo>
                  <a:lnTo>
                    <a:pt x="139" y="87"/>
                  </a:lnTo>
                  <a:lnTo>
                    <a:pt x="137" y="85"/>
                  </a:lnTo>
                  <a:lnTo>
                    <a:pt x="133" y="83"/>
                  </a:lnTo>
                  <a:lnTo>
                    <a:pt x="132" y="83"/>
                  </a:lnTo>
                  <a:lnTo>
                    <a:pt x="128" y="85"/>
                  </a:lnTo>
                  <a:lnTo>
                    <a:pt x="126" y="87"/>
                  </a:lnTo>
                  <a:lnTo>
                    <a:pt x="124" y="89"/>
                  </a:lnTo>
                  <a:lnTo>
                    <a:pt x="124" y="92"/>
                  </a:lnTo>
                  <a:lnTo>
                    <a:pt x="126" y="94"/>
                  </a:lnTo>
                  <a:lnTo>
                    <a:pt x="128" y="94"/>
                  </a:lnTo>
                  <a:lnTo>
                    <a:pt x="130" y="96"/>
                  </a:lnTo>
                  <a:close/>
                  <a:moveTo>
                    <a:pt x="135" y="111"/>
                  </a:moveTo>
                  <a:lnTo>
                    <a:pt x="135" y="113"/>
                  </a:lnTo>
                  <a:lnTo>
                    <a:pt x="135" y="115"/>
                  </a:lnTo>
                  <a:lnTo>
                    <a:pt x="137" y="116"/>
                  </a:lnTo>
                  <a:lnTo>
                    <a:pt x="137" y="118"/>
                  </a:lnTo>
                  <a:lnTo>
                    <a:pt x="139" y="120"/>
                  </a:lnTo>
                  <a:lnTo>
                    <a:pt x="141" y="122"/>
                  </a:lnTo>
                  <a:lnTo>
                    <a:pt x="146" y="124"/>
                  </a:lnTo>
                  <a:lnTo>
                    <a:pt x="152" y="126"/>
                  </a:lnTo>
                  <a:lnTo>
                    <a:pt x="152" y="122"/>
                  </a:lnTo>
                  <a:lnTo>
                    <a:pt x="152" y="120"/>
                  </a:lnTo>
                  <a:lnTo>
                    <a:pt x="152" y="118"/>
                  </a:lnTo>
                  <a:lnTo>
                    <a:pt x="152" y="116"/>
                  </a:lnTo>
                  <a:lnTo>
                    <a:pt x="148" y="113"/>
                  </a:lnTo>
                  <a:lnTo>
                    <a:pt x="146" y="111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7" y="109"/>
                  </a:lnTo>
                  <a:lnTo>
                    <a:pt x="135" y="111"/>
                  </a:lnTo>
                  <a:close/>
                  <a:moveTo>
                    <a:pt x="257" y="98"/>
                  </a:moveTo>
                  <a:lnTo>
                    <a:pt x="255" y="100"/>
                  </a:lnTo>
                  <a:lnTo>
                    <a:pt x="254" y="102"/>
                  </a:lnTo>
                  <a:lnTo>
                    <a:pt x="252" y="104"/>
                  </a:lnTo>
                  <a:lnTo>
                    <a:pt x="252" y="105"/>
                  </a:lnTo>
                  <a:lnTo>
                    <a:pt x="252" y="111"/>
                  </a:lnTo>
                  <a:lnTo>
                    <a:pt x="255" y="115"/>
                  </a:lnTo>
                  <a:lnTo>
                    <a:pt x="259" y="115"/>
                  </a:lnTo>
                  <a:lnTo>
                    <a:pt x="261" y="115"/>
                  </a:lnTo>
                  <a:lnTo>
                    <a:pt x="263" y="111"/>
                  </a:lnTo>
                  <a:lnTo>
                    <a:pt x="263" y="107"/>
                  </a:lnTo>
                  <a:lnTo>
                    <a:pt x="263" y="102"/>
                  </a:lnTo>
                  <a:lnTo>
                    <a:pt x="259" y="98"/>
                  </a:lnTo>
                  <a:lnTo>
                    <a:pt x="257" y="98"/>
                  </a:lnTo>
                  <a:close/>
                  <a:moveTo>
                    <a:pt x="183" y="126"/>
                  </a:moveTo>
                  <a:lnTo>
                    <a:pt x="181" y="126"/>
                  </a:lnTo>
                  <a:lnTo>
                    <a:pt x="180" y="126"/>
                  </a:lnTo>
                  <a:lnTo>
                    <a:pt x="178" y="128"/>
                  </a:lnTo>
                  <a:lnTo>
                    <a:pt x="178" y="129"/>
                  </a:lnTo>
                  <a:lnTo>
                    <a:pt x="176" y="131"/>
                  </a:lnTo>
                  <a:lnTo>
                    <a:pt x="178" y="133"/>
                  </a:lnTo>
                  <a:lnTo>
                    <a:pt x="178" y="135"/>
                  </a:lnTo>
                  <a:lnTo>
                    <a:pt x="180" y="135"/>
                  </a:lnTo>
                  <a:lnTo>
                    <a:pt x="181" y="137"/>
                  </a:lnTo>
                  <a:lnTo>
                    <a:pt x="183" y="137"/>
                  </a:lnTo>
                  <a:lnTo>
                    <a:pt x="187" y="137"/>
                  </a:lnTo>
                  <a:lnTo>
                    <a:pt x="189" y="135"/>
                  </a:lnTo>
                  <a:lnTo>
                    <a:pt x="189" y="133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89" y="129"/>
                  </a:lnTo>
                  <a:lnTo>
                    <a:pt x="189" y="128"/>
                  </a:lnTo>
                  <a:lnTo>
                    <a:pt x="187" y="126"/>
                  </a:lnTo>
                  <a:lnTo>
                    <a:pt x="185" y="126"/>
                  </a:lnTo>
                  <a:lnTo>
                    <a:pt x="183" y="126"/>
                  </a:lnTo>
                  <a:close/>
                  <a:moveTo>
                    <a:pt x="163" y="128"/>
                  </a:moveTo>
                  <a:lnTo>
                    <a:pt x="163" y="128"/>
                  </a:lnTo>
                  <a:lnTo>
                    <a:pt x="161" y="128"/>
                  </a:lnTo>
                  <a:lnTo>
                    <a:pt x="161" y="129"/>
                  </a:lnTo>
                  <a:lnTo>
                    <a:pt x="159" y="129"/>
                  </a:lnTo>
                  <a:lnTo>
                    <a:pt x="159" y="133"/>
                  </a:lnTo>
                  <a:lnTo>
                    <a:pt x="159" y="139"/>
                  </a:lnTo>
                  <a:lnTo>
                    <a:pt x="159" y="140"/>
                  </a:lnTo>
                  <a:lnTo>
                    <a:pt x="161" y="140"/>
                  </a:lnTo>
                  <a:lnTo>
                    <a:pt x="161" y="142"/>
                  </a:lnTo>
                  <a:lnTo>
                    <a:pt x="163" y="142"/>
                  </a:lnTo>
                  <a:lnTo>
                    <a:pt x="165" y="140"/>
                  </a:lnTo>
                  <a:lnTo>
                    <a:pt x="165" y="142"/>
                  </a:lnTo>
                  <a:lnTo>
                    <a:pt x="165" y="144"/>
                  </a:lnTo>
                  <a:lnTo>
                    <a:pt x="165" y="146"/>
                  </a:lnTo>
                  <a:lnTo>
                    <a:pt x="165" y="148"/>
                  </a:lnTo>
                  <a:lnTo>
                    <a:pt x="167" y="148"/>
                  </a:lnTo>
                  <a:lnTo>
                    <a:pt x="169" y="150"/>
                  </a:lnTo>
                  <a:lnTo>
                    <a:pt x="170" y="150"/>
                  </a:lnTo>
                  <a:lnTo>
                    <a:pt x="172" y="150"/>
                  </a:lnTo>
                  <a:lnTo>
                    <a:pt x="174" y="150"/>
                  </a:lnTo>
                  <a:lnTo>
                    <a:pt x="176" y="148"/>
                  </a:lnTo>
                  <a:lnTo>
                    <a:pt x="176" y="146"/>
                  </a:lnTo>
                  <a:lnTo>
                    <a:pt x="176" y="144"/>
                  </a:lnTo>
                  <a:lnTo>
                    <a:pt x="178" y="142"/>
                  </a:lnTo>
                  <a:lnTo>
                    <a:pt x="176" y="142"/>
                  </a:lnTo>
                  <a:lnTo>
                    <a:pt x="176" y="140"/>
                  </a:lnTo>
                  <a:lnTo>
                    <a:pt x="174" y="139"/>
                  </a:lnTo>
                  <a:lnTo>
                    <a:pt x="172" y="137"/>
                  </a:lnTo>
                  <a:lnTo>
                    <a:pt x="170" y="137"/>
                  </a:lnTo>
                  <a:lnTo>
                    <a:pt x="169" y="137"/>
                  </a:lnTo>
                  <a:lnTo>
                    <a:pt x="169" y="139"/>
                  </a:lnTo>
                  <a:lnTo>
                    <a:pt x="167" y="139"/>
                  </a:lnTo>
                  <a:lnTo>
                    <a:pt x="169" y="137"/>
                  </a:lnTo>
                  <a:lnTo>
                    <a:pt x="169" y="135"/>
                  </a:lnTo>
                  <a:lnTo>
                    <a:pt x="167" y="131"/>
                  </a:lnTo>
                  <a:lnTo>
                    <a:pt x="165" y="128"/>
                  </a:lnTo>
                  <a:lnTo>
                    <a:pt x="163" y="128"/>
                  </a:lnTo>
                  <a:close/>
                  <a:moveTo>
                    <a:pt x="159" y="174"/>
                  </a:moveTo>
                  <a:lnTo>
                    <a:pt x="157" y="174"/>
                  </a:lnTo>
                  <a:lnTo>
                    <a:pt x="156" y="174"/>
                  </a:lnTo>
                  <a:lnTo>
                    <a:pt x="154" y="176"/>
                  </a:lnTo>
                  <a:lnTo>
                    <a:pt x="154" y="177"/>
                  </a:lnTo>
                  <a:lnTo>
                    <a:pt x="154" y="179"/>
                  </a:lnTo>
                  <a:lnTo>
                    <a:pt x="156" y="181"/>
                  </a:lnTo>
                  <a:lnTo>
                    <a:pt x="157" y="181"/>
                  </a:lnTo>
                  <a:lnTo>
                    <a:pt x="159" y="183"/>
                  </a:lnTo>
                  <a:lnTo>
                    <a:pt x="159" y="181"/>
                  </a:lnTo>
                  <a:lnTo>
                    <a:pt x="161" y="181"/>
                  </a:lnTo>
                  <a:lnTo>
                    <a:pt x="163" y="179"/>
                  </a:lnTo>
                  <a:lnTo>
                    <a:pt x="163" y="177"/>
                  </a:lnTo>
                  <a:lnTo>
                    <a:pt x="163" y="176"/>
                  </a:lnTo>
                  <a:lnTo>
                    <a:pt x="161" y="174"/>
                  </a:lnTo>
                  <a:lnTo>
                    <a:pt x="159" y="174"/>
                  </a:lnTo>
                  <a:close/>
                  <a:moveTo>
                    <a:pt x="156" y="183"/>
                  </a:moveTo>
                  <a:lnTo>
                    <a:pt x="154" y="185"/>
                  </a:lnTo>
                  <a:lnTo>
                    <a:pt x="152" y="185"/>
                  </a:lnTo>
                  <a:lnTo>
                    <a:pt x="148" y="190"/>
                  </a:lnTo>
                  <a:lnTo>
                    <a:pt x="148" y="196"/>
                  </a:lnTo>
                  <a:lnTo>
                    <a:pt x="150" y="200"/>
                  </a:lnTo>
                  <a:lnTo>
                    <a:pt x="154" y="201"/>
                  </a:lnTo>
                  <a:lnTo>
                    <a:pt x="156" y="201"/>
                  </a:lnTo>
                  <a:lnTo>
                    <a:pt x="159" y="200"/>
                  </a:lnTo>
                  <a:lnTo>
                    <a:pt x="161" y="198"/>
                  </a:lnTo>
                  <a:lnTo>
                    <a:pt x="163" y="194"/>
                  </a:lnTo>
                  <a:lnTo>
                    <a:pt x="163" y="189"/>
                  </a:lnTo>
                  <a:lnTo>
                    <a:pt x="159" y="185"/>
                  </a:lnTo>
                  <a:lnTo>
                    <a:pt x="157" y="185"/>
                  </a:lnTo>
                  <a:lnTo>
                    <a:pt x="156" y="183"/>
                  </a:lnTo>
                  <a:close/>
                  <a:moveTo>
                    <a:pt x="141" y="185"/>
                  </a:moveTo>
                  <a:lnTo>
                    <a:pt x="137" y="187"/>
                  </a:lnTo>
                  <a:lnTo>
                    <a:pt x="135" y="187"/>
                  </a:lnTo>
                  <a:lnTo>
                    <a:pt x="133" y="189"/>
                  </a:lnTo>
                  <a:lnTo>
                    <a:pt x="133" y="190"/>
                  </a:lnTo>
                  <a:lnTo>
                    <a:pt x="133" y="192"/>
                  </a:lnTo>
                  <a:lnTo>
                    <a:pt x="133" y="194"/>
                  </a:lnTo>
                  <a:lnTo>
                    <a:pt x="135" y="194"/>
                  </a:lnTo>
                  <a:lnTo>
                    <a:pt x="141" y="196"/>
                  </a:lnTo>
                  <a:lnTo>
                    <a:pt x="146" y="194"/>
                  </a:lnTo>
                  <a:lnTo>
                    <a:pt x="146" y="192"/>
                  </a:lnTo>
                  <a:lnTo>
                    <a:pt x="148" y="192"/>
                  </a:lnTo>
                  <a:lnTo>
                    <a:pt x="148" y="190"/>
                  </a:lnTo>
                  <a:lnTo>
                    <a:pt x="146" y="189"/>
                  </a:lnTo>
                  <a:lnTo>
                    <a:pt x="146" y="187"/>
                  </a:lnTo>
                  <a:lnTo>
                    <a:pt x="143" y="187"/>
                  </a:lnTo>
                  <a:lnTo>
                    <a:pt x="141" y="185"/>
                  </a:lnTo>
                  <a:close/>
                  <a:moveTo>
                    <a:pt x="102" y="85"/>
                  </a:moveTo>
                  <a:lnTo>
                    <a:pt x="100" y="85"/>
                  </a:lnTo>
                  <a:lnTo>
                    <a:pt x="98" y="87"/>
                  </a:lnTo>
                  <a:lnTo>
                    <a:pt x="97" y="91"/>
                  </a:lnTo>
                  <a:lnTo>
                    <a:pt x="98" y="94"/>
                  </a:lnTo>
                  <a:lnTo>
                    <a:pt x="100" y="96"/>
                  </a:lnTo>
                  <a:lnTo>
                    <a:pt x="102" y="96"/>
                  </a:lnTo>
                  <a:lnTo>
                    <a:pt x="104" y="96"/>
                  </a:lnTo>
                  <a:lnTo>
                    <a:pt x="106" y="96"/>
                  </a:lnTo>
                  <a:lnTo>
                    <a:pt x="106" y="94"/>
                  </a:lnTo>
                  <a:lnTo>
                    <a:pt x="108" y="92"/>
                  </a:lnTo>
                  <a:lnTo>
                    <a:pt x="108" y="91"/>
                  </a:lnTo>
                  <a:lnTo>
                    <a:pt x="108" y="87"/>
                  </a:lnTo>
                  <a:lnTo>
                    <a:pt x="106" y="87"/>
                  </a:lnTo>
                  <a:lnTo>
                    <a:pt x="106" y="85"/>
                  </a:lnTo>
                  <a:lnTo>
                    <a:pt x="104" y="85"/>
                  </a:lnTo>
                  <a:lnTo>
                    <a:pt x="102" y="85"/>
                  </a:lnTo>
                  <a:close/>
                  <a:moveTo>
                    <a:pt x="167" y="76"/>
                  </a:moveTo>
                  <a:lnTo>
                    <a:pt x="169" y="80"/>
                  </a:lnTo>
                  <a:lnTo>
                    <a:pt x="170" y="81"/>
                  </a:lnTo>
                  <a:lnTo>
                    <a:pt x="172" y="81"/>
                  </a:lnTo>
                  <a:lnTo>
                    <a:pt x="174" y="83"/>
                  </a:lnTo>
                  <a:lnTo>
                    <a:pt x="176" y="85"/>
                  </a:lnTo>
                  <a:lnTo>
                    <a:pt x="180" y="85"/>
                  </a:lnTo>
                  <a:lnTo>
                    <a:pt x="181" y="87"/>
                  </a:lnTo>
                  <a:lnTo>
                    <a:pt x="183" y="87"/>
                  </a:lnTo>
                  <a:lnTo>
                    <a:pt x="185" y="87"/>
                  </a:lnTo>
                  <a:lnTo>
                    <a:pt x="187" y="87"/>
                  </a:lnTo>
                  <a:lnTo>
                    <a:pt x="189" y="87"/>
                  </a:lnTo>
                  <a:lnTo>
                    <a:pt x="191" y="85"/>
                  </a:lnTo>
                  <a:lnTo>
                    <a:pt x="191" y="83"/>
                  </a:lnTo>
                  <a:lnTo>
                    <a:pt x="193" y="81"/>
                  </a:lnTo>
                  <a:lnTo>
                    <a:pt x="193" y="80"/>
                  </a:lnTo>
                  <a:lnTo>
                    <a:pt x="193" y="78"/>
                  </a:lnTo>
                  <a:lnTo>
                    <a:pt x="193" y="72"/>
                  </a:lnTo>
                  <a:lnTo>
                    <a:pt x="191" y="67"/>
                  </a:lnTo>
                  <a:lnTo>
                    <a:pt x="185" y="70"/>
                  </a:lnTo>
                  <a:lnTo>
                    <a:pt x="183" y="70"/>
                  </a:lnTo>
                  <a:lnTo>
                    <a:pt x="181" y="70"/>
                  </a:lnTo>
                  <a:lnTo>
                    <a:pt x="180" y="70"/>
                  </a:lnTo>
                  <a:lnTo>
                    <a:pt x="178" y="68"/>
                  </a:lnTo>
                  <a:lnTo>
                    <a:pt x="176" y="67"/>
                  </a:lnTo>
                  <a:lnTo>
                    <a:pt x="174" y="67"/>
                  </a:lnTo>
                  <a:lnTo>
                    <a:pt x="172" y="67"/>
                  </a:lnTo>
                  <a:lnTo>
                    <a:pt x="170" y="67"/>
                  </a:lnTo>
                  <a:lnTo>
                    <a:pt x="169" y="67"/>
                  </a:lnTo>
                  <a:lnTo>
                    <a:pt x="165" y="68"/>
                  </a:lnTo>
                  <a:lnTo>
                    <a:pt x="165" y="72"/>
                  </a:lnTo>
                  <a:lnTo>
                    <a:pt x="165" y="74"/>
                  </a:lnTo>
                  <a:lnTo>
                    <a:pt x="167" y="76"/>
                  </a:lnTo>
                  <a:close/>
                  <a:moveTo>
                    <a:pt x="233" y="179"/>
                  </a:moveTo>
                  <a:lnTo>
                    <a:pt x="233" y="179"/>
                  </a:lnTo>
                  <a:lnTo>
                    <a:pt x="235" y="181"/>
                  </a:lnTo>
                  <a:lnTo>
                    <a:pt x="239" y="183"/>
                  </a:lnTo>
                  <a:lnTo>
                    <a:pt x="241" y="185"/>
                  </a:lnTo>
                  <a:lnTo>
                    <a:pt x="242" y="185"/>
                  </a:lnTo>
                  <a:lnTo>
                    <a:pt x="244" y="187"/>
                  </a:lnTo>
                  <a:lnTo>
                    <a:pt x="246" y="187"/>
                  </a:lnTo>
                  <a:lnTo>
                    <a:pt x="248" y="187"/>
                  </a:lnTo>
                  <a:lnTo>
                    <a:pt x="250" y="187"/>
                  </a:lnTo>
                  <a:lnTo>
                    <a:pt x="254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1" y="187"/>
                  </a:lnTo>
                  <a:lnTo>
                    <a:pt x="265" y="185"/>
                  </a:lnTo>
                  <a:lnTo>
                    <a:pt x="274" y="179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1" y="176"/>
                  </a:lnTo>
                  <a:lnTo>
                    <a:pt x="281" y="174"/>
                  </a:lnTo>
                  <a:lnTo>
                    <a:pt x="283" y="172"/>
                  </a:lnTo>
                  <a:lnTo>
                    <a:pt x="283" y="170"/>
                  </a:lnTo>
                  <a:lnTo>
                    <a:pt x="283" y="168"/>
                  </a:lnTo>
                  <a:lnTo>
                    <a:pt x="283" y="166"/>
                  </a:lnTo>
                  <a:lnTo>
                    <a:pt x="283" y="163"/>
                  </a:lnTo>
                  <a:lnTo>
                    <a:pt x="283" y="161"/>
                  </a:lnTo>
                  <a:lnTo>
                    <a:pt x="281" y="157"/>
                  </a:lnTo>
                  <a:lnTo>
                    <a:pt x="281" y="155"/>
                  </a:lnTo>
                  <a:lnTo>
                    <a:pt x="279" y="153"/>
                  </a:lnTo>
                  <a:lnTo>
                    <a:pt x="278" y="152"/>
                  </a:lnTo>
                  <a:lnTo>
                    <a:pt x="276" y="152"/>
                  </a:lnTo>
                  <a:lnTo>
                    <a:pt x="274" y="152"/>
                  </a:lnTo>
                  <a:lnTo>
                    <a:pt x="270" y="152"/>
                  </a:lnTo>
                  <a:lnTo>
                    <a:pt x="268" y="153"/>
                  </a:lnTo>
                  <a:lnTo>
                    <a:pt x="268" y="155"/>
                  </a:lnTo>
                  <a:lnTo>
                    <a:pt x="266" y="157"/>
                  </a:lnTo>
                  <a:lnTo>
                    <a:pt x="266" y="159"/>
                  </a:lnTo>
                  <a:lnTo>
                    <a:pt x="266" y="157"/>
                  </a:lnTo>
                  <a:lnTo>
                    <a:pt x="263" y="157"/>
                  </a:lnTo>
                  <a:lnTo>
                    <a:pt x="259" y="157"/>
                  </a:lnTo>
                  <a:lnTo>
                    <a:pt x="250" y="157"/>
                  </a:lnTo>
                  <a:lnTo>
                    <a:pt x="242" y="159"/>
                  </a:lnTo>
                  <a:lnTo>
                    <a:pt x="241" y="159"/>
                  </a:lnTo>
                  <a:lnTo>
                    <a:pt x="239" y="159"/>
                  </a:lnTo>
                  <a:lnTo>
                    <a:pt x="237" y="161"/>
                  </a:lnTo>
                  <a:lnTo>
                    <a:pt x="237" y="163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3" y="166"/>
                  </a:lnTo>
                  <a:lnTo>
                    <a:pt x="233" y="168"/>
                  </a:lnTo>
                  <a:lnTo>
                    <a:pt x="231" y="170"/>
                  </a:lnTo>
                  <a:lnTo>
                    <a:pt x="231" y="172"/>
                  </a:lnTo>
                  <a:lnTo>
                    <a:pt x="231" y="174"/>
                  </a:lnTo>
                  <a:lnTo>
                    <a:pt x="231" y="176"/>
                  </a:lnTo>
                  <a:lnTo>
                    <a:pt x="233" y="177"/>
                  </a:lnTo>
                  <a:lnTo>
                    <a:pt x="233" y="179"/>
                  </a:lnTo>
                  <a:close/>
                  <a:moveTo>
                    <a:pt x="202" y="133"/>
                  </a:moveTo>
                  <a:lnTo>
                    <a:pt x="204" y="139"/>
                  </a:lnTo>
                  <a:lnTo>
                    <a:pt x="206" y="140"/>
                  </a:lnTo>
                  <a:lnTo>
                    <a:pt x="207" y="142"/>
                  </a:lnTo>
                  <a:lnTo>
                    <a:pt x="209" y="144"/>
                  </a:lnTo>
                  <a:lnTo>
                    <a:pt x="211" y="144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7" y="148"/>
                  </a:lnTo>
                  <a:lnTo>
                    <a:pt x="220" y="148"/>
                  </a:lnTo>
                  <a:lnTo>
                    <a:pt x="224" y="148"/>
                  </a:lnTo>
                  <a:lnTo>
                    <a:pt x="228" y="148"/>
                  </a:lnTo>
                  <a:lnTo>
                    <a:pt x="230" y="146"/>
                  </a:lnTo>
                  <a:lnTo>
                    <a:pt x="231" y="146"/>
                  </a:lnTo>
                  <a:lnTo>
                    <a:pt x="233" y="146"/>
                  </a:lnTo>
                  <a:lnTo>
                    <a:pt x="233" y="144"/>
                  </a:lnTo>
                  <a:lnTo>
                    <a:pt x="235" y="144"/>
                  </a:lnTo>
                  <a:lnTo>
                    <a:pt x="235" y="142"/>
                  </a:lnTo>
                  <a:lnTo>
                    <a:pt x="237" y="142"/>
                  </a:lnTo>
                  <a:lnTo>
                    <a:pt x="237" y="140"/>
                  </a:lnTo>
                  <a:lnTo>
                    <a:pt x="237" y="139"/>
                  </a:lnTo>
                  <a:lnTo>
                    <a:pt x="237" y="137"/>
                  </a:lnTo>
                  <a:lnTo>
                    <a:pt x="237" y="135"/>
                  </a:lnTo>
                  <a:lnTo>
                    <a:pt x="237" y="133"/>
                  </a:lnTo>
                  <a:lnTo>
                    <a:pt x="235" y="131"/>
                  </a:lnTo>
                  <a:lnTo>
                    <a:pt x="233" y="129"/>
                  </a:lnTo>
                  <a:lnTo>
                    <a:pt x="224" y="129"/>
                  </a:lnTo>
                  <a:lnTo>
                    <a:pt x="215" y="129"/>
                  </a:lnTo>
                  <a:lnTo>
                    <a:pt x="209" y="131"/>
                  </a:lnTo>
                  <a:lnTo>
                    <a:pt x="206" y="131"/>
                  </a:lnTo>
                  <a:lnTo>
                    <a:pt x="202" y="133"/>
                  </a:lnTo>
                  <a:close/>
                  <a:moveTo>
                    <a:pt x="187" y="144"/>
                  </a:moveTo>
                  <a:lnTo>
                    <a:pt x="178" y="153"/>
                  </a:lnTo>
                  <a:lnTo>
                    <a:pt x="176" y="155"/>
                  </a:lnTo>
                  <a:lnTo>
                    <a:pt x="174" y="157"/>
                  </a:lnTo>
                  <a:lnTo>
                    <a:pt x="172" y="159"/>
                  </a:lnTo>
                  <a:lnTo>
                    <a:pt x="172" y="161"/>
                  </a:lnTo>
                  <a:lnTo>
                    <a:pt x="172" y="163"/>
                  </a:lnTo>
                  <a:lnTo>
                    <a:pt x="172" y="165"/>
                  </a:lnTo>
                  <a:lnTo>
                    <a:pt x="172" y="166"/>
                  </a:lnTo>
                  <a:lnTo>
                    <a:pt x="172" y="168"/>
                  </a:lnTo>
                  <a:lnTo>
                    <a:pt x="174" y="170"/>
                  </a:lnTo>
                  <a:lnTo>
                    <a:pt x="174" y="172"/>
                  </a:lnTo>
                  <a:lnTo>
                    <a:pt x="176" y="174"/>
                  </a:lnTo>
                  <a:lnTo>
                    <a:pt x="178" y="176"/>
                  </a:lnTo>
                  <a:lnTo>
                    <a:pt x="180" y="177"/>
                  </a:lnTo>
                  <a:lnTo>
                    <a:pt x="181" y="177"/>
                  </a:lnTo>
                  <a:lnTo>
                    <a:pt x="185" y="179"/>
                  </a:lnTo>
                  <a:lnTo>
                    <a:pt x="187" y="181"/>
                  </a:lnTo>
                  <a:lnTo>
                    <a:pt x="189" y="181"/>
                  </a:lnTo>
                  <a:lnTo>
                    <a:pt x="193" y="181"/>
                  </a:lnTo>
                  <a:lnTo>
                    <a:pt x="196" y="181"/>
                  </a:lnTo>
                  <a:lnTo>
                    <a:pt x="198" y="181"/>
                  </a:lnTo>
                  <a:lnTo>
                    <a:pt x="202" y="179"/>
                  </a:lnTo>
                  <a:lnTo>
                    <a:pt x="204" y="179"/>
                  </a:lnTo>
                  <a:lnTo>
                    <a:pt x="206" y="179"/>
                  </a:lnTo>
                  <a:lnTo>
                    <a:pt x="209" y="177"/>
                  </a:lnTo>
                  <a:lnTo>
                    <a:pt x="211" y="177"/>
                  </a:lnTo>
                  <a:lnTo>
                    <a:pt x="218" y="172"/>
                  </a:lnTo>
                  <a:lnTo>
                    <a:pt x="226" y="168"/>
                  </a:lnTo>
                  <a:lnTo>
                    <a:pt x="226" y="166"/>
                  </a:lnTo>
                  <a:lnTo>
                    <a:pt x="228" y="166"/>
                  </a:lnTo>
                  <a:lnTo>
                    <a:pt x="228" y="165"/>
                  </a:lnTo>
                  <a:lnTo>
                    <a:pt x="228" y="163"/>
                  </a:lnTo>
                  <a:lnTo>
                    <a:pt x="228" y="161"/>
                  </a:lnTo>
                  <a:lnTo>
                    <a:pt x="228" y="159"/>
                  </a:lnTo>
                  <a:lnTo>
                    <a:pt x="226" y="157"/>
                  </a:lnTo>
                  <a:lnTo>
                    <a:pt x="224" y="155"/>
                  </a:lnTo>
                  <a:lnTo>
                    <a:pt x="222" y="155"/>
                  </a:lnTo>
                  <a:lnTo>
                    <a:pt x="220" y="153"/>
                  </a:lnTo>
                  <a:lnTo>
                    <a:pt x="213" y="152"/>
                  </a:lnTo>
                  <a:lnTo>
                    <a:pt x="204" y="150"/>
                  </a:lnTo>
                  <a:lnTo>
                    <a:pt x="202" y="150"/>
                  </a:lnTo>
                  <a:lnTo>
                    <a:pt x="200" y="148"/>
                  </a:lnTo>
                  <a:lnTo>
                    <a:pt x="198" y="146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1" y="144"/>
                  </a:lnTo>
                  <a:lnTo>
                    <a:pt x="189" y="144"/>
                  </a:lnTo>
                  <a:lnTo>
                    <a:pt x="187" y="144"/>
                  </a:lnTo>
                  <a:close/>
                  <a:moveTo>
                    <a:pt x="143" y="142"/>
                  </a:moveTo>
                  <a:lnTo>
                    <a:pt x="143" y="144"/>
                  </a:lnTo>
                  <a:lnTo>
                    <a:pt x="143" y="146"/>
                  </a:lnTo>
                  <a:lnTo>
                    <a:pt x="141" y="148"/>
                  </a:lnTo>
                  <a:lnTo>
                    <a:pt x="139" y="153"/>
                  </a:lnTo>
                  <a:lnTo>
                    <a:pt x="135" y="157"/>
                  </a:lnTo>
                  <a:lnTo>
                    <a:pt x="135" y="159"/>
                  </a:lnTo>
                  <a:lnTo>
                    <a:pt x="135" y="161"/>
                  </a:lnTo>
                  <a:lnTo>
                    <a:pt x="133" y="163"/>
                  </a:lnTo>
                  <a:lnTo>
                    <a:pt x="133" y="165"/>
                  </a:lnTo>
                  <a:lnTo>
                    <a:pt x="133" y="168"/>
                  </a:lnTo>
                  <a:lnTo>
                    <a:pt x="135" y="168"/>
                  </a:lnTo>
                  <a:lnTo>
                    <a:pt x="135" y="170"/>
                  </a:lnTo>
                  <a:lnTo>
                    <a:pt x="139" y="172"/>
                  </a:lnTo>
                  <a:lnTo>
                    <a:pt x="141" y="172"/>
                  </a:lnTo>
                  <a:lnTo>
                    <a:pt x="143" y="172"/>
                  </a:lnTo>
                  <a:lnTo>
                    <a:pt x="145" y="172"/>
                  </a:lnTo>
                  <a:lnTo>
                    <a:pt x="146" y="172"/>
                  </a:lnTo>
                  <a:lnTo>
                    <a:pt x="148" y="170"/>
                  </a:lnTo>
                  <a:lnTo>
                    <a:pt x="150" y="170"/>
                  </a:lnTo>
                  <a:lnTo>
                    <a:pt x="152" y="168"/>
                  </a:lnTo>
                  <a:lnTo>
                    <a:pt x="154" y="168"/>
                  </a:lnTo>
                  <a:lnTo>
                    <a:pt x="156" y="168"/>
                  </a:lnTo>
                  <a:lnTo>
                    <a:pt x="157" y="168"/>
                  </a:lnTo>
                  <a:lnTo>
                    <a:pt x="157" y="170"/>
                  </a:lnTo>
                  <a:lnTo>
                    <a:pt x="159" y="172"/>
                  </a:lnTo>
                  <a:lnTo>
                    <a:pt x="161" y="172"/>
                  </a:lnTo>
                  <a:lnTo>
                    <a:pt x="163" y="172"/>
                  </a:lnTo>
                  <a:lnTo>
                    <a:pt x="167" y="172"/>
                  </a:lnTo>
                  <a:lnTo>
                    <a:pt x="167" y="170"/>
                  </a:lnTo>
                  <a:lnTo>
                    <a:pt x="167" y="168"/>
                  </a:lnTo>
                  <a:lnTo>
                    <a:pt x="167" y="166"/>
                  </a:lnTo>
                  <a:lnTo>
                    <a:pt x="167" y="165"/>
                  </a:lnTo>
                  <a:lnTo>
                    <a:pt x="167" y="163"/>
                  </a:lnTo>
                  <a:lnTo>
                    <a:pt x="167" y="161"/>
                  </a:lnTo>
                  <a:lnTo>
                    <a:pt x="165" y="157"/>
                  </a:lnTo>
                  <a:lnTo>
                    <a:pt x="163" y="153"/>
                  </a:lnTo>
                  <a:lnTo>
                    <a:pt x="161" y="150"/>
                  </a:lnTo>
                  <a:lnTo>
                    <a:pt x="159" y="148"/>
                  </a:lnTo>
                  <a:lnTo>
                    <a:pt x="157" y="144"/>
                  </a:lnTo>
                  <a:lnTo>
                    <a:pt x="156" y="144"/>
                  </a:lnTo>
                  <a:lnTo>
                    <a:pt x="156" y="142"/>
                  </a:lnTo>
                  <a:lnTo>
                    <a:pt x="152" y="140"/>
                  </a:lnTo>
                  <a:lnTo>
                    <a:pt x="152" y="139"/>
                  </a:lnTo>
                  <a:lnTo>
                    <a:pt x="150" y="139"/>
                  </a:lnTo>
                  <a:lnTo>
                    <a:pt x="148" y="139"/>
                  </a:lnTo>
                  <a:lnTo>
                    <a:pt x="146" y="139"/>
                  </a:lnTo>
                  <a:lnTo>
                    <a:pt x="145" y="139"/>
                  </a:lnTo>
                  <a:lnTo>
                    <a:pt x="143" y="140"/>
                  </a:lnTo>
                  <a:lnTo>
                    <a:pt x="143" y="142"/>
                  </a:lnTo>
                  <a:close/>
                  <a:moveTo>
                    <a:pt x="135" y="140"/>
                  </a:moveTo>
                  <a:lnTo>
                    <a:pt x="133" y="139"/>
                  </a:lnTo>
                  <a:lnTo>
                    <a:pt x="132" y="139"/>
                  </a:lnTo>
                  <a:lnTo>
                    <a:pt x="130" y="139"/>
                  </a:lnTo>
                  <a:lnTo>
                    <a:pt x="126" y="140"/>
                  </a:lnTo>
                  <a:lnTo>
                    <a:pt x="122" y="142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5" y="146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9" y="150"/>
                  </a:lnTo>
                  <a:lnTo>
                    <a:pt x="109" y="152"/>
                  </a:lnTo>
                  <a:lnTo>
                    <a:pt x="109" y="153"/>
                  </a:lnTo>
                  <a:lnTo>
                    <a:pt x="109" y="155"/>
                  </a:lnTo>
                  <a:lnTo>
                    <a:pt x="111" y="157"/>
                  </a:lnTo>
                  <a:lnTo>
                    <a:pt x="111" y="159"/>
                  </a:lnTo>
                  <a:lnTo>
                    <a:pt x="113" y="159"/>
                  </a:lnTo>
                  <a:lnTo>
                    <a:pt x="115" y="161"/>
                  </a:lnTo>
                  <a:lnTo>
                    <a:pt x="117" y="161"/>
                  </a:lnTo>
                  <a:lnTo>
                    <a:pt x="119" y="161"/>
                  </a:lnTo>
                  <a:lnTo>
                    <a:pt x="122" y="161"/>
                  </a:lnTo>
                  <a:lnTo>
                    <a:pt x="124" y="159"/>
                  </a:lnTo>
                  <a:lnTo>
                    <a:pt x="126" y="159"/>
                  </a:lnTo>
                  <a:lnTo>
                    <a:pt x="128" y="157"/>
                  </a:lnTo>
                  <a:lnTo>
                    <a:pt x="132" y="153"/>
                  </a:lnTo>
                  <a:lnTo>
                    <a:pt x="135" y="150"/>
                  </a:lnTo>
                  <a:lnTo>
                    <a:pt x="135" y="148"/>
                  </a:lnTo>
                  <a:lnTo>
                    <a:pt x="137" y="146"/>
                  </a:lnTo>
                  <a:lnTo>
                    <a:pt x="135" y="142"/>
                  </a:lnTo>
                  <a:lnTo>
                    <a:pt x="135" y="140"/>
                  </a:lnTo>
                  <a:close/>
                  <a:moveTo>
                    <a:pt x="67" y="107"/>
                  </a:moveTo>
                  <a:lnTo>
                    <a:pt x="67" y="109"/>
                  </a:lnTo>
                  <a:lnTo>
                    <a:pt x="67" y="111"/>
                  </a:lnTo>
                  <a:lnTo>
                    <a:pt x="67" y="113"/>
                  </a:lnTo>
                  <a:lnTo>
                    <a:pt x="69" y="115"/>
                  </a:lnTo>
                  <a:lnTo>
                    <a:pt x="69" y="116"/>
                  </a:lnTo>
                  <a:lnTo>
                    <a:pt x="71" y="116"/>
                  </a:lnTo>
                  <a:lnTo>
                    <a:pt x="71" y="118"/>
                  </a:lnTo>
                  <a:lnTo>
                    <a:pt x="72" y="120"/>
                  </a:lnTo>
                  <a:lnTo>
                    <a:pt x="74" y="122"/>
                  </a:lnTo>
                  <a:lnTo>
                    <a:pt x="76" y="124"/>
                  </a:lnTo>
                  <a:lnTo>
                    <a:pt x="78" y="124"/>
                  </a:lnTo>
                  <a:lnTo>
                    <a:pt x="80" y="126"/>
                  </a:lnTo>
                  <a:lnTo>
                    <a:pt x="84" y="126"/>
                  </a:lnTo>
                  <a:lnTo>
                    <a:pt x="85" y="126"/>
                  </a:lnTo>
                  <a:lnTo>
                    <a:pt x="89" y="126"/>
                  </a:lnTo>
                  <a:lnTo>
                    <a:pt x="91" y="126"/>
                  </a:lnTo>
                  <a:lnTo>
                    <a:pt x="95" y="124"/>
                  </a:lnTo>
                  <a:lnTo>
                    <a:pt x="98" y="122"/>
                  </a:lnTo>
                  <a:lnTo>
                    <a:pt x="98" y="120"/>
                  </a:lnTo>
                  <a:lnTo>
                    <a:pt x="98" y="116"/>
                  </a:lnTo>
                  <a:lnTo>
                    <a:pt x="97" y="116"/>
                  </a:lnTo>
                  <a:lnTo>
                    <a:pt x="97" y="115"/>
                  </a:lnTo>
                  <a:lnTo>
                    <a:pt x="95" y="113"/>
                  </a:lnTo>
                  <a:lnTo>
                    <a:pt x="93" y="109"/>
                  </a:lnTo>
                  <a:lnTo>
                    <a:pt x="89" y="107"/>
                  </a:lnTo>
                  <a:lnTo>
                    <a:pt x="87" y="107"/>
                  </a:lnTo>
                  <a:lnTo>
                    <a:pt x="85" y="105"/>
                  </a:lnTo>
                  <a:lnTo>
                    <a:pt x="84" y="104"/>
                  </a:lnTo>
                  <a:lnTo>
                    <a:pt x="82" y="104"/>
                  </a:lnTo>
                  <a:lnTo>
                    <a:pt x="80" y="104"/>
                  </a:lnTo>
                  <a:lnTo>
                    <a:pt x="78" y="104"/>
                  </a:lnTo>
                  <a:lnTo>
                    <a:pt x="76" y="104"/>
                  </a:lnTo>
                  <a:lnTo>
                    <a:pt x="74" y="104"/>
                  </a:lnTo>
                  <a:lnTo>
                    <a:pt x="72" y="104"/>
                  </a:lnTo>
                  <a:lnTo>
                    <a:pt x="71" y="104"/>
                  </a:lnTo>
                  <a:lnTo>
                    <a:pt x="69" y="105"/>
                  </a:lnTo>
                  <a:lnTo>
                    <a:pt x="67" y="107"/>
                  </a:lnTo>
                  <a:close/>
                  <a:moveTo>
                    <a:pt x="52" y="109"/>
                  </a:moveTo>
                  <a:lnTo>
                    <a:pt x="52" y="105"/>
                  </a:lnTo>
                  <a:lnTo>
                    <a:pt x="50" y="104"/>
                  </a:lnTo>
                  <a:lnTo>
                    <a:pt x="50" y="102"/>
                  </a:lnTo>
                  <a:lnTo>
                    <a:pt x="48" y="100"/>
                  </a:lnTo>
                  <a:lnTo>
                    <a:pt x="47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39" y="96"/>
                  </a:lnTo>
                  <a:lnTo>
                    <a:pt x="36" y="96"/>
                  </a:lnTo>
                  <a:lnTo>
                    <a:pt x="34" y="96"/>
                  </a:lnTo>
                  <a:lnTo>
                    <a:pt x="30" y="96"/>
                  </a:lnTo>
                  <a:lnTo>
                    <a:pt x="30" y="98"/>
                  </a:lnTo>
                  <a:lnTo>
                    <a:pt x="30" y="100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5"/>
                  </a:lnTo>
                  <a:lnTo>
                    <a:pt x="32" y="107"/>
                  </a:lnTo>
                  <a:lnTo>
                    <a:pt x="34" y="107"/>
                  </a:lnTo>
                  <a:lnTo>
                    <a:pt x="36" y="109"/>
                  </a:lnTo>
                  <a:lnTo>
                    <a:pt x="37" y="111"/>
                  </a:lnTo>
                  <a:lnTo>
                    <a:pt x="41" y="113"/>
                  </a:lnTo>
                  <a:lnTo>
                    <a:pt x="43" y="113"/>
                  </a:lnTo>
                  <a:lnTo>
                    <a:pt x="47" y="113"/>
                  </a:lnTo>
                  <a:lnTo>
                    <a:pt x="48" y="113"/>
                  </a:lnTo>
                  <a:lnTo>
                    <a:pt x="50" y="113"/>
                  </a:lnTo>
                  <a:lnTo>
                    <a:pt x="52" y="111"/>
                  </a:lnTo>
                  <a:lnTo>
                    <a:pt x="52" y="109"/>
                  </a:lnTo>
                  <a:close/>
                  <a:moveTo>
                    <a:pt x="6" y="63"/>
                  </a:moveTo>
                  <a:lnTo>
                    <a:pt x="6" y="63"/>
                  </a:lnTo>
                  <a:lnTo>
                    <a:pt x="6" y="65"/>
                  </a:lnTo>
                  <a:lnTo>
                    <a:pt x="6" y="67"/>
                  </a:lnTo>
                  <a:lnTo>
                    <a:pt x="8" y="68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3" y="72"/>
                  </a:lnTo>
                  <a:lnTo>
                    <a:pt x="15" y="72"/>
                  </a:lnTo>
                  <a:lnTo>
                    <a:pt x="17" y="72"/>
                  </a:lnTo>
                  <a:lnTo>
                    <a:pt x="19" y="72"/>
                  </a:lnTo>
                  <a:lnTo>
                    <a:pt x="23" y="72"/>
                  </a:lnTo>
                  <a:lnTo>
                    <a:pt x="24" y="72"/>
                  </a:lnTo>
                  <a:lnTo>
                    <a:pt x="26" y="70"/>
                  </a:lnTo>
                  <a:lnTo>
                    <a:pt x="30" y="68"/>
                  </a:lnTo>
                  <a:lnTo>
                    <a:pt x="32" y="68"/>
                  </a:lnTo>
                  <a:lnTo>
                    <a:pt x="34" y="67"/>
                  </a:lnTo>
                  <a:lnTo>
                    <a:pt x="36" y="65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45" y="68"/>
                  </a:lnTo>
                  <a:lnTo>
                    <a:pt x="50" y="72"/>
                  </a:lnTo>
                  <a:lnTo>
                    <a:pt x="54" y="74"/>
                  </a:lnTo>
                  <a:lnTo>
                    <a:pt x="58" y="74"/>
                  </a:lnTo>
                  <a:lnTo>
                    <a:pt x="60" y="76"/>
                  </a:lnTo>
                  <a:lnTo>
                    <a:pt x="63" y="76"/>
                  </a:lnTo>
                  <a:lnTo>
                    <a:pt x="65" y="76"/>
                  </a:lnTo>
                  <a:lnTo>
                    <a:pt x="67" y="78"/>
                  </a:lnTo>
                  <a:lnTo>
                    <a:pt x="71" y="78"/>
                  </a:lnTo>
                  <a:lnTo>
                    <a:pt x="72" y="78"/>
                  </a:lnTo>
                  <a:lnTo>
                    <a:pt x="76" y="78"/>
                  </a:lnTo>
                  <a:lnTo>
                    <a:pt x="80" y="76"/>
                  </a:lnTo>
                  <a:lnTo>
                    <a:pt x="82" y="76"/>
                  </a:lnTo>
                  <a:lnTo>
                    <a:pt x="85" y="74"/>
                  </a:lnTo>
                  <a:lnTo>
                    <a:pt x="89" y="72"/>
                  </a:lnTo>
                  <a:lnTo>
                    <a:pt x="91" y="70"/>
                  </a:lnTo>
                  <a:lnTo>
                    <a:pt x="91" y="68"/>
                  </a:lnTo>
                  <a:lnTo>
                    <a:pt x="93" y="67"/>
                  </a:lnTo>
                  <a:lnTo>
                    <a:pt x="93" y="65"/>
                  </a:lnTo>
                  <a:lnTo>
                    <a:pt x="93" y="63"/>
                  </a:lnTo>
                  <a:lnTo>
                    <a:pt x="91" y="63"/>
                  </a:lnTo>
                  <a:lnTo>
                    <a:pt x="91" y="59"/>
                  </a:lnTo>
                  <a:lnTo>
                    <a:pt x="87" y="55"/>
                  </a:lnTo>
                  <a:lnTo>
                    <a:pt x="87" y="54"/>
                  </a:lnTo>
                  <a:lnTo>
                    <a:pt x="85" y="48"/>
                  </a:lnTo>
                  <a:lnTo>
                    <a:pt x="84" y="43"/>
                  </a:lnTo>
                  <a:lnTo>
                    <a:pt x="82" y="41"/>
                  </a:lnTo>
                  <a:lnTo>
                    <a:pt x="82" y="39"/>
                  </a:lnTo>
                  <a:lnTo>
                    <a:pt x="80" y="37"/>
                  </a:lnTo>
                  <a:lnTo>
                    <a:pt x="78" y="35"/>
                  </a:lnTo>
                  <a:lnTo>
                    <a:pt x="74" y="35"/>
                  </a:lnTo>
                  <a:lnTo>
                    <a:pt x="72" y="35"/>
                  </a:lnTo>
                  <a:lnTo>
                    <a:pt x="71" y="35"/>
                  </a:lnTo>
                  <a:lnTo>
                    <a:pt x="69" y="37"/>
                  </a:lnTo>
                  <a:lnTo>
                    <a:pt x="67" y="37"/>
                  </a:lnTo>
                  <a:lnTo>
                    <a:pt x="67" y="39"/>
                  </a:lnTo>
                  <a:lnTo>
                    <a:pt x="61" y="44"/>
                  </a:lnTo>
                  <a:lnTo>
                    <a:pt x="58" y="50"/>
                  </a:lnTo>
                  <a:lnTo>
                    <a:pt x="54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48" y="52"/>
                  </a:lnTo>
                  <a:lnTo>
                    <a:pt x="45" y="48"/>
                  </a:lnTo>
                  <a:lnTo>
                    <a:pt x="41" y="43"/>
                  </a:lnTo>
                  <a:lnTo>
                    <a:pt x="39" y="43"/>
                  </a:lnTo>
                  <a:lnTo>
                    <a:pt x="37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0" y="44"/>
                  </a:lnTo>
                  <a:lnTo>
                    <a:pt x="28" y="44"/>
                  </a:lnTo>
                  <a:lnTo>
                    <a:pt x="26" y="46"/>
                  </a:lnTo>
                  <a:lnTo>
                    <a:pt x="21" y="44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0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5"/>
                  </a:lnTo>
                  <a:lnTo>
                    <a:pt x="8" y="57"/>
                  </a:lnTo>
                  <a:lnTo>
                    <a:pt x="8" y="59"/>
                  </a:lnTo>
                  <a:lnTo>
                    <a:pt x="6" y="63"/>
                  </a:lnTo>
                  <a:close/>
                  <a:moveTo>
                    <a:pt x="26" y="30"/>
                  </a:moveTo>
                  <a:lnTo>
                    <a:pt x="28" y="28"/>
                  </a:lnTo>
                  <a:lnTo>
                    <a:pt x="30" y="28"/>
                  </a:lnTo>
                  <a:lnTo>
                    <a:pt x="32" y="28"/>
                  </a:lnTo>
                  <a:lnTo>
                    <a:pt x="32" y="30"/>
                  </a:lnTo>
                  <a:lnTo>
                    <a:pt x="36" y="31"/>
                  </a:lnTo>
                  <a:lnTo>
                    <a:pt x="39" y="33"/>
                  </a:lnTo>
                  <a:lnTo>
                    <a:pt x="41" y="33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7" y="31"/>
                  </a:lnTo>
                  <a:lnTo>
                    <a:pt x="48" y="31"/>
                  </a:lnTo>
                  <a:lnTo>
                    <a:pt x="48" y="33"/>
                  </a:lnTo>
                  <a:lnTo>
                    <a:pt x="48" y="35"/>
                  </a:lnTo>
                  <a:lnTo>
                    <a:pt x="48" y="37"/>
                  </a:lnTo>
                  <a:lnTo>
                    <a:pt x="50" y="39"/>
                  </a:lnTo>
                  <a:lnTo>
                    <a:pt x="52" y="41"/>
                  </a:lnTo>
                  <a:lnTo>
                    <a:pt x="54" y="41"/>
                  </a:lnTo>
                  <a:lnTo>
                    <a:pt x="56" y="41"/>
                  </a:lnTo>
                  <a:lnTo>
                    <a:pt x="58" y="41"/>
                  </a:lnTo>
                  <a:lnTo>
                    <a:pt x="60" y="41"/>
                  </a:lnTo>
                  <a:lnTo>
                    <a:pt x="60" y="39"/>
                  </a:lnTo>
                  <a:lnTo>
                    <a:pt x="61" y="39"/>
                  </a:lnTo>
                  <a:lnTo>
                    <a:pt x="63" y="37"/>
                  </a:lnTo>
                  <a:lnTo>
                    <a:pt x="63" y="35"/>
                  </a:lnTo>
                  <a:lnTo>
                    <a:pt x="63" y="33"/>
                  </a:lnTo>
                  <a:lnTo>
                    <a:pt x="63" y="31"/>
                  </a:lnTo>
                  <a:lnTo>
                    <a:pt x="63" y="30"/>
                  </a:lnTo>
                  <a:lnTo>
                    <a:pt x="63" y="28"/>
                  </a:lnTo>
                  <a:lnTo>
                    <a:pt x="61" y="26"/>
                  </a:lnTo>
                  <a:lnTo>
                    <a:pt x="61" y="24"/>
                  </a:lnTo>
                  <a:lnTo>
                    <a:pt x="60" y="22"/>
                  </a:lnTo>
                  <a:lnTo>
                    <a:pt x="58" y="20"/>
                  </a:lnTo>
                  <a:lnTo>
                    <a:pt x="56" y="19"/>
                  </a:lnTo>
                  <a:lnTo>
                    <a:pt x="54" y="19"/>
                  </a:lnTo>
                  <a:lnTo>
                    <a:pt x="52" y="17"/>
                  </a:lnTo>
                  <a:lnTo>
                    <a:pt x="48" y="17"/>
                  </a:lnTo>
                  <a:lnTo>
                    <a:pt x="47" y="15"/>
                  </a:lnTo>
                  <a:lnTo>
                    <a:pt x="39" y="13"/>
                  </a:lnTo>
                  <a:lnTo>
                    <a:pt x="30" y="11"/>
                  </a:lnTo>
                  <a:lnTo>
                    <a:pt x="24" y="7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1"/>
                  </a:lnTo>
                  <a:lnTo>
                    <a:pt x="4" y="13"/>
                  </a:lnTo>
                  <a:lnTo>
                    <a:pt x="6" y="15"/>
                  </a:lnTo>
                  <a:lnTo>
                    <a:pt x="8" y="19"/>
                  </a:lnTo>
                  <a:lnTo>
                    <a:pt x="12" y="24"/>
                  </a:lnTo>
                  <a:lnTo>
                    <a:pt x="13" y="31"/>
                  </a:lnTo>
                  <a:lnTo>
                    <a:pt x="15" y="31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21" y="33"/>
                  </a:lnTo>
                  <a:lnTo>
                    <a:pt x="23" y="31"/>
                  </a:lnTo>
                  <a:lnTo>
                    <a:pt x="24" y="31"/>
                  </a:lnTo>
                  <a:lnTo>
                    <a:pt x="26" y="31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06" name="Freeform 26"/>
            <p:cNvSpPr>
              <a:spLocks/>
            </p:cNvSpPr>
            <p:nvPr/>
          </p:nvSpPr>
          <p:spPr bwMode="auto">
            <a:xfrm rot="3738204">
              <a:off x="724632" y="3838167"/>
              <a:ext cx="410787" cy="255650"/>
            </a:xfrm>
            <a:custGeom>
              <a:avLst/>
              <a:gdLst/>
              <a:ahLst/>
              <a:cxnLst>
                <a:cxn ang="0">
                  <a:pos x="60" y="6"/>
                </a:cxn>
                <a:cxn ang="0">
                  <a:pos x="67" y="10"/>
                </a:cxn>
                <a:cxn ang="0">
                  <a:pos x="76" y="11"/>
                </a:cxn>
                <a:cxn ang="0">
                  <a:pos x="77" y="16"/>
                </a:cxn>
                <a:cxn ang="0">
                  <a:pos x="79" y="14"/>
                </a:cxn>
                <a:cxn ang="0">
                  <a:pos x="87" y="16"/>
                </a:cxn>
                <a:cxn ang="0">
                  <a:pos x="95" y="18"/>
                </a:cxn>
                <a:cxn ang="0">
                  <a:pos x="91" y="14"/>
                </a:cxn>
                <a:cxn ang="0">
                  <a:pos x="96" y="20"/>
                </a:cxn>
                <a:cxn ang="0">
                  <a:pos x="98" y="23"/>
                </a:cxn>
                <a:cxn ang="0">
                  <a:pos x="101" y="25"/>
                </a:cxn>
                <a:cxn ang="0">
                  <a:pos x="104" y="23"/>
                </a:cxn>
                <a:cxn ang="0">
                  <a:pos x="104" y="29"/>
                </a:cxn>
                <a:cxn ang="0">
                  <a:pos x="116" y="36"/>
                </a:cxn>
                <a:cxn ang="0">
                  <a:pos x="119" y="41"/>
                </a:cxn>
                <a:cxn ang="0">
                  <a:pos x="119" y="45"/>
                </a:cxn>
                <a:cxn ang="0">
                  <a:pos x="126" y="53"/>
                </a:cxn>
                <a:cxn ang="0">
                  <a:pos x="139" y="55"/>
                </a:cxn>
                <a:cxn ang="0">
                  <a:pos x="119" y="36"/>
                </a:cxn>
                <a:cxn ang="0">
                  <a:pos x="108" y="17"/>
                </a:cxn>
                <a:cxn ang="0">
                  <a:pos x="101" y="7"/>
                </a:cxn>
                <a:cxn ang="0">
                  <a:pos x="105" y="5"/>
                </a:cxn>
                <a:cxn ang="0">
                  <a:pos x="106" y="4"/>
                </a:cxn>
                <a:cxn ang="0">
                  <a:pos x="115" y="28"/>
                </a:cxn>
                <a:cxn ang="0">
                  <a:pos x="134" y="52"/>
                </a:cxn>
                <a:cxn ang="0">
                  <a:pos x="153" y="42"/>
                </a:cxn>
                <a:cxn ang="0">
                  <a:pos x="172" y="41"/>
                </a:cxn>
                <a:cxn ang="0">
                  <a:pos x="188" y="46"/>
                </a:cxn>
                <a:cxn ang="0">
                  <a:pos x="181" y="61"/>
                </a:cxn>
                <a:cxn ang="0">
                  <a:pos x="173" y="70"/>
                </a:cxn>
                <a:cxn ang="0">
                  <a:pos x="160" y="71"/>
                </a:cxn>
                <a:cxn ang="0">
                  <a:pos x="149" y="67"/>
                </a:cxn>
                <a:cxn ang="0">
                  <a:pos x="136" y="71"/>
                </a:cxn>
                <a:cxn ang="0">
                  <a:pos x="124" y="86"/>
                </a:cxn>
                <a:cxn ang="0">
                  <a:pos x="110" y="86"/>
                </a:cxn>
                <a:cxn ang="0">
                  <a:pos x="93" y="97"/>
                </a:cxn>
                <a:cxn ang="0">
                  <a:pos x="76" y="115"/>
                </a:cxn>
                <a:cxn ang="0">
                  <a:pos x="58" y="111"/>
                </a:cxn>
                <a:cxn ang="0">
                  <a:pos x="47" y="103"/>
                </a:cxn>
                <a:cxn ang="0">
                  <a:pos x="56" y="85"/>
                </a:cxn>
                <a:cxn ang="0">
                  <a:pos x="45" y="64"/>
                </a:cxn>
                <a:cxn ang="0">
                  <a:pos x="30" y="59"/>
                </a:cxn>
                <a:cxn ang="0">
                  <a:pos x="9" y="58"/>
                </a:cxn>
                <a:cxn ang="0">
                  <a:pos x="18" y="43"/>
                </a:cxn>
                <a:cxn ang="0">
                  <a:pos x="34" y="28"/>
                </a:cxn>
                <a:cxn ang="0">
                  <a:pos x="45" y="25"/>
                </a:cxn>
                <a:cxn ang="0">
                  <a:pos x="52" y="22"/>
                </a:cxn>
                <a:cxn ang="0">
                  <a:pos x="58" y="20"/>
                </a:cxn>
                <a:cxn ang="0">
                  <a:pos x="59" y="16"/>
                </a:cxn>
                <a:cxn ang="0">
                  <a:pos x="55" y="11"/>
                </a:cxn>
                <a:cxn ang="0">
                  <a:pos x="54" y="7"/>
                </a:cxn>
                <a:cxn ang="0">
                  <a:pos x="54" y="1"/>
                </a:cxn>
                <a:cxn ang="0">
                  <a:pos x="59" y="2"/>
                </a:cxn>
              </a:cxnLst>
              <a:rect l="0" t="0" r="r" b="b"/>
              <a:pathLst>
                <a:path w="188" h="117">
                  <a:moveTo>
                    <a:pt x="59" y="2"/>
                  </a:moveTo>
                  <a:cubicBezTo>
                    <a:pt x="59" y="5"/>
                    <a:pt x="60" y="6"/>
                    <a:pt x="60" y="6"/>
                  </a:cubicBezTo>
                  <a:cubicBezTo>
                    <a:pt x="62" y="4"/>
                    <a:pt x="65" y="8"/>
                    <a:pt x="65" y="8"/>
                  </a:cubicBezTo>
                  <a:cubicBezTo>
                    <a:pt x="65" y="12"/>
                    <a:pt x="67" y="10"/>
                    <a:pt x="67" y="10"/>
                  </a:cubicBezTo>
                  <a:cubicBezTo>
                    <a:pt x="67" y="6"/>
                    <a:pt x="70" y="8"/>
                    <a:pt x="70" y="8"/>
                  </a:cubicBezTo>
                  <a:cubicBezTo>
                    <a:pt x="74" y="6"/>
                    <a:pt x="76" y="11"/>
                    <a:pt x="76" y="11"/>
                  </a:cubicBezTo>
                  <a:lnTo>
                    <a:pt x="76" y="11"/>
                  </a:lnTo>
                  <a:lnTo>
                    <a:pt x="77" y="16"/>
                  </a:lnTo>
                  <a:lnTo>
                    <a:pt x="77" y="16"/>
                  </a:lnTo>
                  <a:cubicBezTo>
                    <a:pt x="78" y="13"/>
                    <a:pt x="79" y="14"/>
                    <a:pt x="79" y="14"/>
                  </a:cubicBezTo>
                  <a:cubicBezTo>
                    <a:pt x="80" y="12"/>
                    <a:pt x="83" y="12"/>
                    <a:pt x="83" y="12"/>
                  </a:cubicBezTo>
                  <a:cubicBezTo>
                    <a:pt x="86" y="12"/>
                    <a:pt x="87" y="16"/>
                    <a:pt x="87" y="16"/>
                  </a:cubicBezTo>
                  <a:cubicBezTo>
                    <a:pt x="87" y="21"/>
                    <a:pt x="91" y="21"/>
                    <a:pt x="91" y="21"/>
                  </a:cubicBezTo>
                  <a:cubicBezTo>
                    <a:pt x="93" y="21"/>
                    <a:pt x="95" y="18"/>
                    <a:pt x="95" y="18"/>
                  </a:cubicBezTo>
                  <a:cubicBezTo>
                    <a:pt x="95" y="16"/>
                    <a:pt x="92" y="15"/>
                    <a:pt x="92" y="15"/>
                  </a:cubicBezTo>
                  <a:cubicBezTo>
                    <a:pt x="91" y="15"/>
                    <a:pt x="91" y="15"/>
                    <a:pt x="91" y="14"/>
                  </a:cubicBezTo>
                  <a:cubicBezTo>
                    <a:pt x="93" y="11"/>
                    <a:pt x="97" y="14"/>
                    <a:pt x="97" y="14"/>
                  </a:cubicBezTo>
                  <a:cubicBezTo>
                    <a:pt x="98" y="19"/>
                    <a:pt x="96" y="20"/>
                    <a:pt x="96" y="20"/>
                  </a:cubicBezTo>
                  <a:cubicBezTo>
                    <a:pt x="93" y="24"/>
                    <a:pt x="93" y="26"/>
                    <a:pt x="93" y="26"/>
                  </a:cubicBezTo>
                  <a:cubicBezTo>
                    <a:pt x="96" y="27"/>
                    <a:pt x="98" y="23"/>
                    <a:pt x="98" y="23"/>
                  </a:cubicBezTo>
                  <a:cubicBezTo>
                    <a:pt x="100" y="18"/>
                    <a:pt x="102" y="18"/>
                    <a:pt x="102" y="18"/>
                  </a:cubicBezTo>
                  <a:cubicBezTo>
                    <a:pt x="101" y="22"/>
                    <a:pt x="101" y="25"/>
                    <a:pt x="101" y="25"/>
                  </a:cubicBezTo>
                  <a:lnTo>
                    <a:pt x="101" y="25"/>
                  </a:lnTo>
                  <a:lnTo>
                    <a:pt x="104" y="23"/>
                  </a:lnTo>
                  <a:lnTo>
                    <a:pt x="104" y="23"/>
                  </a:lnTo>
                  <a:cubicBezTo>
                    <a:pt x="105" y="24"/>
                    <a:pt x="104" y="29"/>
                    <a:pt x="104" y="29"/>
                  </a:cubicBezTo>
                  <a:cubicBezTo>
                    <a:pt x="110" y="29"/>
                    <a:pt x="111" y="32"/>
                    <a:pt x="111" y="32"/>
                  </a:cubicBezTo>
                  <a:cubicBezTo>
                    <a:pt x="115" y="32"/>
                    <a:pt x="116" y="36"/>
                    <a:pt x="116" y="36"/>
                  </a:cubicBezTo>
                  <a:cubicBezTo>
                    <a:pt x="119" y="38"/>
                    <a:pt x="119" y="41"/>
                    <a:pt x="119" y="41"/>
                  </a:cubicBezTo>
                  <a:lnTo>
                    <a:pt x="119" y="41"/>
                  </a:lnTo>
                  <a:lnTo>
                    <a:pt x="119" y="45"/>
                  </a:lnTo>
                  <a:lnTo>
                    <a:pt x="119" y="45"/>
                  </a:lnTo>
                  <a:cubicBezTo>
                    <a:pt x="118" y="49"/>
                    <a:pt x="120" y="51"/>
                    <a:pt x="120" y="51"/>
                  </a:cubicBezTo>
                  <a:cubicBezTo>
                    <a:pt x="124" y="51"/>
                    <a:pt x="126" y="53"/>
                    <a:pt x="126" y="53"/>
                  </a:cubicBezTo>
                  <a:cubicBezTo>
                    <a:pt x="131" y="55"/>
                    <a:pt x="136" y="58"/>
                    <a:pt x="136" y="58"/>
                  </a:cubicBezTo>
                  <a:cubicBezTo>
                    <a:pt x="136" y="56"/>
                    <a:pt x="139" y="55"/>
                    <a:pt x="139" y="55"/>
                  </a:cubicBezTo>
                  <a:cubicBezTo>
                    <a:pt x="134" y="56"/>
                    <a:pt x="130" y="50"/>
                    <a:pt x="130" y="50"/>
                  </a:cubicBezTo>
                  <a:cubicBezTo>
                    <a:pt x="125" y="44"/>
                    <a:pt x="119" y="36"/>
                    <a:pt x="119" y="36"/>
                  </a:cubicBezTo>
                  <a:cubicBezTo>
                    <a:pt x="114" y="29"/>
                    <a:pt x="111" y="23"/>
                    <a:pt x="111" y="23"/>
                  </a:cubicBezTo>
                  <a:cubicBezTo>
                    <a:pt x="106" y="26"/>
                    <a:pt x="108" y="17"/>
                    <a:pt x="108" y="17"/>
                  </a:cubicBezTo>
                  <a:cubicBezTo>
                    <a:pt x="105" y="16"/>
                    <a:pt x="107" y="11"/>
                    <a:pt x="107" y="11"/>
                  </a:cubicBezTo>
                  <a:cubicBezTo>
                    <a:pt x="103" y="11"/>
                    <a:pt x="101" y="7"/>
                    <a:pt x="101" y="7"/>
                  </a:cubicBezTo>
                  <a:cubicBezTo>
                    <a:pt x="100" y="5"/>
                    <a:pt x="105" y="5"/>
                    <a:pt x="105" y="5"/>
                  </a:cubicBezTo>
                  <a:lnTo>
                    <a:pt x="105" y="5"/>
                  </a:lnTo>
                  <a:lnTo>
                    <a:pt x="106" y="4"/>
                  </a:lnTo>
                  <a:lnTo>
                    <a:pt x="106" y="4"/>
                  </a:lnTo>
                  <a:cubicBezTo>
                    <a:pt x="106" y="9"/>
                    <a:pt x="109" y="12"/>
                    <a:pt x="109" y="12"/>
                  </a:cubicBezTo>
                  <a:cubicBezTo>
                    <a:pt x="109" y="18"/>
                    <a:pt x="115" y="28"/>
                    <a:pt x="115" y="28"/>
                  </a:cubicBezTo>
                  <a:cubicBezTo>
                    <a:pt x="117" y="30"/>
                    <a:pt x="123" y="40"/>
                    <a:pt x="123" y="40"/>
                  </a:cubicBezTo>
                  <a:cubicBezTo>
                    <a:pt x="128" y="46"/>
                    <a:pt x="134" y="52"/>
                    <a:pt x="134" y="52"/>
                  </a:cubicBezTo>
                  <a:cubicBezTo>
                    <a:pt x="137" y="56"/>
                    <a:pt x="147" y="51"/>
                    <a:pt x="147" y="51"/>
                  </a:cubicBezTo>
                  <a:cubicBezTo>
                    <a:pt x="150" y="50"/>
                    <a:pt x="153" y="42"/>
                    <a:pt x="153" y="42"/>
                  </a:cubicBezTo>
                  <a:cubicBezTo>
                    <a:pt x="158" y="51"/>
                    <a:pt x="163" y="46"/>
                    <a:pt x="163" y="46"/>
                  </a:cubicBezTo>
                  <a:cubicBezTo>
                    <a:pt x="165" y="40"/>
                    <a:pt x="172" y="41"/>
                    <a:pt x="172" y="41"/>
                  </a:cubicBezTo>
                  <a:cubicBezTo>
                    <a:pt x="178" y="40"/>
                    <a:pt x="183" y="42"/>
                    <a:pt x="183" y="42"/>
                  </a:cubicBezTo>
                  <a:cubicBezTo>
                    <a:pt x="188" y="42"/>
                    <a:pt x="188" y="46"/>
                    <a:pt x="188" y="46"/>
                  </a:cubicBezTo>
                  <a:cubicBezTo>
                    <a:pt x="188" y="50"/>
                    <a:pt x="181" y="53"/>
                    <a:pt x="181" y="53"/>
                  </a:cubicBezTo>
                  <a:cubicBezTo>
                    <a:pt x="179" y="55"/>
                    <a:pt x="181" y="61"/>
                    <a:pt x="181" y="61"/>
                  </a:cubicBezTo>
                  <a:cubicBezTo>
                    <a:pt x="186" y="66"/>
                    <a:pt x="178" y="67"/>
                    <a:pt x="178" y="67"/>
                  </a:cubicBezTo>
                  <a:cubicBezTo>
                    <a:pt x="174" y="66"/>
                    <a:pt x="173" y="70"/>
                    <a:pt x="173" y="70"/>
                  </a:cubicBezTo>
                  <a:cubicBezTo>
                    <a:pt x="171" y="71"/>
                    <a:pt x="164" y="68"/>
                    <a:pt x="164" y="68"/>
                  </a:cubicBezTo>
                  <a:cubicBezTo>
                    <a:pt x="163" y="72"/>
                    <a:pt x="160" y="71"/>
                    <a:pt x="160" y="71"/>
                  </a:cubicBezTo>
                  <a:cubicBezTo>
                    <a:pt x="157" y="74"/>
                    <a:pt x="153" y="70"/>
                    <a:pt x="153" y="70"/>
                  </a:cubicBezTo>
                  <a:cubicBezTo>
                    <a:pt x="152" y="67"/>
                    <a:pt x="149" y="67"/>
                    <a:pt x="149" y="67"/>
                  </a:cubicBezTo>
                  <a:cubicBezTo>
                    <a:pt x="146" y="62"/>
                    <a:pt x="139" y="65"/>
                    <a:pt x="139" y="65"/>
                  </a:cubicBezTo>
                  <a:cubicBezTo>
                    <a:pt x="136" y="69"/>
                    <a:pt x="136" y="71"/>
                    <a:pt x="136" y="71"/>
                  </a:cubicBezTo>
                  <a:cubicBezTo>
                    <a:pt x="134" y="75"/>
                    <a:pt x="130" y="77"/>
                    <a:pt x="130" y="77"/>
                  </a:cubicBezTo>
                  <a:cubicBezTo>
                    <a:pt x="124" y="79"/>
                    <a:pt x="124" y="86"/>
                    <a:pt x="124" y="86"/>
                  </a:cubicBezTo>
                  <a:cubicBezTo>
                    <a:pt x="122" y="89"/>
                    <a:pt x="118" y="83"/>
                    <a:pt x="118" y="83"/>
                  </a:cubicBezTo>
                  <a:cubicBezTo>
                    <a:pt x="114" y="87"/>
                    <a:pt x="110" y="86"/>
                    <a:pt x="110" y="86"/>
                  </a:cubicBezTo>
                  <a:cubicBezTo>
                    <a:pt x="105" y="86"/>
                    <a:pt x="103" y="90"/>
                    <a:pt x="103" y="90"/>
                  </a:cubicBezTo>
                  <a:cubicBezTo>
                    <a:pt x="99" y="88"/>
                    <a:pt x="93" y="97"/>
                    <a:pt x="93" y="97"/>
                  </a:cubicBezTo>
                  <a:cubicBezTo>
                    <a:pt x="90" y="99"/>
                    <a:pt x="93" y="105"/>
                    <a:pt x="87" y="105"/>
                  </a:cubicBezTo>
                  <a:cubicBezTo>
                    <a:pt x="84" y="109"/>
                    <a:pt x="80" y="113"/>
                    <a:pt x="76" y="115"/>
                  </a:cubicBezTo>
                  <a:cubicBezTo>
                    <a:pt x="68" y="117"/>
                    <a:pt x="62" y="115"/>
                    <a:pt x="62" y="115"/>
                  </a:cubicBezTo>
                  <a:cubicBezTo>
                    <a:pt x="60" y="112"/>
                    <a:pt x="58" y="111"/>
                    <a:pt x="58" y="111"/>
                  </a:cubicBezTo>
                  <a:cubicBezTo>
                    <a:pt x="57" y="108"/>
                    <a:pt x="52" y="109"/>
                    <a:pt x="52" y="109"/>
                  </a:cubicBezTo>
                  <a:cubicBezTo>
                    <a:pt x="48" y="108"/>
                    <a:pt x="47" y="103"/>
                    <a:pt x="47" y="103"/>
                  </a:cubicBezTo>
                  <a:cubicBezTo>
                    <a:pt x="47" y="101"/>
                    <a:pt x="50" y="102"/>
                    <a:pt x="54" y="99"/>
                  </a:cubicBezTo>
                  <a:cubicBezTo>
                    <a:pt x="54" y="95"/>
                    <a:pt x="49" y="93"/>
                    <a:pt x="56" y="85"/>
                  </a:cubicBezTo>
                  <a:cubicBezTo>
                    <a:pt x="58" y="79"/>
                    <a:pt x="54" y="71"/>
                    <a:pt x="54" y="71"/>
                  </a:cubicBezTo>
                  <a:cubicBezTo>
                    <a:pt x="51" y="66"/>
                    <a:pt x="45" y="64"/>
                    <a:pt x="45" y="64"/>
                  </a:cubicBezTo>
                  <a:cubicBezTo>
                    <a:pt x="39" y="70"/>
                    <a:pt x="36" y="66"/>
                    <a:pt x="36" y="66"/>
                  </a:cubicBezTo>
                  <a:cubicBezTo>
                    <a:pt x="36" y="64"/>
                    <a:pt x="30" y="59"/>
                    <a:pt x="30" y="59"/>
                  </a:cubicBezTo>
                  <a:cubicBezTo>
                    <a:pt x="22" y="53"/>
                    <a:pt x="19" y="56"/>
                    <a:pt x="19" y="56"/>
                  </a:cubicBezTo>
                  <a:cubicBezTo>
                    <a:pt x="16" y="55"/>
                    <a:pt x="13" y="60"/>
                    <a:pt x="9" y="58"/>
                  </a:cubicBezTo>
                  <a:cubicBezTo>
                    <a:pt x="0" y="53"/>
                    <a:pt x="9" y="48"/>
                    <a:pt x="9" y="48"/>
                  </a:cubicBezTo>
                  <a:cubicBezTo>
                    <a:pt x="10" y="46"/>
                    <a:pt x="18" y="43"/>
                    <a:pt x="18" y="43"/>
                  </a:cubicBezTo>
                  <a:cubicBezTo>
                    <a:pt x="20" y="38"/>
                    <a:pt x="27" y="35"/>
                    <a:pt x="27" y="35"/>
                  </a:cubicBezTo>
                  <a:cubicBezTo>
                    <a:pt x="30" y="31"/>
                    <a:pt x="34" y="28"/>
                    <a:pt x="34" y="28"/>
                  </a:cubicBezTo>
                  <a:cubicBezTo>
                    <a:pt x="42" y="29"/>
                    <a:pt x="45" y="25"/>
                    <a:pt x="45" y="25"/>
                  </a:cubicBezTo>
                  <a:lnTo>
                    <a:pt x="45" y="25"/>
                  </a:lnTo>
                  <a:lnTo>
                    <a:pt x="52" y="22"/>
                  </a:lnTo>
                  <a:lnTo>
                    <a:pt x="52" y="22"/>
                  </a:lnTo>
                  <a:cubicBezTo>
                    <a:pt x="59" y="24"/>
                    <a:pt x="58" y="20"/>
                    <a:pt x="58" y="20"/>
                  </a:cubicBezTo>
                  <a:lnTo>
                    <a:pt x="58" y="20"/>
                  </a:lnTo>
                  <a:lnTo>
                    <a:pt x="59" y="16"/>
                  </a:lnTo>
                  <a:lnTo>
                    <a:pt x="59" y="16"/>
                  </a:lnTo>
                  <a:cubicBezTo>
                    <a:pt x="52" y="21"/>
                    <a:pt x="55" y="11"/>
                    <a:pt x="55" y="11"/>
                  </a:cubicBezTo>
                  <a:lnTo>
                    <a:pt x="55" y="11"/>
                  </a:lnTo>
                  <a:lnTo>
                    <a:pt x="54" y="7"/>
                  </a:lnTo>
                  <a:lnTo>
                    <a:pt x="54" y="7"/>
                  </a:lnTo>
                  <a:cubicBezTo>
                    <a:pt x="54" y="6"/>
                    <a:pt x="53" y="5"/>
                    <a:pt x="53" y="5"/>
                  </a:cubicBezTo>
                  <a:cubicBezTo>
                    <a:pt x="54" y="3"/>
                    <a:pt x="54" y="1"/>
                    <a:pt x="54" y="1"/>
                  </a:cubicBezTo>
                  <a:cubicBezTo>
                    <a:pt x="56" y="0"/>
                    <a:pt x="59" y="2"/>
                    <a:pt x="59" y="2"/>
                  </a:cubicBezTo>
                  <a:lnTo>
                    <a:pt x="59" y="2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07" name="Овал 106"/>
            <p:cNvSpPr>
              <a:spLocks noChangeAspect="1"/>
            </p:cNvSpPr>
            <p:nvPr/>
          </p:nvSpPr>
          <p:spPr>
            <a:xfrm>
              <a:off x="1127452" y="452632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8" name="Овал 107"/>
            <p:cNvSpPr>
              <a:spLocks noChangeAspect="1"/>
            </p:cNvSpPr>
            <p:nvPr/>
          </p:nvSpPr>
          <p:spPr>
            <a:xfrm>
              <a:off x="1377632" y="5143601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9" name="Овал 108"/>
            <p:cNvSpPr>
              <a:spLocks noChangeAspect="1"/>
            </p:cNvSpPr>
            <p:nvPr/>
          </p:nvSpPr>
          <p:spPr>
            <a:xfrm>
              <a:off x="1320482" y="5086451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0" name="Овал 109"/>
            <p:cNvSpPr>
              <a:spLocks noChangeAspect="1"/>
            </p:cNvSpPr>
            <p:nvPr/>
          </p:nvSpPr>
          <p:spPr>
            <a:xfrm>
              <a:off x="2097026" y="379588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1" name="Овал 110"/>
            <p:cNvSpPr>
              <a:spLocks noChangeAspect="1"/>
            </p:cNvSpPr>
            <p:nvPr/>
          </p:nvSpPr>
          <p:spPr>
            <a:xfrm>
              <a:off x="1992251" y="370380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2" name="Овал 111"/>
            <p:cNvSpPr>
              <a:spLocks noChangeAspect="1"/>
            </p:cNvSpPr>
            <p:nvPr/>
          </p:nvSpPr>
          <p:spPr>
            <a:xfrm>
              <a:off x="2630426" y="361173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3" name="Овал 112"/>
            <p:cNvSpPr>
              <a:spLocks noChangeAspect="1"/>
            </p:cNvSpPr>
            <p:nvPr/>
          </p:nvSpPr>
          <p:spPr>
            <a:xfrm>
              <a:off x="2566926" y="320533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4" name="Овал 113"/>
            <p:cNvSpPr>
              <a:spLocks noChangeAspect="1"/>
            </p:cNvSpPr>
            <p:nvPr/>
          </p:nvSpPr>
          <p:spPr>
            <a:xfrm>
              <a:off x="2754251" y="304023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5" name="Овал 114"/>
            <p:cNvSpPr>
              <a:spLocks noChangeAspect="1"/>
            </p:cNvSpPr>
            <p:nvPr/>
          </p:nvSpPr>
          <p:spPr>
            <a:xfrm>
              <a:off x="2306576" y="256715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6" name="Овал 115"/>
            <p:cNvSpPr>
              <a:spLocks noChangeAspect="1"/>
            </p:cNvSpPr>
            <p:nvPr/>
          </p:nvSpPr>
          <p:spPr>
            <a:xfrm>
              <a:off x="3392426" y="259890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7" name="Овал 116"/>
            <p:cNvSpPr>
              <a:spLocks noChangeAspect="1"/>
            </p:cNvSpPr>
            <p:nvPr/>
          </p:nvSpPr>
          <p:spPr>
            <a:xfrm>
              <a:off x="3640076" y="179563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8" name="Овал 117"/>
            <p:cNvSpPr>
              <a:spLocks noChangeAspect="1"/>
            </p:cNvSpPr>
            <p:nvPr/>
          </p:nvSpPr>
          <p:spPr>
            <a:xfrm>
              <a:off x="3554351" y="339583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9" name="Овал 118"/>
            <p:cNvSpPr>
              <a:spLocks noChangeAspect="1"/>
            </p:cNvSpPr>
            <p:nvPr/>
          </p:nvSpPr>
          <p:spPr>
            <a:xfrm>
              <a:off x="3182876" y="369745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0" name="Овал 119"/>
            <p:cNvSpPr>
              <a:spLocks noChangeAspect="1"/>
            </p:cNvSpPr>
            <p:nvPr/>
          </p:nvSpPr>
          <p:spPr>
            <a:xfrm>
              <a:off x="3249551" y="406258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1" name="Овал 120"/>
            <p:cNvSpPr>
              <a:spLocks noChangeAspect="1"/>
            </p:cNvSpPr>
            <p:nvPr/>
          </p:nvSpPr>
          <p:spPr>
            <a:xfrm>
              <a:off x="2906651" y="381810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2" name="Овал 121"/>
            <p:cNvSpPr>
              <a:spLocks noChangeAspect="1"/>
            </p:cNvSpPr>
            <p:nvPr/>
          </p:nvSpPr>
          <p:spPr>
            <a:xfrm>
              <a:off x="2751076" y="384985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3" name="Овал 122"/>
            <p:cNvSpPr>
              <a:spLocks noChangeAspect="1"/>
            </p:cNvSpPr>
            <p:nvPr/>
          </p:nvSpPr>
          <p:spPr>
            <a:xfrm>
              <a:off x="2490726" y="390065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4" name="Овал 123"/>
            <p:cNvSpPr>
              <a:spLocks noChangeAspect="1"/>
            </p:cNvSpPr>
            <p:nvPr/>
          </p:nvSpPr>
          <p:spPr>
            <a:xfrm>
              <a:off x="2671701" y="409750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5" name="Овал 124"/>
            <p:cNvSpPr>
              <a:spLocks noChangeAspect="1"/>
            </p:cNvSpPr>
            <p:nvPr/>
          </p:nvSpPr>
          <p:spPr>
            <a:xfrm>
              <a:off x="2373251" y="402448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6" name="Овал 125"/>
            <p:cNvSpPr>
              <a:spLocks noChangeAspect="1"/>
            </p:cNvSpPr>
            <p:nvPr/>
          </p:nvSpPr>
          <p:spPr>
            <a:xfrm>
              <a:off x="2716151" y="436103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Овал 126"/>
            <p:cNvSpPr>
              <a:spLocks noChangeAspect="1"/>
            </p:cNvSpPr>
            <p:nvPr/>
          </p:nvSpPr>
          <p:spPr>
            <a:xfrm>
              <a:off x="4471926" y="525638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8" name="Овал 127"/>
            <p:cNvSpPr>
              <a:spLocks noChangeAspect="1"/>
            </p:cNvSpPr>
            <p:nvPr/>
          </p:nvSpPr>
          <p:spPr>
            <a:xfrm>
              <a:off x="5437126" y="532305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9" name="Овал 128"/>
            <p:cNvSpPr>
              <a:spLocks noChangeAspect="1"/>
            </p:cNvSpPr>
            <p:nvPr/>
          </p:nvSpPr>
          <p:spPr>
            <a:xfrm>
              <a:off x="5218051" y="554213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0" name="Овал 129"/>
            <p:cNvSpPr>
              <a:spLocks noChangeAspect="1"/>
            </p:cNvSpPr>
            <p:nvPr/>
          </p:nvSpPr>
          <p:spPr>
            <a:xfrm>
              <a:off x="5472051" y="553260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1" name="Овал 130"/>
            <p:cNvSpPr>
              <a:spLocks noChangeAspect="1"/>
            </p:cNvSpPr>
            <p:nvPr/>
          </p:nvSpPr>
          <p:spPr>
            <a:xfrm>
              <a:off x="5205351" y="578978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2" name="Овал 131"/>
            <p:cNvSpPr>
              <a:spLocks noChangeAspect="1"/>
            </p:cNvSpPr>
            <p:nvPr/>
          </p:nvSpPr>
          <p:spPr>
            <a:xfrm>
              <a:off x="5376801" y="605965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3" name="Овал 132"/>
            <p:cNvSpPr>
              <a:spLocks noChangeAspect="1"/>
            </p:cNvSpPr>
            <p:nvPr/>
          </p:nvSpPr>
          <p:spPr>
            <a:xfrm>
              <a:off x="6113401" y="623110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4" name="Овал 133"/>
            <p:cNvSpPr>
              <a:spLocks noChangeAspect="1"/>
            </p:cNvSpPr>
            <p:nvPr/>
          </p:nvSpPr>
          <p:spPr>
            <a:xfrm>
              <a:off x="6970651" y="613903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5" name="Овал 134"/>
            <p:cNvSpPr>
              <a:spLocks noChangeAspect="1"/>
            </p:cNvSpPr>
            <p:nvPr/>
          </p:nvSpPr>
          <p:spPr>
            <a:xfrm>
              <a:off x="10393301" y="159560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</a:t>
              </a:r>
              <a:endParaRPr lang="ru-RU" dirty="0"/>
            </a:p>
          </p:txBody>
        </p:sp>
        <p:sp>
          <p:nvSpPr>
            <p:cNvPr id="136" name="Овал 135"/>
            <p:cNvSpPr>
              <a:spLocks noChangeAspect="1"/>
            </p:cNvSpPr>
            <p:nvPr/>
          </p:nvSpPr>
          <p:spPr>
            <a:xfrm>
              <a:off x="9085201" y="592313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</a:t>
              </a:r>
              <a:endParaRPr lang="ru-RU" dirty="0"/>
            </a:p>
          </p:txBody>
        </p:sp>
        <p:sp>
          <p:nvSpPr>
            <p:cNvPr id="137" name="Херсонская область">
              <a:extLst>
                <a:ext uri="{FF2B5EF4-FFF2-40B4-BE49-F238E27FC236}">
                  <a16:creationId xmlns:a16="http://schemas.microsoft.com/office/drawing/2014/main" id="{00000000-0008-0000-0100-0000BC000000}"/>
                </a:ext>
              </a:extLst>
            </p:cNvPr>
            <p:cNvSpPr/>
            <p:nvPr/>
          </p:nvSpPr>
          <p:spPr>
            <a:xfrm>
              <a:off x="822832" y="3503789"/>
              <a:ext cx="279211" cy="445766"/>
            </a:xfrm>
            <a:custGeom>
              <a:avLst/>
              <a:gdLst>
                <a:gd name="connsiteX0" fmla="*/ 119047 w 343053"/>
                <a:gd name="connsiteY0" fmla="*/ 451769 h 454117"/>
                <a:gd name="connsiteX1" fmla="*/ 119047 w 343053"/>
                <a:gd name="connsiteY1" fmla="*/ 450361 h 454117"/>
                <a:gd name="connsiteX2" fmla="*/ 119282 w 343053"/>
                <a:gd name="connsiteY2" fmla="*/ 443551 h 454117"/>
                <a:gd name="connsiteX3" fmla="*/ 119282 w 343053"/>
                <a:gd name="connsiteY3" fmla="*/ 443316 h 454117"/>
                <a:gd name="connsiteX4" fmla="*/ 119282 w 343053"/>
                <a:gd name="connsiteY4" fmla="*/ 443082 h 454117"/>
                <a:gd name="connsiteX5" fmla="*/ 119517 w 343053"/>
                <a:gd name="connsiteY5" fmla="*/ 441438 h 454117"/>
                <a:gd name="connsiteX6" fmla="*/ 119517 w 343053"/>
                <a:gd name="connsiteY6" fmla="*/ 440499 h 454117"/>
                <a:gd name="connsiteX7" fmla="*/ 120926 w 343053"/>
                <a:gd name="connsiteY7" fmla="*/ 437681 h 454117"/>
                <a:gd name="connsiteX8" fmla="*/ 121630 w 343053"/>
                <a:gd name="connsiteY8" fmla="*/ 436977 h 454117"/>
                <a:gd name="connsiteX9" fmla="*/ 122570 w 343053"/>
                <a:gd name="connsiteY9" fmla="*/ 435568 h 454117"/>
                <a:gd name="connsiteX10" fmla="*/ 123274 w 343053"/>
                <a:gd name="connsiteY10" fmla="*/ 434159 h 454117"/>
                <a:gd name="connsiteX11" fmla="*/ 124448 w 343053"/>
                <a:gd name="connsiteY11" fmla="*/ 432985 h 454117"/>
                <a:gd name="connsiteX12" fmla="*/ 125152 w 343053"/>
                <a:gd name="connsiteY12" fmla="*/ 432281 h 454117"/>
                <a:gd name="connsiteX13" fmla="*/ 126092 w 343053"/>
                <a:gd name="connsiteY13" fmla="*/ 430402 h 454117"/>
                <a:gd name="connsiteX14" fmla="*/ 126561 w 343053"/>
                <a:gd name="connsiteY14" fmla="*/ 429228 h 454117"/>
                <a:gd name="connsiteX15" fmla="*/ 127031 w 343053"/>
                <a:gd name="connsiteY15" fmla="*/ 428524 h 454117"/>
                <a:gd name="connsiteX16" fmla="*/ 130788 w 343053"/>
                <a:gd name="connsiteY16" fmla="*/ 422654 h 454117"/>
                <a:gd name="connsiteX17" fmla="*/ 133605 w 343053"/>
                <a:gd name="connsiteY17" fmla="*/ 419601 h 454117"/>
                <a:gd name="connsiteX18" fmla="*/ 138771 w 343053"/>
                <a:gd name="connsiteY18" fmla="*/ 412322 h 454117"/>
                <a:gd name="connsiteX19" fmla="*/ 139006 w 343053"/>
                <a:gd name="connsiteY19" fmla="*/ 410443 h 454117"/>
                <a:gd name="connsiteX20" fmla="*/ 138771 w 343053"/>
                <a:gd name="connsiteY20" fmla="*/ 410209 h 454117"/>
                <a:gd name="connsiteX21" fmla="*/ 137832 w 343053"/>
                <a:gd name="connsiteY21" fmla="*/ 410443 h 454117"/>
                <a:gd name="connsiteX22" fmla="*/ 137362 w 343053"/>
                <a:gd name="connsiteY22" fmla="*/ 410678 h 454117"/>
                <a:gd name="connsiteX23" fmla="*/ 135014 w 343053"/>
                <a:gd name="connsiteY23" fmla="*/ 410913 h 454117"/>
                <a:gd name="connsiteX24" fmla="*/ 130318 w 343053"/>
                <a:gd name="connsiteY24" fmla="*/ 409035 h 454117"/>
                <a:gd name="connsiteX25" fmla="*/ 129379 w 343053"/>
                <a:gd name="connsiteY25" fmla="*/ 406452 h 454117"/>
                <a:gd name="connsiteX26" fmla="*/ 133136 w 343053"/>
                <a:gd name="connsiteY26" fmla="*/ 404104 h 454117"/>
                <a:gd name="connsiteX27" fmla="*/ 140415 w 343053"/>
                <a:gd name="connsiteY27" fmla="*/ 401990 h 454117"/>
                <a:gd name="connsiteX28" fmla="*/ 140415 w 343053"/>
                <a:gd name="connsiteY28" fmla="*/ 401756 h 454117"/>
                <a:gd name="connsiteX29" fmla="*/ 142528 w 343053"/>
                <a:gd name="connsiteY29" fmla="*/ 399877 h 454117"/>
                <a:gd name="connsiteX30" fmla="*/ 143233 w 343053"/>
                <a:gd name="connsiteY30" fmla="*/ 399877 h 454117"/>
                <a:gd name="connsiteX31" fmla="*/ 145111 w 343053"/>
                <a:gd name="connsiteY31" fmla="*/ 400347 h 454117"/>
                <a:gd name="connsiteX32" fmla="*/ 145581 w 343053"/>
                <a:gd name="connsiteY32" fmla="*/ 400582 h 454117"/>
                <a:gd name="connsiteX33" fmla="*/ 146520 w 343053"/>
                <a:gd name="connsiteY33" fmla="*/ 400816 h 454117"/>
                <a:gd name="connsiteX34" fmla="*/ 146520 w 343053"/>
                <a:gd name="connsiteY34" fmla="*/ 399877 h 454117"/>
                <a:gd name="connsiteX35" fmla="*/ 146520 w 343053"/>
                <a:gd name="connsiteY35" fmla="*/ 398233 h 454117"/>
                <a:gd name="connsiteX36" fmla="*/ 152390 w 343053"/>
                <a:gd name="connsiteY36" fmla="*/ 392129 h 454117"/>
                <a:gd name="connsiteX37" fmla="*/ 154973 w 343053"/>
                <a:gd name="connsiteY37" fmla="*/ 390485 h 454117"/>
                <a:gd name="connsiteX38" fmla="*/ 160843 w 343053"/>
                <a:gd name="connsiteY38" fmla="*/ 383910 h 454117"/>
                <a:gd name="connsiteX39" fmla="*/ 160843 w 343053"/>
                <a:gd name="connsiteY39" fmla="*/ 383910 h 454117"/>
                <a:gd name="connsiteX40" fmla="*/ 160608 w 343053"/>
                <a:gd name="connsiteY40" fmla="*/ 383910 h 454117"/>
                <a:gd name="connsiteX41" fmla="*/ 160608 w 343053"/>
                <a:gd name="connsiteY41" fmla="*/ 383910 h 454117"/>
                <a:gd name="connsiteX42" fmla="*/ 159434 w 343053"/>
                <a:gd name="connsiteY42" fmla="*/ 384380 h 454117"/>
                <a:gd name="connsiteX43" fmla="*/ 157556 w 343053"/>
                <a:gd name="connsiteY43" fmla="*/ 384849 h 454117"/>
                <a:gd name="connsiteX44" fmla="*/ 155443 w 343053"/>
                <a:gd name="connsiteY44" fmla="*/ 382736 h 454117"/>
                <a:gd name="connsiteX45" fmla="*/ 155912 w 343053"/>
                <a:gd name="connsiteY45" fmla="*/ 379918 h 454117"/>
                <a:gd name="connsiteX46" fmla="*/ 156147 w 343053"/>
                <a:gd name="connsiteY46" fmla="*/ 379214 h 454117"/>
                <a:gd name="connsiteX47" fmla="*/ 156382 w 343053"/>
                <a:gd name="connsiteY47" fmla="*/ 378510 h 454117"/>
                <a:gd name="connsiteX48" fmla="*/ 157086 w 343053"/>
                <a:gd name="connsiteY48" fmla="*/ 376396 h 454117"/>
                <a:gd name="connsiteX49" fmla="*/ 158260 w 343053"/>
                <a:gd name="connsiteY49" fmla="*/ 374987 h 454117"/>
                <a:gd name="connsiteX50" fmla="*/ 158965 w 343053"/>
                <a:gd name="connsiteY50" fmla="*/ 374283 h 454117"/>
                <a:gd name="connsiteX51" fmla="*/ 160139 w 343053"/>
                <a:gd name="connsiteY51" fmla="*/ 371935 h 454117"/>
                <a:gd name="connsiteX52" fmla="*/ 160843 w 343053"/>
                <a:gd name="connsiteY52" fmla="*/ 366534 h 454117"/>
                <a:gd name="connsiteX53" fmla="*/ 160843 w 343053"/>
                <a:gd name="connsiteY53" fmla="*/ 365126 h 454117"/>
                <a:gd name="connsiteX54" fmla="*/ 162252 w 343053"/>
                <a:gd name="connsiteY54" fmla="*/ 365360 h 454117"/>
                <a:gd name="connsiteX55" fmla="*/ 171410 w 343053"/>
                <a:gd name="connsiteY55" fmla="*/ 372874 h 454117"/>
                <a:gd name="connsiteX56" fmla="*/ 170940 w 343053"/>
                <a:gd name="connsiteY56" fmla="*/ 376396 h 454117"/>
                <a:gd name="connsiteX57" fmla="*/ 170470 w 343053"/>
                <a:gd name="connsiteY57" fmla="*/ 377805 h 454117"/>
                <a:gd name="connsiteX58" fmla="*/ 170470 w 343053"/>
                <a:gd name="connsiteY58" fmla="*/ 378040 h 454117"/>
                <a:gd name="connsiteX59" fmla="*/ 172818 w 343053"/>
                <a:gd name="connsiteY59" fmla="*/ 376866 h 454117"/>
                <a:gd name="connsiteX60" fmla="*/ 177045 w 343053"/>
                <a:gd name="connsiteY60" fmla="*/ 368883 h 454117"/>
                <a:gd name="connsiteX61" fmla="*/ 176575 w 343053"/>
                <a:gd name="connsiteY61" fmla="*/ 361134 h 454117"/>
                <a:gd name="connsiteX62" fmla="*/ 176106 w 343053"/>
                <a:gd name="connsiteY62" fmla="*/ 359960 h 454117"/>
                <a:gd name="connsiteX63" fmla="*/ 174932 w 343053"/>
                <a:gd name="connsiteY63" fmla="*/ 357612 h 454117"/>
                <a:gd name="connsiteX64" fmla="*/ 170940 w 343053"/>
                <a:gd name="connsiteY64" fmla="*/ 356438 h 454117"/>
                <a:gd name="connsiteX65" fmla="*/ 164835 w 343053"/>
                <a:gd name="connsiteY65" fmla="*/ 360664 h 454117"/>
                <a:gd name="connsiteX66" fmla="*/ 163426 w 343053"/>
                <a:gd name="connsiteY66" fmla="*/ 362073 h 454117"/>
                <a:gd name="connsiteX67" fmla="*/ 156147 w 343053"/>
                <a:gd name="connsiteY67" fmla="*/ 365595 h 454117"/>
                <a:gd name="connsiteX68" fmla="*/ 152155 w 343053"/>
                <a:gd name="connsiteY68" fmla="*/ 365830 h 454117"/>
                <a:gd name="connsiteX69" fmla="*/ 145111 w 343053"/>
                <a:gd name="connsiteY69" fmla="*/ 366300 h 454117"/>
                <a:gd name="connsiteX70" fmla="*/ 143702 w 343053"/>
                <a:gd name="connsiteY70" fmla="*/ 366300 h 454117"/>
                <a:gd name="connsiteX71" fmla="*/ 139006 w 343053"/>
                <a:gd name="connsiteY71" fmla="*/ 365126 h 454117"/>
                <a:gd name="connsiteX72" fmla="*/ 138302 w 343053"/>
                <a:gd name="connsiteY72" fmla="*/ 361604 h 454117"/>
                <a:gd name="connsiteX73" fmla="*/ 138302 w 343053"/>
                <a:gd name="connsiteY73" fmla="*/ 359725 h 454117"/>
                <a:gd name="connsiteX74" fmla="*/ 135954 w 343053"/>
                <a:gd name="connsiteY74" fmla="*/ 359256 h 454117"/>
                <a:gd name="connsiteX75" fmla="*/ 134780 w 343053"/>
                <a:gd name="connsiteY75" fmla="*/ 359256 h 454117"/>
                <a:gd name="connsiteX76" fmla="*/ 134545 w 343053"/>
                <a:gd name="connsiteY76" fmla="*/ 359256 h 454117"/>
                <a:gd name="connsiteX77" fmla="*/ 132431 w 343053"/>
                <a:gd name="connsiteY77" fmla="*/ 358551 h 454117"/>
                <a:gd name="connsiteX78" fmla="*/ 131492 w 343053"/>
                <a:gd name="connsiteY78" fmla="*/ 356203 h 454117"/>
                <a:gd name="connsiteX79" fmla="*/ 131257 w 343053"/>
                <a:gd name="connsiteY79" fmla="*/ 355498 h 454117"/>
                <a:gd name="connsiteX80" fmla="*/ 130788 w 343053"/>
                <a:gd name="connsiteY80" fmla="*/ 354324 h 454117"/>
                <a:gd name="connsiteX81" fmla="*/ 131962 w 343053"/>
                <a:gd name="connsiteY81" fmla="*/ 354090 h 454117"/>
                <a:gd name="connsiteX82" fmla="*/ 133371 w 343053"/>
                <a:gd name="connsiteY82" fmla="*/ 353855 h 454117"/>
                <a:gd name="connsiteX83" fmla="*/ 135719 w 343053"/>
                <a:gd name="connsiteY83" fmla="*/ 352446 h 454117"/>
                <a:gd name="connsiteX84" fmla="*/ 134545 w 343053"/>
                <a:gd name="connsiteY84" fmla="*/ 349628 h 454117"/>
                <a:gd name="connsiteX85" fmla="*/ 133371 w 343053"/>
                <a:gd name="connsiteY85" fmla="*/ 347515 h 454117"/>
                <a:gd name="connsiteX86" fmla="*/ 133371 w 343053"/>
                <a:gd name="connsiteY86" fmla="*/ 344697 h 454117"/>
                <a:gd name="connsiteX87" fmla="*/ 136658 w 343053"/>
                <a:gd name="connsiteY87" fmla="*/ 343054 h 454117"/>
                <a:gd name="connsiteX88" fmla="*/ 138536 w 343053"/>
                <a:gd name="connsiteY88" fmla="*/ 342819 h 454117"/>
                <a:gd name="connsiteX89" fmla="*/ 142763 w 343053"/>
                <a:gd name="connsiteY89" fmla="*/ 345637 h 454117"/>
                <a:gd name="connsiteX90" fmla="*/ 142763 w 343053"/>
                <a:gd name="connsiteY90" fmla="*/ 347515 h 454117"/>
                <a:gd name="connsiteX91" fmla="*/ 142763 w 343053"/>
                <a:gd name="connsiteY91" fmla="*/ 348219 h 454117"/>
                <a:gd name="connsiteX92" fmla="*/ 142998 w 343053"/>
                <a:gd name="connsiteY92" fmla="*/ 348219 h 454117"/>
                <a:gd name="connsiteX93" fmla="*/ 142998 w 343053"/>
                <a:gd name="connsiteY93" fmla="*/ 347985 h 454117"/>
                <a:gd name="connsiteX94" fmla="*/ 142998 w 343053"/>
                <a:gd name="connsiteY94" fmla="*/ 347045 h 454117"/>
                <a:gd name="connsiteX95" fmla="*/ 144172 w 343053"/>
                <a:gd name="connsiteY95" fmla="*/ 344463 h 454117"/>
                <a:gd name="connsiteX96" fmla="*/ 148633 w 343053"/>
                <a:gd name="connsiteY96" fmla="*/ 340940 h 454117"/>
                <a:gd name="connsiteX97" fmla="*/ 150981 w 343053"/>
                <a:gd name="connsiteY97" fmla="*/ 340471 h 454117"/>
                <a:gd name="connsiteX98" fmla="*/ 154503 w 343053"/>
                <a:gd name="connsiteY98" fmla="*/ 341175 h 454117"/>
                <a:gd name="connsiteX99" fmla="*/ 158730 w 343053"/>
                <a:gd name="connsiteY99" fmla="*/ 344228 h 454117"/>
                <a:gd name="connsiteX100" fmla="*/ 157791 w 343053"/>
                <a:gd name="connsiteY100" fmla="*/ 346106 h 454117"/>
                <a:gd name="connsiteX101" fmla="*/ 160139 w 343053"/>
                <a:gd name="connsiteY101" fmla="*/ 346576 h 454117"/>
                <a:gd name="connsiteX102" fmla="*/ 161782 w 343053"/>
                <a:gd name="connsiteY102" fmla="*/ 347280 h 454117"/>
                <a:gd name="connsiteX103" fmla="*/ 160374 w 343053"/>
                <a:gd name="connsiteY103" fmla="*/ 348454 h 454117"/>
                <a:gd name="connsiteX104" fmla="*/ 157086 w 343053"/>
                <a:gd name="connsiteY104" fmla="*/ 352681 h 454117"/>
                <a:gd name="connsiteX105" fmla="*/ 158730 w 343053"/>
                <a:gd name="connsiteY105" fmla="*/ 352211 h 454117"/>
                <a:gd name="connsiteX106" fmla="*/ 160374 w 343053"/>
                <a:gd name="connsiteY106" fmla="*/ 351976 h 454117"/>
                <a:gd name="connsiteX107" fmla="*/ 162722 w 343053"/>
                <a:gd name="connsiteY107" fmla="*/ 351507 h 454117"/>
                <a:gd name="connsiteX108" fmla="*/ 168122 w 343053"/>
                <a:gd name="connsiteY108" fmla="*/ 346341 h 454117"/>
                <a:gd name="connsiteX109" fmla="*/ 168357 w 343053"/>
                <a:gd name="connsiteY109" fmla="*/ 343993 h 454117"/>
                <a:gd name="connsiteX110" fmla="*/ 166479 w 343053"/>
                <a:gd name="connsiteY110" fmla="*/ 344463 h 454117"/>
                <a:gd name="connsiteX111" fmla="*/ 166009 w 343053"/>
                <a:gd name="connsiteY111" fmla="*/ 344697 h 454117"/>
                <a:gd name="connsiteX112" fmla="*/ 164600 w 343053"/>
                <a:gd name="connsiteY112" fmla="*/ 344932 h 454117"/>
                <a:gd name="connsiteX113" fmla="*/ 162017 w 343053"/>
                <a:gd name="connsiteY113" fmla="*/ 344228 h 454117"/>
                <a:gd name="connsiteX114" fmla="*/ 160843 w 343053"/>
                <a:gd name="connsiteY114" fmla="*/ 343758 h 454117"/>
                <a:gd name="connsiteX115" fmla="*/ 158260 w 343053"/>
                <a:gd name="connsiteY115" fmla="*/ 340706 h 454117"/>
                <a:gd name="connsiteX116" fmla="*/ 158025 w 343053"/>
                <a:gd name="connsiteY116" fmla="*/ 340001 h 454117"/>
                <a:gd name="connsiteX117" fmla="*/ 157556 w 343053"/>
                <a:gd name="connsiteY117" fmla="*/ 337184 h 454117"/>
                <a:gd name="connsiteX118" fmla="*/ 158025 w 343053"/>
                <a:gd name="connsiteY118" fmla="*/ 333661 h 454117"/>
                <a:gd name="connsiteX119" fmla="*/ 158260 w 343053"/>
                <a:gd name="connsiteY119" fmla="*/ 332018 h 454117"/>
                <a:gd name="connsiteX120" fmla="*/ 158495 w 343053"/>
                <a:gd name="connsiteY120" fmla="*/ 331079 h 454117"/>
                <a:gd name="connsiteX121" fmla="*/ 158965 w 343053"/>
                <a:gd name="connsiteY121" fmla="*/ 324739 h 454117"/>
                <a:gd name="connsiteX122" fmla="*/ 158965 w 343053"/>
                <a:gd name="connsiteY122" fmla="*/ 322860 h 454117"/>
                <a:gd name="connsiteX123" fmla="*/ 158730 w 343053"/>
                <a:gd name="connsiteY123" fmla="*/ 319338 h 454117"/>
                <a:gd name="connsiteX124" fmla="*/ 158730 w 343053"/>
                <a:gd name="connsiteY124" fmla="*/ 318634 h 454117"/>
                <a:gd name="connsiteX125" fmla="*/ 158260 w 343053"/>
                <a:gd name="connsiteY125" fmla="*/ 318634 h 454117"/>
                <a:gd name="connsiteX126" fmla="*/ 156851 w 343053"/>
                <a:gd name="connsiteY126" fmla="*/ 318399 h 454117"/>
                <a:gd name="connsiteX127" fmla="*/ 155677 w 343053"/>
                <a:gd name="connsiteY127" fmla="*/ 318164 h 454117"/>
                <a:gd name="connsiteX128" fmla="*/ 155443 w 343053"/>
                <a:gd name="connsiteY128" fmla="*/ 318164 h 454117"/>
                <a:gd name="connsiteX129" fmla="*/ 155677 w 343053"/>
                <a:gd name="connsiteY129" fmla="*/ 319573 h 454117"/>
                <a:gd name="connsiteX130" fmla="*/ 156147 w 343053"/>
                <a:gd name="connsiteY130" fmla="*/ 320982 h 454117"/>
                <a:gd name="connsiteX131" fmla="*/ 153799 w 343053"/>
                <a:gd name="connsiteY131" fmla="*/ 324973 h 454117"/>
                <a:gd name="connsiteX132" fmla="*/ 149807 w 343053"/>
                <a:gd name="connsiteY132" fmla="*/ 326852 h 454117"/>
                <a:gd name="connsiteX133" fmla="*/ 143233 w 343053"/>
                <a:gd name="connsiteY133" fmla="*/ 328261 h 454117"/>
                <a:gd name="connsiteX134" fmla="*/ 142293 w 343053"/>
                <a:gd name="connsiteY134" fmla="*/ 328261 h 454117"/>
                <a:gd name="connsiteX135" fmla="*/ 141119 w 343053"/>
                <a:gd name="connsiteY135" fmla="*/ 328261 h 454117"/>
                <a:gd name="connsiteX136" fmla="*/ 141119 w 343053"/>
                <a:gd name="connsiteY136" fmla="*/ 327087 h 454117"/>
                <a:gd name="connsiteX137" fmla="*/ 143233 w 343053"/>
                <a:gd name="connsiteY137" fmla="*/ 323565 h 454117"/>
                <a:gd name="connsiteX138" fmla="*/ 145111 w 343053"/>
                <a:gd name="connsiteY138" fmla="*/ 322625 h 454117"/>
                <a:gd name="connsiteX139" fmla="*/ 146285 w 343053"/>
                <a:gd name="connsiteY139" fmla="*/ 321921 h 454117"/>
                <a:gd name="connsiteX140" fmla="*/ 149338 w 343053"/>
                <a:gd name="connsiteY140" fmla="*/ 319103 h 454117"/>
                <a:gd name="connsiteX141" fmla="*/ 156617 w 343053"/>
                <a:gd name="connsiteY141" fmla="*/ 307598 h 454117"/>
                <a:gd name="connsiteX142" fmla="*/ 159904 w 343053"/>
                <a:gd name="connsiteY142" fmla="*/ 298206 h 454117"/>
                <a:gd name="connsiteX143" fmla="*/ 158965 w 343053"/>
                <a:gd name="connsiteY143" fmla="*/ 296562 h 454117"/>
                <a:gd name="connsiteX144" fmla="*/ 158025 w 343053"/>
                <a:gd name="connsiteY144" fmla="*/ 296796 h 454117"/>
                <a:gd name="connsiteX145" fmla="*/ 153095 w 343053"/>
                <a:gd name="connsiteY145" fmla="*/ 299380 h 454117"/>
                <a:gd name="connsiteX146" fmla="*/ 149572 w 343053"/>
                <a:gd name="connsiteY146" fmla="*/ 307128 h 454117"/>
                <a:gd name="connsiteX147" fmla="*/ 149103 w 343053"/>
                <a:gd name="connsiteY147" fmla="*/ 309007 h 454117"/>
                <a:gd name="connsiteX148" fmla="*/ 148868 w 343053"/>
                <a:gd name="connsiteY148" fmla="*/ 310181 h 454117"/>
                <a:gd name="connsiteX149" fmla="*/ 147694 w 343053"/>
                <a:gd name="connsiteY149" fmla="*/ 309946 h 454117"/>
                <a:gd name="connsiteX150" fmla="*/ 145581 w 343053"/>
                <a:gd name="connsiteY150" fmla="*/ 309241 h 454117"/>
                <a:gd name="connsiteX151" fmla="*/ 141354 w 343053"/>
                <a:gd name="connsiteY151" fmla="*/ 308302 h 454117"/>
                <a:gd name="connsiteX152" fmla="*/ 140415 w 343053"/>
                <a:gd name="connsiteY152" fmla="*/ 308537 h 454117"/>
                <a:gd name="connsiteX153" fmla="*/ 138536 w 343053"/>
                <a:gd name="connsiteY153" fmla="*/ 309241 h 454117"/>
                <a:gd name="connsiteX154" fmla="*/ 139006 w 343053"/>
                <a:gd name="connsiteY154" fmla="*/ 307128 h 454117"/>
                <a:gd name="connsiteX155" fmla="*/ 143467 w 343053"/>
                <a:gd name="connsiteY155" fmla="*/ 302902 h 454117"/>
                <a:gd name="connsiteX156" fmla="*/ 143937 w 343053"/>
                <a:gd name="connsiteY156" fmla="*/ 302667 h 454117"/>
                <a:gd name="connsiteX157" fmla="*/ 146520 w 343053"/>
                <a:gd name="connsiteY157" fmla="*/ 300084 h 454117"/>
                <a:gd name="connsiteX158" fmla="*/ 146755 w 343053"/>
                <a:gd name="connsiteY158" fmla="*/ 299145 h 454117"/>
                <a:gd name="connsiteX159" fmla="*/ 146050 w 343053"/>
                <a:gd name="connsiteY159" fmla="*/ 299380 h 454117"/>
                <a:gd name="connsiteX160" fmla="*/ 144641 w 343053"/>
                <a:gd name="connsiteY160" fmla="*/ 299849 h 454117"/>
                <a:gd name="connsiteX161" fmla="*/ 144407 w 343053"/>
                <a:gd name="connsiteY161" fmla="*/ 299849 h 454117"/>
                <a:gd name="connsiteX162" fmla="*/ 141824 w 343053"/>
                <a:gd name="connsiteY162" fmla="*/ 298440 h 454117"/>
                <a:gd name="connsiteX163" fmla="*/ 142059 w 343053"/>
                <a:gd name="connsiteY163" fmla="*/ 299145 h 454117"/>
                <a:gd name="connsiteX164" fmla="*/ 142059 w 343053"/>
                <a:gd name="connsiteY164" fmla="*/ 302197 h 454117"/>
                <a:gd name="connsiteX165" fmla="*/ 139945 w 343053"/>
                <a:gd name="connsiteY165" fmla="*/ 304780 h 454117"/>
                <a:gd name="connsiteX166" fmla="*/ 139006 w 343053"/>
                <a:gd name="connsiteY166" fmla="*/ 305719 h 454117"/>
                <a:gd name="connsiteX167" fmla="*/ 138536 w 343053"/>
                <a:gd name="connsiteY167" fmla="*/ 306189 h 454117"/>
                <a:gd name="connsiteX168" fmla="*/ 136423 w 343053"/>
                <a:gd name="connsiteY168" fmla="*/ 308302 h 454117"/>
                <a:gd name="connsiteX169" fmla="*/ 135484 w 343053"/>
                <a:gd name="connsiteY169" fmla="*/ 309007 h 454117"/>
                <a:gd name="connsiteX170" fmla="*/ 134780 w 343053"/>
                <a:gd name="connsiteY170" fmla="*/ 307833 h 454117"/>
                <a:gd name="connsiteX171" fmla="*/ 133840 w 343053"/>
                <a:gd name="connsiteY171" fmla="*/ 305250 h 454117"/>
                <a:gd name="connsiteX172" fmla="*/ 133371 w 343053"/>
                <a:gd name="connsiteY172" fmla="*/ 303841 h 454117"/>
                <a:gd name="connsiteX173" fmla="*/ 132901 w 343053"/>
                <a:gd name="connsiteY173" fmla="*/ 302902 h 454117"/>
                <a:gd name="connsiteX174" fmla="*/ 133136 w 343053"/>
                <a:gd name="connsiteY174" fmla="*/ 299145 h 454117"/>
                <a:gd name="connsiteX175" fmla="*/ 134075 w 343053"/>
                <a:gd name="connsiteY175" fmla="*/ 298440 h 454117"/>
                <a:gd name="connsiteX176" fmla="*/ 134780 w 343053"/>
                <a:gd name="connsiteY176" fmla="*/ 297736 h 454117"/>
                <a:gd name="connsiteX177" fmla="*/ 133136 w 343053"/>
                <a:gd name="connsiteY177" fmla="*/ 297032 h 454117"/>
                <a:gd name="connsiteX178" fmla="*/ 131962 w 343053"/>
                <a:gd name="connsiteY178" fmla="*/ 296562 h 454117"/>
                <a:gd name="connsiteX179" fmla="*/ 130318 w 343053"/>
                <a:gd name="connsiteY179" fmla="*/ 294918 h 454117"/>
                <a:gd name="connsiteX180" fmla="*/ 130788 w 343053"/>
                <a:gd name="connsiteY180" fmla="*/ 293274 h 454117"/>
                <a:gd name="connsiteX181" fmla="*/ 131257 w 343053"/>
                <a:gd name="connsiteY181" fmla="*/ 292570 h 454117"/>
                <a:gd name="connsiteX182" fmla="*/ 131492 w 343053"/>
                <a:gd name="connsiteY182" fmla="*/ 291396 h 454117"/>
                <a:gd name="connsiteX183" fmla="*/ 131962 w 343053"/>
                <a:gd name="connsiteY183" fmla="*/ 289283 h 454117"/>
                <a:gd name="connsiteX184" fmla="*/ 134780 w 343053"/>
                <a:gd name="connsiteY184" fmla="*/ 285526 h 454117"/>
                <a:gd name="connsiteX185" fmla="*/ 136893 w 343053"/>
                <a:gd name="connsiteY185" fmla="*/ 282943 h 454117"/>
                <a:gd name="connsiteX186" fmla="*/ 137128 w 343053"/>
                <a:gd name="connsiteY186" fmla="*/ 280595 h 454117"/>
                <a:gd name="connsiteX187" fmla="*/ 136423 w 343053"/>
                <a:gd name="connsiteY187" fmla="*/ 277542 h 454117"/>
                <a:gd name="connsiteX188" fmla="*/ 136188 w 343053"/>
                <a:gd name="connsiteY188" fmla="*/ 275664 h 454117"/>
                <a:gd name="connsiteX189" fmla="*/ 134780 w 343053"/>
                <a:gd name="connsiteY189" fmla="*/ 270498 h 454117"/>
                <a:gd name="connsiteX190" fmla="*/ 134075 w 343053"/>
                <a:gd name="connsiteY190" fmla="*/ 269794 h 454117"/>
                <a:gd name="connsiteX191" fmla="*/ 130318 w 343053"/>
                <a:gd name="connsiteY191" fmla="*/ 263923 h 454117"/>
                <a:gd name="connsiteX192" fmla="*/ 131023 w 343053"/>
                <a:gd name="connsiteY192" fmla="*/ 262045 h 454117"/>
                <a:gd name="connsiteX193" fmla="*/ 131257 w 343053"/>
                <a:gd name="connsiteY193" fmla="*/ 261575 h 454117"/>
                <a:gd name="connsiteX194" fmla="*/ 131257 w 343053"/>
                <a:gd name="connsiteY194" fmla="*/ 260636 h 454117"/>
                <a:gd name="connsiteX195" fmla="*/ 130553 w 343053"/>
                <a:gd name="connsiteY195" fmla="*/ 257349 h 454117"/>
                <a:gd name="connsiteX196" fmla="*/ 127266 w 343053"/>
                <a:gd name="connsiteY196" fmla="*/ 255470 h 454117"/>
                <a:gd name="connsiteX197" fmla="*/ 125152 w 343053"/>
                <a:gd name="connsiteY197" fmla="*/ 255001 h 454117"/>
                <a:gd name="connsiteX198" fmla="*/ 122570 w 343053"/>
                <a:gd name="connsiteY198" fmla="*/ 252183 h 454117"/>
                <a:gd name="connsiteX199" fmla="*/ 122335 w 343053"/>
                <a:gd name="connsiteY199" fmla="*/ 251009 h 454117"/>
                <a:gd name="connsiteX200" fmla="*/ 121630 w 343053"/>
                <a:gd name="connsiteY200" fmla="*/ 249600 h 454117"/>
                <a:gd name="connsiteX201" fmla="*/ 121630 w 343053"/>
                <a:gd name="connsiteY201" fmla="*/ 250070 h 454117"/>
                <a:gd name="connsiteX202" fmla="*/ 121161 w 343053"/>
                <a:gd name="connsiteY202" fmla="*/ 251714 h 454117"/>
                <a:gd name="connsiteX203" fmla="*/ 119987 w 343053"/>
                <a:gd name="connsiteY203" fmla="*/ 254062 h 454117"/>
                <a:gd name="connsiteX204" fmla="*/ 119517 w 343053"/>
                <a:gd name="connsiteY204" fmla="*/ 255001 h 454117"/>
                <a:gd name="connsiteX205" fmla="*/ 118813 w 343053"/>
                <a:gd name="connsiteY205" fmla="*/ 255940 h 454117"/>
                <a:gd name="connsiteX206" fmla="*/ 117873 w 343053"/>
                <a:gd name="connsiteY206" fmla="*/ 255470 h 454117"/>
                <a:gd name="connsiteX207" fmla="*/ 115056 w 343053"/>
                <a:gd name="connsiteY207" fmla="*/ 254062 h 454117"/>
                <a:gd name="connsiteX208" fmla="*/ 111299 w 343053"/>
                <a:gd name="connsiteY208" fmla="*/ 253357 h 454117"/>
                <a:gd name="connsiteX209" fmla="*/ 104020 w 343053"/>
                <a:gd name="connsiteY209" fmla="*/ 256175 h 454117"/>
                <a:gd name="connsiteX210" fmla="*/ 99558 w 343053"/>
                <a:gd name="connsiteY210" fmla="*/ 259227 h 454117"/>
                <a:gd name="connsiteX211" fmla="*/ 105429 w 343053"/>
                <a:gd name="connsiteY211" fmla="*/ 249835 h 454117"/>
                <a:gd name="connsiteX212" fmla="*/ 105898 w 343053"/>
                <a:gd name="connsiteY212" fmla="*/ 247957 h 454117"/>
                <a:gd name="connsiteX213" fmla="*/ 104020 w 343053"/>
                <a:gd name="connsiteY213" fmla="*/ 246313 h 454117"/>
                <a:gd name="connsiteX214" fmla="*/ 100967 w 343053"/>
                <a:gd name="connsiteY214" fmla="*/ 245139 h 454117"/>
                <a:gd name="connsiteX215" fmla="*/ 98384 w 343053"/>
                <a:gd name="connsiteY215" fmla="*/ 244669 h 454117"/>
                <a:gd name="connsiteX216" fmla="*/ 96976 w 343053"/>
                <a:gd name="connsiteY216" fmla="*/ 245374 h 454117"/>
                <a:gd name="connsiteX217" fmla="*/ 96741 w 343053"/>
                <a:gd name="connsiteY217" fmla="*/ 249365 h 454117"/>
                <a:gd name="connsiteX218" fmla="*/ 94158 w 343053"/>
                <a:gd name="connsiteY218" fmla="*/ 250774 h 454117"/>
                <a:gd name="connsiteX219" fmla="*/ 91810 w 343053"/>
                <a:gd name="connsiteY219" fmla="*/ 247252 h 454117"/>
                <a:gd name="connsiteX220" fmla="*/ 89931 w 343053"/>
                <a:gd name="connsiteY220" fmla="*/ 245374 h 454117"/>
                <a:gd name="connsiteX221" fmla="*/ 88757 w 343053"/>
                <a:gd name="connsiteY221" fmla="*/ 245374 h 454117"/>
                <a:gd name="connsiteX222" fmla="*/ 85940 w 343053"/>
                <a:gd name="connsiteY222" fmla="*/ 251009 h 454117"/>
                <a:gd name="connsiteX223" fmla="*/ 84296 w 343053"/>
                <a:gd name="connsiteY223" fmla="*/ 247487 h 454117"/>
                <a:gd name="connsiteX224" fmla="*/ 84061 w 343053"/>
                <a:gd name="connsiteY224" fmla="*/ 244669 h 454117"/>
                <a:gd name="connsiteX225" fmla="*/ 80304 w 343053"/>
                <a:gd name="connsiteY225" fmla="*/ 237860 h 454117"/>
                <a:gd name="connsiteX226" fmla="*/ 80539 w 343053"/>
                <a:gd name="connsiteY226" fmla="*/ 235982 h 454117"/>
                <a:gd name="connsiteX227" fmla="*/ 83122 w 343053"/>
                <a:gd name="connsiteY227" fmla="*/ 230111 h 454117"/>
                <a:gd name="connsiteX228" fmla="*/ 83826 w 343053"/>
                <a:gd name="connsiteY228" fmla="*/ 226354 h 454117"/>
                <a:gd name="connsiteX229" fmla="*/ 83122 w 343053"/>
                <a:gd name="connsiteY229" fmla="*/ 224241 h 454117"/>
                <a:gd name="connsiteX230" fmla="*/ 77956 w 343053"/>
                <a:gd name="connsiteY230" fmla="*/ 223771 h 454117"/>
                <a:gd name="connsiteX231" fmla="*/ 78895 w 343053"/>
                <a:gd name="connsiteY231" fmla="*/ 221658 h 454117"/>
                <a:gd name="connsiteX232" fmla="*/ 78661 w 343053"/>
                <a:gd name="connsiteY232" fmla="*/ 221189 h 454117"/>
                <a:gd name="connsiteX233" fmla="*/ 77956 w 343053"/>
                <a:gd name="connsiteY233" fmla="*/ 218371 h 454117"/>
                <a:gd name="connsiteX234" fmla="*/ 82417 w 343053"/>
                <a:gd name="connsiteY234" fmla="*/ 219780 h 454117"/>
                <a:gd name="connsiteX235" fmla="*/ 84531 w 343053"/>
                <a:gd name="connsiteY235" fmla="*/ 219780 h 454117"/>
                <a:gd name="connsiteX236" fmla="*/ 85235 w 343053"/>
                <a:gd name="connsiteY236" fmla="*/ 219310 h 454117"/>
                <a:gd name="connsiteX237" fmla="*/ 84765 w 343053"/>
                <a:gd name="connsiteY237" fmla="*/ 217432 h 454117"/>
                <a:gd name="connsiteX238" fmla="*/ 77956 w 343053"/>
                <a:gd name="connsiteY238" fmla="*/ 208274 h 454117"/>
                <a:gd name="connsiteX239" fmla="*/ 82417 w 343053"/>
                <a:gd name="connsiteY239" fmla="*/ 207570 h 454117"/>
                <a:gd name="connsiteX240" fmla="*/ 84296 w 343053"/>
                <a:gd name="connsiteY240" fmla="*/ 206865 h 454117"/>
                <a:gd name="connsiteX241" fmla="*/ 92045 w 343053"/>
                <a:gd name="connsiteY241" fmla="*/ 203343 h 454117"/>
                <a:gd name="connsiteX242" fmla="*/ 91575 w 343053"/>
                <a:gd name="connsiteY242" fmla="*/ 203109 h 454117"/>
                <a:gd name="connsiteX243" fmla="*/ 86644 w 343053"/>
                <a:gd name="connsiteY243" fmla="*/ 203578 h 454117"/>
                <a:gd name="connsiteX244" fmla="*/ 81009 w 343053"/>
                <a:gd name="connsiteY244" fmla="*/ 203578 h 454117"/>
                <a:gd name="connsiteX245" fmla="*/ 77017 w 343053"/>
                <a:gd name="connsiteY245" fmla="*/ 200760 h 454117"/>
                <a:gd name="connsiteX246" fmla="*/ 76312 w 343053"/>
                <a:gd name="connsiteY246" fmla="*/ 200056 h 454117"/>
                <a:gd name="connsiteX247" fmla="*/ 74669 w 343053"/>
                <a:gd name="connsiteY247" fmla="*/ 199117 h 454117"/>
                <a:gd name="connsiteX248" fmla="*/ 73730 w 343053"/>
                <a:gd name="connsiteY248" fmla="*/ 197708 h 454117"/>
                <a:gd name="connsiteX249" fmla="*/ 73495 w 343053"/>
                <a:gd name="connsiteY249" fmla="*/ 196064 h 454117"/>
                <a:gd name="connsiteX250" fmla="*/ 73964 w 343053"/>
                <a:gd name="connsiteY250" fmla="*/ 192542 h 454117"/>
                <a:gd name="connsiteX251" fmla="*/ 73730 w 343053"/>
                <a:gd name="connsiteY251" fmla="*/ 187141 h 454117"/>
                <a:gd name="connsiteX252" fmla="*/ 71381 w 343053"/>
                <a:gd name="connsiteY252" fmla="*/ 189255 h 454117"/>
                <a:gd name="connsiteX253" fmla="*/ 67625 w 343053"/>
                <a:gd name="connsiteY253" fmla="*/ 188785 h 454117"/>
                <a:gd name="connsiteX254" fmla="*/ 59171 w 343053"/>
                <a:gd name="connsiteY254" fmla="*/ 177984 h 454117"/>
                <a:gd name="connsiteX255" fmla="*/ 58232 w 343053"/>
                <a:gd name="connsiteY255" fmla="*/ 176106 h 454117"/>
                <a:gd name="connsiteX256" fmla="*/ 57997 w 343053"/>
                <a:gd name="connsiteY256" fmla="*/ 174932 h 454117"/>
                <a:gd name="connsiteX257" fmla="*/ 57997 w 343053"/>
                <a:gd name="connsiteY257" fmla="*/ 173758 h 454117"/>
                <a:gd name="connsiteX258" fmla="*/ 57763 w 343053"/>
                <a:gd name="connsiteY258" fmla="*/ 173288 h 454117"/>
                <a:gd name="connsiteX259" fmla="*/ 56119 w 343053"/>
                <a:gd name="connsiteY259" fmla="*/ 170940 h 454117"/>
                <a:gd name="connsiteX260" fmla="*/ 55649 w 343053"/>
                <a:gd name="connsiteY260" fmla="*/ 169766 h 454117"/>
                <a:gd name="connsiteX261" fmla="*/ 54241 w 343053"/>
                <a:gd name="connsiteY261" fmla="*/ 162721 h 454117"/>
                <a:gd name="connsiteX262" fmla="*/ 53066 w 343053"/>
                <a:gd name="connsiteY262" fmla="*/ 160373 h 454117"/>
                <a:gd name="connsiteX263" fmla="*/ 51892 w 343053"/>
                <a:gd name="connsiteY263" fmla="*/ 159199 h 454117"/>
                <a:gd name="connsiteX264" fmla="*/ 47666 w 343053"/>
                <a:gd name="connsiteY264" fmla="*/ 156147 h 454117"/>
                <a:gd name="connsiteX265" fmla="*/ 37804 w 343053"/>
                <a:gd name="connsiteY265" fmla="*/ 143702 h 454117"/>
                <a:gd name="connsiteX266" fmla="*/ 37100 w 343053"/>
                <a:gd name="connsiteY266" fmla="*/ 142998 h 454117"/>
                <a:gd name="connsiteX267" fmla="*/ 35926 w 343053"/>
                <a:gd name="connsiteY267" fmla="*/ 142528 h 454117"/>
                <a:gd name="connsiteX268" fmla="*/ 33108 w 343053"/>
                <a:gd name="connsiteY268" fmla="*/ 141824 h 454117"/>
                <a:gd name="connsiteX269" fmla="*/ 31699 w 343053"/>
                <a:gd name="connsiteY269" fmla="*/ 141119 h 454117"/>
                <a:gd name="connsiteX270" fmla="*/ 28412 w 343053"/>
                <a:gd name="connsiteY270" fmla="*/ 136658 h 454117"/>
                <a:gd name="connsiteX271" fmla="*/ 22542 w 343053"/>
                <a:gd name="connsiteY271" fmla="*/ 110829 h 454117"/>
                <a:gd name="connsiteX272" fmla="*/ 22776 w 343053"/>
                <a:gd name="connsiteY272" fmla="*/ 107776 h 454117"/>
                <a:gd name="connsiteX273" fmla="*/ 21837 w 343053"/>
                <a:gd name="connsiteY273" fmla="*/ 106602 h 454117"/>
                <a:gd name="connsiteX274" fmla="*/ 21602 w 343053"/>
                <a:gd name="connsiteY274" fmla="*/ 105194 h 454117"/>
                <a:gd name="connsiteX275" fmla="*/ 22307 w 343053"/>
                <a:gd name="connsiteY275" fmla="*/ 104254 h 454117"/>
                <a:gd name="connsiteX276" fmla="*/ 24185 w 343053"/>
                <a:gd name="connsiteY276" fmla="*/ 102611 h 454117"/>
                <a:gd name="connsiteX277" fmla="*/ 24655 w 343053"/>
                <a:gd name="connsiteY277" fmla="*/ 102141 h 454117"/>
                <a:gd name="connsiteX278" fmla="*/ 25594 w 343053"/>
                <a:gd name="connsiteY278" fmla="*/ 101202 h 454117"/>
                <a:gd name="connsiteX279" fmla="*/ 27472 w 343053"/>
                <a:gd name="connsiteY279" fmla="*/ 99558 h 454117"/>
                <a:gd name="connsiteX280" fmla="*/ 28412 w 343053"/>
                <a:gd name="connsiteY280" fmla="*/ 97680 h 454117"/>
                <a:gd name="connsiteX281" fmla="*/ 31699 w 343053"/>
                <a:gd name="connsiteY281" fmla="*/ 98854 h 454117"/>
                <a:gd name="connsiteX282" fmla="*/ 30760 w 343053"/>
                <a:gd name="connsiteY282" fmla="*/ 98149 h 454117"/>
                <a:gd name="connsiteX283" fmla="*/ 28647 w 343053"/>
                <a:gd name="connsiteY283" fmla="*/ 95097 h 454117"/>
                <a:gd name="connsiteX284" fmla="*/ 27707 w 343053"/>
                <a:gd name="connsiteY284" fmla="*/ 91810 h 454117"/>
                <a:gd name="connsiteX285" fmla="*/ 26768 w 343053"/>
                <a:gd name="connsiteY285" fmla="*/ 85939 h 454117"/>
                <a:gd name="connsiteX286" fmla="*/ 26298 w 343053"/>
                <a:gd name="connsiteY286" fmla="*/ 84296 h 454117"/>
                <a:gd name="connsiteX287" fmla="*/ 26298 w 343053"/>
                <a:gd name="connsiteY287" fmla="*/ 81948 h 454117"/>
                <a:gd name="connsiteX288" fmla="*/ 29351 w 343053"/>
                <a:gd name="connsiteY288" fmla="*/ 74903 h 454117"/>
                <a:gd name="connsiteX289" fmla="*/ 30055 w 343053"/>
                <a:gd name="connsiteY289" fmla="*/ 71381 h 454117"/>
                <a:gd name="connsiteX290" fmla="*/ 27003 w 343053"/>
                <a:gd name="connsiteY290" fmla="*/ 68798 h 454117"/>
                <a:gd name="connsiteX291" fmla="*/ 26768 w 343053"/>
                <a:gd name="connsiteY291" fmla="*/ 61285 h 454117"/>
                <a:gd name="connsiteX292" fmla="*/ 28412 w 343053"/>
                <a:gd name="connsiteY292" fmla="*/ 50484 h 454117"/>
                <a:gd name="connsiteX293" fmla="*/ 27003 w 343053"/>
                <a:gd name="connsiteY293" fmla="*/ 51658 h 454117"/>
                <a:gd name="connsiteX294" fmla="*/ 24890 w 343053"/>
                <a:gd name="connsiteY294" fmla="*/ 53301 h 454117"/>
                <a:gd name="connsiteX295" fmla="*/ 22776 w 343053"/>
                <a:gd name="connsiteY295" fmla="*/ 52597 h 454117"/>
                <a:gd name="connsiteX296" fmla="*/ 19019 w 343053"/>
                <a:gd name="connsiteY296" fmla="*/ 45083 h 454117"/>
                <a:gd name="connsiteX297" fmla="*/ 18550 w 343053"/>
                <a:gd name="connsiteY297" fmla="*/ 42500 h 454117"/>
                <a:gd name="connsiteX298" fmla="*/ 18785 w 343053"/>
                <a:gd name="connsiteY298" fmla="*/ 39917 h 454117"/>
                <a:gd name="connsiteX299" fmla="*/ 19724 w 343053"/>
                <a:gd name="connsiteY299" fmla="*/ 37099 h 454117"/>
                <a:gd name="connsiteX300" fmla="*/ 22307 w 343053"/>
                <a:gd name="connsiteY300" fmla="*/ 34751 h 454117"/>
                <a:gd name="connsiteX301" fmla="*/ 25829 w 343053"/>
                <a:gd name="connsiteY301" fmla="*/ 34986 h 454117"/>
                <a:gd name="connsiteX302" fmla="*/ 28647 w 343053"/>
                <a:gd name="connsiteY302" fmla="*/ 36395 h 454117"/>
                <a:gd name="connsiteX303" fmla="*/ 30760 w 343053"/>
                <a:gd name="connsiteY303" fmla="*/ 38039 h 454117"/>
                <a:gd name="connsiteX304" fmla="*/ 32403 w 343053"/>
                <a:gd name="connsiteY304" fmla="*/ 40387 h 454117"/>
                <a:gd name="connsiteX305" fmla="*/ 34282 w 343053"/>
                <a:gd name="connsiteY305" fmla="*/ 46962 h 454117"/>
                <a:gd name="connsiteX306" fmla="*/ 39917 w 343053"/>
                <a:gd name="connsiteY306" fmla="*/ 54006 h 454117"/>
                <a:gd name="connsiteX307" fmla="*/ 40856 w 343053"/>
                <a:gd name="connsiteY307" fmla="*/ 54475 h 454117"/>
                <a:gd name="connsiteX308" fmla="*/ 49075 w 343053"/>
                <a:gd name="connsiteY308" fmla="*/ 57293 h 454117"/>
                <a:gd name="connsiteX309" fmla="*/ 50249 w 343053"/>
                <a:gd name="connsiteY309" fmla="*/ 58702 h 454117"/>
                <a:gd name="connsiteX310" fmla="*/ 50718 w 343053"/>
                <a:gd name="connsiteY310" fmla="*/ 59641 h 454117"/>
                <a:gd name="connsiteX311" fmla="*/ 51423 w 343053"/>
                <a:gd name="connsiteY311" fmla="*/ 58702 h 454117"/>
                <a:gd name="connsiteX312" fmla="*/ 54945 w 343053"/>
                <a:gd name="connsiteY312" fmla="*/ 50718 h 454117"/>
                <a:gd name="connsiteX313" fmla="*/ 54710 w 343053"/>
                <a:gd name="connsiteY313" fmla="*/ 49075 h 454117"/>
                <a:gd name="connsiteX314" fmla="*/ 52127 w 343053"/>
                <a:gd name="connsiteY314" fmla="*/ 45318 h 454117"/>
                <a:gd name="connsiteX315" fmla="*/ 50249 w 343053"/>
                <a:gd name="connsiteY315" fmla="*/ 39917 h 454117"/>
                <a:gd name="connsiteX316" fmla="*/ 48840 w 343053"/>
                <a:gd name="connsiteY316" fmla="*/ 26064 h 454117"/>
                <a:gd name="connsiteX317" fmla="*/ 49779 w 343053"/>
                <a:gd name="connsiteY317" fmla="*/ 26064 h 454117"/>
                <a:gd name="connsiteX318" fmla="*/ 50953 w 343053"/>
                <a:gd name="connsiteY318" fmla="*/ 26064 h 454117"/>
                <a:gd name="connsiteX319" fmla="*/ 50953 w 343053"/>
                <a:gd name="connsiteY319" fmla="*/ 26298 h 454117"/>
                <a:gd name="connsiteX320" fmla="*/ 58937 w 343053"/>
                <a:gd name="connsiteY320" fmla="*/ 27003 h 454117"/>
                <a:gd name="connsiteX321" fmla="*/ 59171 w 343053"/>
                <a:gd name="connsiteY321" fmla="*/ 29116 h 454117"/>
                <a:gd name="connsiteX322" fmla="*/ 64102 w 343053"/>
                <a:gd name="connsiteY322" fmla="*/ 38273 h 454117"/>
                <a:gd name="connsiteX323" fmla="*/ 67155 w 343053"/>
                <a:gd name="connsiteY323" fmla="*/ 48605 h 454117"/>
                <a:gd name="connsiteX324" fmla="*/ 71381 w 343053"/>
                <a:gd name="connsiteY324" fmla="*/ 54240 h 454117"/>
                <a:gd name="connsiteX325" fmla="*/ 72556 w 343053"/>
                <a:gd name="connsiteY325" fmla="*/ 56589 h 454117"/>
                <a:gd name="connsiteX326" fmla="*/ 76547 w 343053"/>
                <a:gd name="connsiteY326" fmla="*/ 70207 h 454117"/>
                <a:gd name="connsiteX327" fmla="*/ 76078 w 343053"/>
                <a:gd name="connsiteY327" fmla="*/ 78191 h 454117"/>
                <a:gd name="connsiteX328" fmla="*/ 77486 w 343053"/>
                <a:gd name="connsiteY328" fmla="*/ 82887 h 454117"/>
                <a:gd name="connsiteX329" fmla="*/ 80304 w 343053"/>
                <a:gd name="connsiteY329" fmla="*/ 87114 h 454117"/>
                <a:gd name="connsiteX330" fmla="*/ 84061 w 343053"/>
                <a:gd name="connsiteY330" fmla="*/ 90166 h 454117"/>
                <a:gd name="connsiteX331" fmla="*/ 87583 w 343053"/>
                <a:gd name="connsiteY331" fmla="*/ 91105 h 454117"/>
                <a:gd name="connsiteX332" fmla="*/ 89227 w 343053"/>
                <a:gd name="connsiteY332" fmla="*/ 87583 h 454117"/>
                <a:gd name="connsiteX333" fmla="*/ 95801 w 343053"/>
                <a:gd name="connsiteY333" fmla="*/ 88522 h 454117"/>
                <a:gd name="connsiteX334" fmla="*/ 106133 w 343053"/>
                <a:gd name="connsiteY334" fmla="*/ 92749 h 454117"/>
                <a:gd name="connsiteX335" fmla="*/ 108951 w 343053"/>
                <a:gd name="connsiteY335" fmla="*/ 94158 h 454117"/>
                <a:gd name="connsiteX336" fmla="*/ 112238 w 343053"/>
                <a:gd name="connsiteY336" fmla="*/ 98854 h 454117"/>
                <a:gd name="connsiteX337" fmla="*/ 114116 w 343053"/>
                <a:gd name="connsiteY337" fmla="*/ 99793 h 454117"/>
                <a:gd name="connsiteX338" fmla="*/ 116699 w 343053"/>
                <a:gd name="connsiteY338" fmla="*/ 100497 h 454117"/>
                <a:gd name="connsiteX339" fmla="*/ 119047 w 343053"/>
                <a:gd name="connsiteY339" fmla="*/ 101671 h 454117"/>
                <a:gd name="connsiteX340" fmla="*/ 119752 w 343053"/>
                <a:gd name="connsiteY340" fmla="*/ 101906 h 454117"/>
                <a:gd name="connsiteX341" fmla="*/ 117404 w 343053"/>
                <a:gd name="connsiteY341" fmla="*/ 100732 h 454117"/>
                <a:gd name="connsiteX342" fmla="*/ 113882 w 343053"/>
                <a:gd name="connsiteY342" fmla="*/ 98384 h 454117"/>
                <a:gd name="connsiteX343" fmla="*/ 112942 w 343053"/>
                <a:gd name="connsiteY343" fmla="*/ 95567 h 454117"/>
                <a:gd name="connsiteX344" fmla="*/ 97210 w 343053"/>
                <a:gd name="connsiteY344" fmla="*/ 85705 h 454117"/>
                <a:gd name="connsiteX345" fmla="*/ 91575 w 343053"/>
                <a:gd name="connsiteY345" fmla="*/ 77956 h 454117"/>
                <a:gd name="connsiteX346" fmla="*/ 91575 w 343053"/>
                <a:gd name="connsiteY346" fmla="*/ 67859 h 454117"/>
                <a:gd name="connsiteX347" fmla="*/ 93219 w 343053"/>
                <a:gd name="connsiteY347" fmla="*/ 64807 h 454117"/>
                <a:gd name="connsiteX348" fmla="*/ 92749 w 343053"/>
                <a:gd name="connsiteY348" fmla="*/ 64337 h 454117"/>
                <a:gd name="connsiteX349" fmla="*/ 89696 w 343053"/>
                <a:gd name="connsiteY349" fmla="*/ 63633 h 454117"/>
                <a:gd name="connsiteX350" fmla="*/ 88288 w 343053"/>
                <a:gd name="connsiteY350" fmla="*/ 62693 h 454117"/>
                <a:gd name="connsiteX351" fmla="*/ 87348 w 343053"/>
                <a:gd name="connsiteY351" fmla="*/ 61519 h 454117"/>
                <a:gd name="connsiteX352" fmla="*/ 85705 w 343053"/>
                <a:gd name="connsiteY352" fmla="*/ 59876 h 454117"/>
                <a:gd name="connsiteX353" fmla="*/ 85000 w 343053"/>
                <a:gd name="connsiteY353" fmla="*/ 59171 h 454117"/>
                <a:gd name="connsiteX354" fmla="*/ 79600 w 343053"/>
                <a:gd name="connsiteY354" fmla="*/ 58232 h 454117"/>
                <a:gd name="connsiteX355" fmla="*/ 80774 w 343053"/>
                <a:gd name="connsiteY355" fmla="*/ 54240 h 454117"/>
                <a:gd name="connsiteX356" fmla="*/ 85470 w 343053"/>
                <a:gd name="connsiteY356" fmla="*/ 49779 h 454117"/>
                <a:gd name="connsiteX357" fmla="*/ 85705 w 343053"/>
                <a:gd name="connsiteY357" fmla="*/ 47901 h 454117"/>
                <a:gd name="connsiteX358" fmla="*/ 83357 w 343053"/>
                <a:gd name="connsiteY358" fmla="*/ 40622 h 454117"/>
                <a:gd name="connsiteX359" fmla="*/ 83122 w 343053"/>
                <a:gd name="connsiteY359" fmla="*/ 38039 h 454117"/>
                <a:gd name="connsiteX360" fmla="*/ 84061 w 343053"/>
                <a:gd name="connsiteY360" fmla="*/ 35456 h 454117"/>
                <a:gd name="connsiteX361" fmla="*/ 85940 w 343053"/>
                <a:gd name="connsiteY361" fmla="*/ 32169 h 454117"/>
                <a:gd name="connsiteX362" fmla="*/ 88288 w 343053"/>
                <a:gd name="connsiteY362" fmla="*/ 28881 h 454117"/>
                <a:gd name="connsiteX363" fmla="*/ 90636 w 343053"/>
                <a:gd name="connsiteY363" fmla="*/ 26768 h 454117"/>
                <a:gd name="connsiteX364" fmla="*/ 93219 w 343053"/>
                <a:gd name="connsiteY364" fmla="*/ 24890 h 454117"/>
                <a:gd name="connsiteX365" fmla="*/ 94393 w 343053"/>
                <a:gd name="connsiteY365" fmla="*/ 23246 h 454117"/>
                <a:gd name="connsiteX366" fmla="*/ 96506 w 343053"/>
                <a:gd name="connsiteY366" fmla="*/ 22541 h 454117"/>
                <a:gd name="connsiteX367" fmla="*/ 99558 w 343053"/>
                <a:gd name="connsiteY367" fmla="*/ 28646 h 454117"/>
                <a:gd name="connsiteX368" fmla="*/ 100498 w 343053"/>
                <a:gd name="connsiteY368" fmla="*/ 29586 h 454117"/>
                <a:gd name="connsiteX369" fmla="*/ 101672 w 343053"/>
                <a:gd name="connsiteY369" fmla="*/ 29820 h 454117"/>
                <a:gd name="connsiteX370" fmla="*/ 104255 w 343053"/>
                <a:gd name="connsiteY370" fmla="*/ 31229 h 454117"/>
                <a:gd name="connsiteX371" fmla="*/ 105194 w 343053"/>
                <a:gd name="connsiteY371" fmla="*/ 31934 h 454117"/>
                <a:gd name="connsiteX372" fmla="*/ 105898 w 343053"/>
                <a:gd name="connsiteY372" fmla="*/ 32873 h 454117"/>
                <a:gd name="connsiteX373" fmla="*/ 106133 w 343053"/>
                <a:gd name="connsiteY373" fmla="*/ 33577 h 454117"/>
                <a:gd name="connsiteX374" fmla="*/ 106368 w 343053"/>
                <a:gd name="connsiteY374" fmla="*/ 34517 h 454117"/>
                <a:gd name="connsiteX375" fmla="*/ 106368 w 343053"/>
                <a:gd name="connsiteY375" fmla="*/ 36865 h 454117"/>
                <a:gd name="connsiteX376" fmla="*/ 106603 w 343053"/>
                <a:gd name="connsiteY376" fmla="*/ 38273 h 454117"/>
                <a:gd name="connsiteX377" fmla="*/ 107072 w 343053"/>
                <a:gd name="connsiteY377" fmla="*/ 39213 h 454117"/>
                <a:gd name="connsiteX378" fmla="*/ 109655 w 343053"/>
                <a:gd name="connsiteY378" fmla="*/ 42030 h 454117"/>
                <a:gd name="connsiteX379" fmla="*/ 111064 w 343053"/>
                <a:gd name="connsiteY379" fmla="*/ 43204 h 454117"/>
                <a:gd name="connsiteX380" fmla="*/ 112003 w 343053"/>
                <a:gd name="connsiteY380" fmla="*/ 43439 h 454117"/>
                <a:gd name="connsiteX381" fmla="*/ 112942 w 343053"/>
                <a:gd name="connsiteY381" fmla="*/ 43674 h 454117"/>
                <a:gd name="connsiteX382" fmla="*/ 113412 w 343053"/>
                <a:gd name="connsiteY382" fmla="*/ 43674 h 454117"/>
                <a:gd name="connsiteX383" fmla="*/ 115760 w 343053"/>
                <a:gd name="connsiteY383" fmla="*/ 43674 h 454117"/>
                <a:gd name="connsiteX384" fmla="*/ 119047 w 343053"/>
                <a:gd name="connsiteY384" fmla="*/ 43204 h 454117"/>
                <a:gd name="connsiteX385" fmla="*/ 119987 w 343053"/>
                <a:gd name="connsiteY385" fmla="*/ 43204 h 454117"/>
                <a:gd name="connsiteX386" fmla="*/ 121161 w 343053"/>
                <a:gd name="connsiteY386" fmla="*/ 43204 h 454117"/>
                <a:gd name="connsiteX387" fmla="*/ 122804 w 343053"/>
                <a:gd name="connsiteY387" fmla="*/ 43674 h 454117"/>
                <a:gd name="connsiteX388" fmla="*/ 123744 w 343053"/>
                <a:gd name="connsiteY388" fmla="*/ 44144 h 454117"/>
                <a:gd name="connsiteX389" fmla="*/ 124683 w 343053"/>
                <a:gd name="connsiteY389" fmla="*/ 44848 h 454117"/>
                <a:gd name="connsiteX390" fmla="*/ 125857 w 343053"/>
                <a:gd name="connsiteY390" fmla="*/ 46257 h 454117"/>
                <a:gd name="connsiteX391" fmla="*/ 126561 w 343053"/>
                <a:gd name="connsiteY391" fmla="*/ 47666 h 454117"/>
                <a:gd name="connsiteX392" fmla="*/ 127735 w 343053"/>
                <a:gd name="connsiteY392" fmla="*/ 55180 h 454117"/>
                <a:gd name="connsiteX393" fmla="*/ 128909 w 343053"/>
                <a:gd name="connsiteY393" fmla="*/ 57763 h 454117"/>
                <a:gd name="connsiteX394" fmla="*/ 129379 w 343053"/>
                <a:gd name="connsiteY394" fmla="*/ 58232 h 454117"/>
                <a:gd name="connsiteX395" fmla="*/ 129614 w 343053"/>
                <a:gd name="connsiteY395" fmla="*/ 58232 h 454117"/>
                <a:gd name="connsiteX396" fmla="*/ 129849 w 343053"/>
                <a:gd name="connsiteY396" fmla="*/ 58232 h 454117"/>
                <a:gd name="connsiteX397" fmla="*/ 134075 w 343053"/>
                <a:gd name="connsiteY397" fmla="*/ 57528 h 454117"/>
                <a:gd name="connsiteX398" fmla="*/ 135484 w 343053"/>
                <a:gd name="connsiteY398" fmla="*/ 57528 h 454117"/>
                <a:gd name="connsiteX399" fmla="*/ 137128 w 343053"/>
                <a:gd name="connsiteY399" fmla="*/ 57997 h 454117"/>
                <a:gd name="connsiteX400" fmla="*/ 138302 w 343053"/>
                <a:gd name="connsiteY400" fmla="*/ 58702 h 454117"/>
                <a:gd name="connsiteX401" fmla="*/ 141354 w 343053"/>
                <a:gd name="connsiteY401" fmla="*/ 61989 h 454117"/>
                <a:gd name="connsiteX402" fmla="*/ 142998 w 343053"/>
                <a:gd name="connsiteY402" fmla="*/ 64572 h 454117"/>
                <a:gd name="connsiteX403" fmla="*/ 143233 w 343053"/>
                <a:gd name="connsiteY403" fmla="*/ 65511 h 454117"/>
                <a:gd name="connsiteX404" fmla="*/ 143233 w 343053"/>
                <a:gd name="connsiteY404" fmla="*/ 66450 h 454117"/>
                <a:gd name="connsiteX405" fmla="*/ 142998 w 343053"/>
                <a:gd name="connsiteY405" fmla="*/ 67390 h 454117"/>
                <a:gd name="connsiteX406" fmla="*/ 142293 w 343053"/>
                <a:gd name="connsiteY406" fmla="*/ 68564 h 454117"/>
                <a:gd name="connsiteX407" fmla="*/ 142059 w 343053"/>
                <a:gd name="connsiteY407" fmla="*/ 68798 h 454117"/>
                <a:gd name="connsiteX408" fmla="*/ 142059 w 343053"/>
                <a:gd name="connsiteY408" fmla="*/ 69033 h 454117"/>
                <a:gd name="connsiteX409" fmla="*/ 142293 w 343053"/>
                <a:gd name="connsiteY409" fmla="*/ 69972 h 454117"/>
                <a:gd name="connsiteX410" fmla="*/ 144641 w 343053"/>
                <a:gd name="connsiteY410" fmla="*/ 73495 h 454117"/>
                <a:gd name="connsiteX411" fmla="*/ 145111 w 343053"/>
                <a:gd name="connsiteY411" fmla="*/ 73964 h 454117"/>
                <a:gd name="connsiteX412" fmla="*/ 145581 w 343053"/>
                <a:gd name="connsiteY412" fmla="*/ 74199 h 454117"/>
                <a:gd name="connsiteX413" fmla="*/ 145815 w 343053"/>
                <a:gd name="connsiteY413" fmla="*/ 74199 h 454117"/>
                <a:gd name="connsiteX414" fmla="*/ 146050 w 343053"/>
                <a:gd name="connsiteY414" fmla="*/ 74199 h 454117"/>
                <a:gd name="connsiteX415" fmla="*/ 146520 w 343053"/>
                <a:gd name="connsiteY415" fmla="*/ 74199 h 454117"/>
                <a:gd name="connsiteX416" fmla="*/ 146989 w 343053"/>
                <a:gd name="connsiteY416" fmla="*/ 73964 h 454117"/>
                <a:gd name="connsiteX417" fmla="*/ 147694 w 343053"/>
                <a:gd name="connsiteY417" fmla="*/ 73729 h 454117"/>
                <a:gd name="connsiteX418" fmla="*/ 150042 w 343053"/>
                <a:gd name="connsiteY418" fmla="*/ 72321 h 454117"/>
                <a:gd name="connsiteX419" fmla="*/ 151451 w 343053"/>
                <a:gd name="connsiteY419" fmla="*/ 71851 h 454117"/>
                <a:gd name="connsiteX420" fmla="*/ 152625 w 343053"/>
                <a:gd name="connsiteY420" fmla="*/ 72555 h 454117"/>
                <a:gd name="connsiteX421" fmla="*/ 153095 w 343053"/>
                <a:gd name="connsiteY421" fmla="*/ 73495 h 454117"/>
                <a:gd name="connsiteX422" fmla="*/ 153095 w 343053"/>
                <a:gd name="connsiteY422" fmla="*/ 74669 h 454117"/>
                <a:gd name="connsiteX423" fmla="*/ 152860 w 343053"/>
                <a:gd name="connsiteY423" fmla="*/ 75373 h 454117"/>
                <a:gd name="connsiteX424" fmla="*/ 152860 w 343053"/>
                <a:gd name="connsiteY424" fmla="*/ 75608 h 454117"/>
                <a:gd name="connsiteX425" fmla="*/ 152860 w 343053"/>
                <a:gd name="connsiteY425" fmla="*/ 75843 h 454117"/>
                <a:gd name="connsiteX426" fmla="*/ 153329 w 343053"/>
                <a:gd name="connsiteY426" fmla="*/ 77017 h 454117"/>
                <a:gd name="connsiteX427" fmla="*/ 153095 w 343053"/>
                <a:gd name="connsiteY427" fmla="*/ 77721 h 454117"/>
                <a:gd name="connsiteX428" fmla="*/ 153095 w 343053"/>
                <a:gd name="connsiteY428" fmla="*/ 78425 h 454117"/>
                <a:gd name="connsiteX429" fmla="*/ 153329 w 343053"/>
                <a:gd name="connsiteY429" fmla="*/ 79365 h 454117"/>
                <a:gd name="connsiteX430" fmla="*/ 155677 w 343053"/>
                <a:gd name="connsiteY430" fmla="*/ 83357 h 454117"/>
                <a:gd name="connsiteX431" fmla="*/ 156147 w 343053"/>
                <a:gd name="connsiteY431" fmla="*/ 84765 h 454117"/>
                <a:gd name="connsiteX432" fmla="*/ 155912 w 343053"/>
                <a:gd name="connsiteY432" fmla="*/ 85705 h 454117"/>
                <a:gd name="connsiteX433" fmla="*/ 155912 w 343053"/>
                <a:gd name="connsiteY433" fmla="*/ 85939 h 454117"/>
                <a:gd name="connsiteX434" fmla="*/ 155912 w 343053"/>
                <a:gd name="connsiteY434" fmla="*/ 86409 h 454117"/>
                <a:gd name="connsiteX435" fmla="*/ 156382 w 343053"/>
                <a:gd name="connsiteY435" fmla="*/ 89227 h 454117"/>
                <a:gd name="connsiteX436" fmla="*/ 156382 w 343053"/>
                <a:gd name="connsiteY436" fmla="*/ 89931 h 454117"/>
                <a:gd name="connsiteX437" fmla="*/ 156147 w 343053"/>
                <a:gd name="connsiteY437" fmla="*/ 90636 h 454117"/>
                <a:gd name="connsiteX438" fmla="*/ 155912 w 343053"/>
                <a:gd name="connsiteY438" fmla="*/ 91340 h 454117"/>
                <a:gd name="connsiteX439" fmla="*/ 154973 w 343053"/>
                <a:gd name="connsiteY439" fmla="*/ 92984 h 454117"/>
                <a:gd name="connsiteX440" fmla="*/ 154738 w 343053"/>
                <a:gd name="connsiteY440" fmla="*/ 93453 h 454117"/>
                <a:gd name="connsiteX441" fmla="*/ 154503 w 343053"/>
                <a:gd name="connsiteY441" fmla="*/ 93923 h 454117"/>
                <a:gd name="connsiteX442" fmla="*/ 154503 w 343053"/>
                <a:gd name="connsiteY442" fmla="*/ 94393 h 454117"/>
                <a:gd name="connsiteX443" fmla="*/ 154503 w 343053"/>
                <a:gd name="connsiteY443" fmla="*/ 94393 h 454117"/>
                <a:gd name="connsiteX444" fmla="*/ 154503 w 343053"/>
                <a:gd name="connsiteY444" fmla="*/ 94627 h 454117"/>
                <a:gd name="connsiteX445" fmla="*/ 154973 w 343053"/>
                <a:gd name="connsiteY445" fmla="*/ 95801 h 454117"/>
                <a:gd name="connsiteX446" fmla="*/ 158730 w 343053"/>
                <a:gd name="connsiteY446" fmla="*/ 100967 h 454117"/>
                <a:gd name="connsiteX447" fmla="*/ 161548 w 343053"/>
                <a:gd name="connsiteY447" fmla="*/ 106368 h 454117"/>
                <a:gd name="connsiteX448" fmla="*/ 161782 w 343053"/>
                <a:gd name="connsiteY448" fmla="*/ 106602 h 454117"/>
                <a:gd name="connsiteX449" fmla="*/ 162017 w 343053"/>
                <a:gd name="connsiteY449" fmla="*/ 106837 h 454117"/>
                <a:gd name="connsiteX450" fmla="*/ 162722 w 343053"/>
                <a:gd name="connsiteY450" fmla="*/ 107072 h 454117"/>
                <a:gd name="connsiteX451" fmla="*/ 170235 w 343053"/>
                <a:gd name="connsiteY451" fmla="*/ 113882 h 454117"/>
                <a:gd name="connsiteX452" fmla="*/ 170705 w 343053"/>
                <a:gd name="connsiteY452" fmla="*/ 114116 h 454117"/>
                <a:gd name="connsiteX453" fmla="*/ 170705 w 343053"/>
                <a:gd name="connsiteY453" fmla="*/ 112708 h 454117"/>
                <a:gd name="connsiteX454" fmla="*/ 170705 w 343053"/>
                <a:gd name="connsiteY454" fmla="*/ 112238 h 454117"/>
                <a:gd name="connsiteX455" fmla="*/ 167183 w 343053"/>
                <a:gd name="connsiteY455" fmla="*/ 107072 h 454117"/>
                <a:gd name="connsiteX456" fmla="*/ 166009 w 343053"/>
                <a:gd name="connsiteY456" fmla="*/ 104254 h 454117"/>
                <a:gd name="connsiteX457" fmla="*/ 165774 w 343053"/>
                <a:gd name="connsiteY457" fmla="*/ 103080 h 454117"/>
                <a:gd name="connsiteX458" fmla="*/ 165774 w 343053"/>
                <a:gd name="connsiteY458" fmla="*/ 102376 h 454117"/>
                <a:gd name="connsiteX459" fmla="*/ 165774 w 343053"/>
                <a:gd name="connsiteY459" fmla="*/ 101671 h 454117"/>
                <a:gd name="connsiteX460" fmla="*/ 166009 w 343053"/>
                <a:gd name="connsiteY460" fmla="*/ 100732 h 454117"/>
                <a:gd name="connsiteX461" fmla="*/ 166713 w 343053"/>
                <a:gd name="connsiteY461" fmla="*/ 100028 h 454117"/>
                <a:gd name="connsiteX462" fmla="*/ 167653 w 343053"/>
                <a:gd name="connsiteY462" fmla="*/ 99558 h 454117"/>
                <a:gd name="connsiteX463" fmla="*/ 169296 w 343053"/>
                <a:gd name="connsiteY463" fmla="*/ 99793 h 454117"/>
                <a:gd name="connsiteX464" fmla="*/ 170235 w 343053"/>
                <a:gd name="connsiteY464" fmla="*/ 100263 h 454117"/>
                <a:gd name="connsiteX465" fmla="*/ 177749 w 343053"/>
                <a:gd name="connsiteY465" fmla="*/ 109890 h 454117"/>
                <a:gd name="connsiteX466" fmla="*/ 178454 w 343053"/>
                <a:gd name="connsiteY466" fmla="*/ 110360 h 454117"/>
                <a:gd name="connsiteX467" fmla="*/ 182211 w 343053"/>
                <a:gd name="connsiteY467" fmla="*/ 111299 h 454117"/>
                <a:gd name="connsiteX468" fmla="*/ 184089 w 343053"/>
                <a:gd name="connsiteY468" fmla="*/ 112473 h 454117"/>
                <a:gd name="connsiteX469" fmla="*/ 187846 w 343053"/>
                <a:gd name="connsiteY469" fmla="*/ 116230 h 454117"/>
                <a:gd name="connsiteX470" fmla="*/ 188550 w 343053"/>
                <a:gd name="connsiteY470" fmla="*/ 116699 h 454117"/>
                <a:gd name="connsiteX471" fmla="*/ 188550 w 343053"/>
                <a:gd name="connsiteY471" fmla="*/ 116699 h 454117"/>
                <a:gd name="connsiteX472" fmla="*/ 188550 w 343053"/>
                <a:gd name="connsiteY472" fmla="*/ 116464 h 454117"/>
                <a:gd name="connsiteX473" fmla="*/ 188550 w 343053"/>
                <a:gd name="connsiteY473" fmla="*/ 116230 h 454117"/>
                <a:gd name="connsiteX474" fmla="*/ 188550 w 343053"/>
                <a:gd name="connsiteY474" fmla="*/ 115995 h 454117"/>
                <a:gd name="connsiteX475" fmla="*/ 188550 w 343053"/>
                <a:gd name="connsiteY475" fmla="*/ 115760 h 454117"/>
                <a:gd name="connsiteX476" fmla="*/ 186437 w 343053"/>
                <a:gd name="connsiteY476" fmla="*/ 112003 h 454117"/>
                <a:gd name="connsiteX477" fmla="*/ 186202 w 343053"/>
                <a:gd name="connsiteY477" fmla="*/ 111064 h 454117"/>
                <a:gd name="connsiteX478" fmla="*/ 186202 w 343053"/>
                <a:gd name="connsiteY478" fmla="*/ 110124 h 454117"/>
                <a:gd name="connsiteX479" fmla="*/ 186437 w 343053"/>
                <a:gd name="connsiteY479" fmla="*/ 109420 h 454117"/>
                <a:gd name="connsiteX480" fmla="*/ 186907 w 343053"/>
                <a:gd name="connsiteY480" fmla="*/ 108716 h 454117"/>
                <a:gd name="connsiteX481" fmla="*/ 187376 w 343053"/>
                <a:gd name="connsiteY481" fmla="*/ 108246 h 454117"/>
                <a:gd name="connsiteX482" fmla="*/ 188550 w 343053"/>
                <a:gd name="connsiteY482" fmla="*/ 107307 h 454117"/>
                <a:gd name="connsiteX483" fmla="*/ 190429 w 343053"/>
                <a:gd name="connsiteY483" fmla="*/ 106133 h 454117"/>
                <a:gd name="connsiteX484" fmla="*/ 191603 w 343053"/>
                <a:gd name="connsiteY484" fmla="*/ 105898 h 454117"/>
                <a:gd name="connsiteX485" fmla="*/ 193012 w 343053"/>
                <a:gd name="connsiteY485" fmla="*/ 105898 h 454117"/>
                <a:gd name="connsiteX486" fmla="*/ 194890 w 343053"/>
                <a:gd name="connsiteY486" fmla="*/ 106602 h 454117"/>
                <a:gd name="connsiteX487" fmla="*/ 195829 w 343053"/>
                <a:gd name="connsiteY487" fmla="*/ 107307 h 454117"/>
                <a:gd name="connsiteX488" fmla="*/ 196534 w 343053"/>
                <a:gd name="connsiteY488" fmla="*/ 108011 h 454117"/>
                <a:gd name="connsiteX489" fmla="*/ 196534 w 343053"/>
                <a:gd name="connsiteY489" fmla="*/ 108716 h 454117"/>
                <a:gd name="connsiteX490" fmla="*/ 196534 w 343053"/>
                <a:gd name="connsiteY490" fmla="*/ 108950 h 454117"/>
                <a:gd name="connsiteX491" fmla="*/ 196299 w 343053"/>
                <a:gd name="connsiteY491" fmla="*/ 109655 h 454117"/>
                <a:gd name="connsiteX492" fmla="*/ 195829 w 343053"/>
                <a:gd name="connsiteY492" fmla="*/ 110829 h 454117"/>
                <a:gd name="connsiteX493" fmla="*/ 195360 w 343053"/>
                <a:gd name="connsiteY493" fmla="*/ 111768 h 454117"/>
                <a:gd name="connsiteX494" fmla="*/ 195125 w 343053"/>
                <a:gd name="connsiteY494" fmla="*/ 112708 h 454117"/>
                <a:gd name="connsiteX495" fmla="*/ 195125 w 343053"/>
                <a:gd name="connsiteY495" fmla="*/ 114586 h 454117"/>
                <a:gd name="connsiteX496" fmla="*/ 195360 w 343053"/>
                <a:gd name="connsiteY496" fmla="*/ 114586 h 454117"/>
                <a:gd name="connsiteX497" fmla="*/ 195829 w 343053"/>
                <a:gd name="connsiteY497" fmla="*/ 114586 h 454117"/>
                <a:gd name="connsiteX498" fmla="*/ 196534 w 343053"/>
                <a:gd name="connsiteY498" fmla="*/ 114586 h 454117"/>
                <a:gd name="connsiteX499" fmla="*/ 199821 w 343053"/>
                <a:gd name="connsiteY499" fmla="*/ 115290 h 454117"/>
                <a:gd name="connsiteX500" fmla="*/ 201465 w 343053"/>
                <a:gd name="connsiteY500" fmla="*/ 115525 h 454117"/>
                <a:gd name="connsiteX501" fmla="*/ 201934 w 343053"/>
                <a:gd name="connsiteY501" fmla="*/ 115525 h 454117"/>
                <a:gd name="connsiteX502" fmla="*/ 202169 w 343053"/>
                <a:gd name="connsiteY502" fmla="*/ 115525 h 454117"/>
                <a:gd name="connsiteX503" fmla="*/ 202169 w 343053"/>
                <a:gd name="connsiteY503" fmla="*/ 115525 h 454117"/>
                <a:gd name="connsiteX504" fmla="*/ 202169 w 343053"/>
                <a:gd name="connsiteY504" fmla="*/ 115525 h 454117"/>
                <a:gd name="connsiteX505" fmla="*/ 203813 w 343053"/>
                <a:gd name="connsiteY505" fmla="*/ 108481 h 454117"/>
                <a:gd name="connsiteX506" fmla="*/ 204048 w 343053"/>
                <a:gd name="connsiteY506" fmla="*/ 100497 h 454117"/>
                <a:gd name="connsiteX507" fmla="*/ 204048 w 343053"/>
                <a:gd name="connsiteY507" fmla="*/ 100263 h 454117"/>
                <a:gd name="connsiteX508" fmla="*/ 203813 w 343053"/>
                <a:gd name="connsiteY508" fmla="*/ 99793 h 454117"/>
                <a:gd name="connsiteX509" fmla="*/ 202639 w 343053"/>
                <a:gd name="connsiteY509" fmla="*/ 98384 h 454117"/>
                <a:gd name="connsiteX510" fmla="*/ 202169 w 343053"/>
                <a:gd name="connsiteY510" fmla="*/ 97445 h 454117"/>
                <a:gd name="connsiteX511" fmla="*/ 202404 w 343053"/>
                <a:gd name="connsiteY511" fmla="*/ 96271 h 454117"/>
                <a:gd name="connsiteX512" fmla="*/ 202874 w 343053"/>
                <a:gd name="connsiteY512" fmla="*/ 95332 h 454117"/>
                <a:gd name="connsiteX513" fmla="*/ 204283 w 343053"/>
                <a:gd name="connsiteY513" fmla="*/ 94393 h 454117"/>
                <a:gd name="connsiteX514" fmla="*/ 204752 w 343053"/>
                <a:gd name="connsiteY514" fmla="*/ 93923 h 454117"/>
                <a:gd name="connsiteX515" fmla="*/ 204987 w 343053"/>
                <a:gd name="connsiteY515" fmla="*/ 93688 h 454117"/>
                <a:gd name="connsiteX516" fmla="*/ 205691 w 343053"/>
                <a:gd name="connsiteY516" fmla="*/ 93218 h 454117"/>
                <a:gd name="connsiteX517" fmla="*/ 206396 w 343053"/>
                <a:gd name="connsiteY517" fmla="*/ 92749 h 454117"/>
                <a:gd name="connsiteX518" fmla="*/ 207100 w 343053"/>
                <a:gd name="connsiteY518" fmla="*/ 92514 h 454117"/>
                <a:gd name="connsiteX519" fmla="*/ 208039 w 343053"/>
                <a:gd name="connsiteY519" fmla="*/ 92514 h 454117"/>
                <a:gd name="connsiteX520" fmla="*/ 211562 w 343053"/>
                <a:gd name="connsiteY520" fmla="*/ 92984 h 454117"/>
                <a:gd name="connsiteX521" fmla="*/ 218606 w 343053"/>
                <a:gd name="connsiteY521" fmla="*/ 92514 h 454117"/>
                <a:gd name="connsiteX522" fmla="*/ 221658 w 343053"/>
                <a:gd name="connsiteY522" fmla="*/ 92044 h 454117"/>
                <a:gd name="connsiteX523" fmla="*/ 223537 w 343053"/>
                <a:gd name="connsiteY523" fmla="*/ 92044 h 454117"/>
                <a:gd name="connsiteX524" fmla="*/ 224711 w 343053"/>
                <a:gd name="connsiteY524" fmla="*/ 92984 h 454117"/>
                <a:gd name="connsiteX525" fmla="*/ 224946 w 343053"/>
                <a:gd name="connsiteY525" fmla="*/ 94158 h 454117"/>
                <a:gd name="connsiteX526" fmla="*/ 224241 w 343053"/>
                <a:gd name="connsiteY526" fmla="*/ 96036 h 454117"/>
                <a:gd name="connsiteX527" fmla="*/ 225415 w 343053"/>
                <a:gd name="connsiteY527" fmla="*/ 98149 h 454117"/>
                <a:gd name="connsiteX528" fmla="*/ 226354 w 343053"/>
                <a:gd name="connsiteY528" fmla="*/ 99323 h 454117"/>
                <a:gd name="connsiteX529" fmla="*/ 227059 w 343053"/>
                <a:gd name="connsiteY529" fmla="*/ 99793 h 454117"/>
                <a:gd name="connsiteX530" fmla="*/ 227294 w 343053"/>
                <a:gd name="connsiteY530" fmla="*/ 100028 h 454117"/>
                <a:gd name="connsiteX531" fmla="*/ 232694 w 343053"/>
                <a:gd name="connsiteY531" fmla="*/ 101202 h 454117"/>
                <a:gd name="connsiteX532" fmla="*/ 233868 w 343053"/>
                <a:gd name="connsiteY532" fmla="*/ 101671 h 454117"/>
                <a:gd name="connsiteX533" fmla="*/ 234808 w 343053"/>
                <a:gd name="connsiteY533" fmla="*/ 102611 h 454117"/>
                <a:gd name="connsiteX534" fmla="*/ 235042 w 343053"/>
                <a:gd name="connsiteY534" fmla="*/ 103550 h 454117"/>
                <a:gd name="connsiteX535" fmla="*/ 235042 w 343053"/>
                <a:gd name="connsiteY535" fmla="*/ 105428 h 454117"/>
                <a:gd name="connsiteX536" fmla="*/ 235042 w 343053"/>
                <a:gd name="connsiteY536" fmla="*/ 105898 h 454117"/>
                <a:gd name="connsiteX537" fmla="*/ 235277 w 343053"/>
                <a:gd name="connsiteY537" fmla="*/ 106133 h 454117"/>
                <a:gd name="connsiteX538" fmla="*/ 235512 w 343053"/>
                <a:gd name="connsiteY538" fmla="*/ 106133 h 454117"/>
                <a:gd name="connsiteX539" fmla="*/ 235982 w 343053"/>
                <a:gd name="connsiteY539" fmla="*/ 105898 h 454117"/>
                <a:gd name="connsiteX540" fmla="*/ 236921 w 343053"/>
                <a:gd name="connsiteY540" fmla="*/ 105663 h 454117"/>
                <a:gd name="connsiteX541" fmla="*/ 238330 w 343053"/>
                <a:gd name="connsiteY541" fmla="*/ 105663 h 454117"/>
                <a:gd name="connsiteX542" fmla="*/ 238564 w 343053"/>
                <a:gd name="connsiteY542" fmla="*/ 105428 h 454117"/>
                <a:gd name="connsiteX543" fmla="*/ 241147 w 343053"/>
                <a:gd name="connsiteY543" fmla="*/ 100967 h 454117"/>
                <a:gd name="connsiteX544" fmla="*/ 242321 w 343053"/>
                <a:gd name="connsiteY544" fmla="*/ 99558 h 454117"/>
                <a:gd name="connsiteX545" fmla="*/ 242791 w 343053"/>
                <a:gd name="connsiteY545" fmla="*/ 99089 h 454117"/>
                <a:gd name="connsiteX546" fmla="*/ 243261 w 343053"/>
                <a:gd name="connsiteY546" fmla="*/ 98619 h 454117"/>
                <a:gd name="connsiteX547" fmla="*/ 243965 w 343053"/>
                <a:gd name="connsiteY547" fmla="*/ 98149 h 454117"/>
                <a:gd name="connsiteX548" fmla="*/ 244669 w 343053"/>
                <a:gd name="connsiteY548" fmla="*/ 97680 h 454117"/>
                <a:gd name="connsiteX549" fmla="*/ 246078 w 343053"/>
                <a:gd name="connsiteY549" fmla="*/ 96975 h 454117"/>
                <a:gd name="connsiteX550" fmla="*/ 248426 w 343053"/>
                <a:gd name="connsiteY550" fmla="*/ 96506 h 454117"/>
                <a:gd name="connsiteX551" fmla="*/ 251948 w 343053"/>
                <a:gd name="connsiteY551" fmla="*/ 95801 h 454117"/>
                <a:gd name="connsiteX552" fmla="*/ 253123 w 343053"/>
                <a:gd name="connsiteY552" fmla="*/ 95332 h 454117"/>
                <a:gd name="connsiteX553" fmla="*/ 253592 w 343053"/>
                <a:gd name="connsiteY553" fmla="*/ 95097 h 454117"/>
                <a:gd name="connsiteX554" fmla="*/ 253827 w 343053"/>
                <a:gd name="connsiteY554" fmla="*/ 94862 h 454117"/>
                <a:gd name="connsiteX555" fmla="*/ 254531 w 343053"/>
                <a:gd name="connsiteY555" fmla="*/ 94393 h 454117"/>
                <a:gd name="connsiteX556" fmla="*/ 255236 w 343053"/>
                <a:gd name="connsiteY556" fmla="*/ 93688 h 454117"/>
                <a:gd name="connsiteX557" fmla="*/ 255471 w 343053"/>
                <a:gd name="connsiteY557" fmla="*/ 93218 h 454117"/>
                <a:gd name="connsiteX558" fmla="*/ 258993 w 343053"/>
                <a:gd name="connsiteY558" fmla="*/ 88288 h 454117"/>
                <a:gd name="connsiteX559" fmla="*/ 258993 w 343053"/>
                <a:gd name="connsiteY559" fmla="*/ 88053 h 454117"/>
                <a:gd name="connsiteX560" fmla="*/ 258993 w 343053"/>
                <a:gd name="connsiteY560" fmla="*/ 87818 h 454117"/>
                <a:gd name="connsiteX561" fmla="*/ 258993 w 343053"/>
                <a:gd name="connsiteY561" fmla="*/ 87583 h 454117"/>
                <a:gd name="connsiteX562" fmla="*/ 257114 w 343053"/>
                <a:gd name="connsiteY562" fmla="*/ 84061 h 454117"/>
                <a:gd name="connsiteX563" fmla="*/ 256879 w 343053"/>
                <a:gd name="connsiteY563" fmla="*/ 83122 h 454117"/>
                <a:gd name="connsiteX564" fmla="*/ 256879 w 343053"/>
                <a:gd name="connsiteY564" fmla="*/ 82183 h 454117"/>
                <a:gd name="connsiteX565" fmla="*/ 256879 w 343053"/>
                <a:gd name="connsiteY565" fmla="*/ 81478 h 454117"/>
                <a:gd name="connsiteX566" fmla="*/ 257114 w 343053"/>
                <a:gd name="connsiteY566" fmla="*/ 80539 h 454117"/>
                <a:gd name="connsiteX567" fmla="*/ 257349 w 343053"/>
                <a:gd name="connsiteY567" fmla="*/ 79835 h 454117"/>
                <a:gd name="connsiteX568" fmla="*/ 257819 w 343053"/>
                <a:gd name="connsiteY568" fmla="*/ 79130 h 454117"/>
                <a:gd name="connsiteX569" fmla="*/ 258288 w 343053"/>
                <a:gd name="connsiteY569" fmla="*/ 78661 h 454117"/>
                <a:gd name="connsiteX570" fmla="*/ 258758 w 343053"/>
                <a:gd name="connsiteY570" fmla="*/ 78191 h 454117"/>
                <a:gd name="connsiteX571" fmla="*/ 259462 w 343053"/>
                <a:gd name="connsiteY571" fmla="*/ 77486 h 454117"/>
                <a:gd name="connsiteX572" fmla="*/ 260402 w 343053"/>
                <a:gd name="connsiteY572" fmla="*/ 77251 h 454117"/>
                <a:gd name="connsiteX573" fmla="*/ 261576 w 343053"/>
                <a:gd name="connsiteY573" fmla="*/ 77251 h 454117"/>
                <a:gd name="connsiteX574" fmla="*/ 264863 w 343053"/>
                <a:gd name="connsiteY574" fmla="*/ 77721 h 454117"/>
                <a:gd name="connsiteX575" fmla="*/ 265567 w 343053"/>
                <a:gd name="connsiteY575" fmla="*/ 77721 h 454117"/>
                <a:gd name="connsiteX576" fmla="*/ 266976 w 343053"/>
                <a:gd name="connsiteY576" fmla="*/ 77251 h 454117"/>
                <a:gd name="connsiteX577" fmla="*/ 268620 w 343053"/>
                <a:gd name="connsiteY577" fmla="*/ 76782 h 454117"/>
                <a:gd name="connsiteX578" fmla="*/ 270029 w 343053"/>
                <a:gd name="connsiteY578" fmla="*/ 77486 h 454117"/>
                <a:gd name="connsiteX579" fmla="*/ 270263 w 343053"/>
                <a:gd name="connsiteY579" fmla="*/ 78895 h 454117"/>
                <a:gd name="connsiteX580" fmla="*/ 269794 w 343053"/>
                <a:gd name="connsiteY580" fmla="*/ 79835 h 454117"/>
                <a:gd name="connsiteX581" fmla="*/ 267915 w 343053"/>
                <a:gd name="connsiteY581" fmla="*/ 82417 h 454117"/>
                <a:gd name="connsiteX582" fmla="*/ 266272 w 343053"/>
                <a:gd name="connsiteY582" fmla="*/ 84296 h 454117"/>
                <a:gd name="connsiteX583" fmla="*/ 266037 w 343053"/>
                <a:gd name="connsiteY583" fmla="*/ 84531 h 454117"/>
                <a:gd name="connsiteX584" fmla="*/ 266037 w 343053"/>
                <a:gd name="connsiteY584" fmla="*/ 84531 h 454117"/>
                <a:gd name="connsiteX585" fmla="*/ 266037 w 343053"/>
                <a:gd name="connsiteY585" fmla="*/ 85000 h 454117"/>
                <a:gd name="connsiteX586" fmla="*/ 266272 w 343053"/>
                <a:gd name="connsiteY586" fmla="*/ 85235 h 454117"/>
                <a:gd name="connsiteX587" fmla="*/ 267446 w 343053"/>
                <a:gd name="connsiteY587" fmla="*/ 86879 h 454117"/>
                <a:gd name="connsiteX588" fmla="*/ 267915 w 343053"/>
                <a:gd name="connsiteY588" fmla="*/ 87348 h 454117"/>
                <a:gd name="connsiteX589" fmla="*/ 267915 w 343053"/>
                <a:gd name="connsiteY589" fmla="*/ 87348 h 454117"/>
                <a:gd name="connsiteX590" fmla="*/ 268150 w 343053"/>
                <a:gd name="connsiteY590" fmla="*/ 87348 h 454117"/>
                <a:gd name="connsiteX591" fmla="*/ 268385 w 343053"/>
                <a:gd name="connsiteY591" fmla="*/ 87114 h 454117"/>
                <a:gd name="connsiteX592" fmla="*/ 268620 w 343053"/>
                <a:gd name="connsiteY592" fmla="*/ 86879 h 454117"/>
                <a:gd name="connsiteX593" fmla="*/ 269324 w 343053"/>
                <a:gd name="connsiteY593" fmla="*/ 86174 h 454117"/>
                <a:gd name="connsiteX594" fmla="*/ 269559 w 343053"/>
                <a:gd name="connsiteY594" fmla="*/ 85705 h 454117"/>
                <a:gd name="connsiteX595" fmla="*/ 270029 w 343053"/>
                <a:gd name="connsiteY595" fmla="*/ 85235 h 454117"/>
                <a:gd name="connsiteX596" fmla="*/ 270498 w 343053"/>
                <a:gd name="connsiteY596" fmla="*/ 84765 h 454117"/>
                <a:gd name="connsiteX597" fmla="*/ 271203 w 343053"/>
                <a:gd name="connsiteY597" fmla="*/ 84296 h 454117"/>
                <a:gd name="connsiteX598" fmla="*/ 271907 w 343053"/>
                <a:gd name="connsiteY598" fmla="*/ 83826 h 454117"/>
                <a:gd name="connsiteX599" fmla="*/ 273551 w 343053"/>
                <a:gd name="connsiteY599" fmla="*/ 83357 h 454117"/>
                <a:gd name="connsiteX600" fmla="*/ 274960 w 343053"/>
                <a:gd name="connsiteY600" fmla="*/ 82887 h 454117"/>
                <a:gd name="connsiteX601" fmla="*/ 275429 w 343053"/>
                <a:gd name="connsiteY601" fmla="*/ 82652 h 454117"/>
                <a:gd name="connsiteX602" fmla="*/ 275899 w 343053"/>
                <a:gd name="connsiteY602" fmla="*/ 82417 h 454117"/>
                <a:gd name="connsiteX603" fmla="*/ 276134 w 343053"/>
                <a:gd name="connsiteY603" fmla="*/ 82183 h 454117"/>
                <a:gd name="connsiteX604" fmla="*/ 276368 w 343053"/>
                <a:gd name="connsiteY604" fmla="*/ 81948 h 454117"/>
                <a:gd name="connsiteX605" fmla="*/ 276838 w 343053"/>
                <a:gd name="connsiteY605" fmla="*/ 81243 h 454117"/>
                <a:gd name="connsiteX606" fmla="*/ 277073 w 343053"/>
                <a:gd name="connsiteY606" fmla="*/ 80774 h 454117"/>
                <a:gd name="connsiteX607" fmla="*/ 278012 w 343053"/>
                <a:gd name="connsiteY607" fmla="*/ 79365 h 454117"/>
                <a:gd name="connsiteX608" fmla="*/ 278482 w 343053"/>
                <a:gd name="connsiteY608" fmla="*/ 78895 h 454117"/>
                <a:gd name="connsiteX609" fmla="*/ 278951 w 343053"/>
                <a:gd name="connsiteY609" fmla="*/ 78425 h 454117"/>
                <a:gd name="connsiteX610" fmla="*/ 279656 w 343053"/>
                <a:gd name="connsiteY610" fmla="*/ 77956 h 454117"/>
                <a:gd name="connsiteX611" fmla="*/ 280360 w 343053"/>
                <a:gd name="connsiteY611" fmla="*/ 77721 h 454117"/>
                <a:gd name="connsiteX612" fmla="*/ 281769 w 343053"/>
                <a:gd name="connsiteY612" fmla="*/ 77486 h 454117"/>
                <a:gd name="connsiteX613" fmla="*/ 282239 w 343053"/>
                <a:gd name="connsiteY613" fmla="*/ 77486 h 454117"/>
                <a:gd name="connsiteX614" fmla="*/ 282473 w 343053"/>
                <a:gd name="connsiteY614" fmla="*/ 77251 h 454117"/>
                <a:gd name="connsiteX615" fmla="*/ 282708 w 343053"/>
                <a:gd name="connsiteY615" fmla="*/ 77017 h 454117"/>
                <a:gd name="connsiteX616" fmla="*/ 282943 w 343053"/>
                <a:gd name="connsiteY616" fmla="*/ 76782 h 454117"/>
                <a:gd name="connsiteX617" fmla="*/ 283178 w 343053"/>
                <a:gd name="connsiteY617" fmla="*/ 75843 h 454117"/>
                <a:gd name="connsiteX618" fmla="*/ 283648 w 343053"/>
                <a:gd name="connsiteY618" fmla="*/ 73729 h 454117"/>
                <a:gd name="connsiteX619" fmla="*/ 283882 w 343053"/>
                <a:gd name="connsiteY619" fmla="*/ 72790 h 454117"/>
                <a:gd name="connsiteX620" fmla="*/ 284352 w 343053"/>
                <a:gd name="connsiteY620" fmla="*/ 72086 h 454117"/>
                <a:gd name="connsiteX621" fmla="*/ 284822 w 343053"/>
                <a:gd name="connsiteY621" fmla="*/ 71616 h 454117"/>
                <a:gd name="connsiteX622" fmla="*/ 285526 w 343053"/>
                <a:gd name="connsiteY622" fmla="*/ 71147 h 454117"/>
                <a:gd name="connsiteX623" fmla="*/ 286700 w 343053"/>
                <a:gd name="connsiteY623" fmla="*/ 70442 h 454117"/>
                <a:gd name="connsiteX624" fmla="*/ 288578 w 343053"/>
                <a:gd name="connsiteY624" fmla="*/ 69503 h 454117"/>
                <a:gd name="connsiteX625" fmla="*/ 291396 w 343053"/>
                <a:gd name="connsiteY625" fmla="*/ 68329 h 454117"/>
                <a:gd name="connsiteX626" fmla="*/ 293979 w 343053"/>
                <a:gd name="connsiteY626" fmla="*/ 78895 h 454117"/>
                <a:gd name="connsiteX627" fmla="*/ 293979 w 343053"/>
                <a:gd name="connsiteY627" fmla="*/ 79835 h 454117"/>
                <a:gd name="connsiteX628" fmla="*/ 293509 w 343053"/>
                <a:gd name="connsiteY628" fmla="*/ 82183 h 454117"/>
                <a:gd name="connsiteX629" fmla="*/ 293509 w 343053"/>
                <a:gd name="connsiteY629" fmla="*/ 83122 h 454117"/>
                <a:gd name="connsiteX630" fmla="*/ 296092 w 343053"/>
                <a:gd name="connsiteY630" fmla="*/ 91575 h 454117"/>
                <a:gd name="connsiteX631" fmla="*/ 296562 w 343053"/>
                <a:gd name="connsiteY631" fmla="*/ 93688 h 454117"/>
                <a:gd name="connsiteX632" fmla="*/ 296562 w 343053"/>
                <a:gd name="connsiteY632" fmla="*/ 95567 h 454117"/>
                <a:gd name="connsiteX633" fmla="*/ 295623 w 343053"/>
                <a:gd name="connsiteY633" fmla="*/ 96741 h 454117"/>
                <a:gd name="connsiteX634" fmla="*/ 294214 w 343053"/>
                <a:gd name="connsiteY634" fmla="*/ 98149 h 454117"/>
                <a:gd name="connsiteX635" fmla="*/ 293979 w 343053"/>
                <a:gd name="connsiteY635" fmla="*/ 98384 h 454117"/>
                <a:gd name="connsiteX636" fmla="*/ 293744 w 343053"/>
                <a:gd name="connsiteY636" fmla="*/ 98854 h 454117"/>
                <a:gd name="connsiteX637" fmla="*/ 293509 w 343053"/>
                <a:gd name="connsiteY637" fmla="*/ 99323 h 454117"/>
                <a:gd name="connsiteX638" fmla="*/ 293275 w 343053"/>
                <a:gd name="connsiteY638" fmla="*/ 100263 h 454117"/>
                <a:gd name="connsiteX639" fmla="*/ 293040 w 343053"/>
                <a:gd name="connsiteY639" fmla="*/ 101671 h 454117"/>
                <a:gd name="connsiteX640" fmla="*/ 293040 w 343053"/>
                <a:gd name="connsiteY640" fmla="*/ 102846 h 454117"/>
                <a:gd name="connsiteX641" fmla="*/ 293275 w 343053"/>
                <a:gd name="connsiteY641" fmla="*/ 103315 h 454117"/>
                <a:gd name="connsiteX642" fmla="*/ 293509 w 343053"/>
                <a:gd name="connsiteY642" fmla="*/ 103550 h 454117"/>
                <a:gd name="connsiteX643" fmla="*/ 293979 w 343053"/>
                <a:gd name="connsiteY643" fmla="*/ 103785 h 454117"/>
                <a:gd name="connsiteX644" fmla="*/ 294214 w 343053"/>
                <a:gd name="connsiteY644" fmla="*/ 103785 h 454117"/>
                <a:gd name="connsiteX645" fmla="*/ 294918 w 343053"/>
                <a:gd name="connsiteY645" fmla="*/ 103550 h 454117"/>
                <a:gd name="connsiteX646" fmla="*/ 295857 w 343053"/>
                <a:gd name="connsiteY646" fmla="*/ 103315 h 454117"/>
                <a:gd name="connsiteX647" fmla="*/ 296797 w 343053"/>
                <a:gd name="connsiteY647" fmla="*/ 103315 h 454117"/>
                <a:gd name="connsiteX648" fmla="*/ 297736 w 343053"/>
                <a:gd name="connsiteY648" fmla="*/ 103785 h 454117"/>
                <a:gd name="connsiteX649" fmla="*/ 298206 w 343053"/>
                <a:gd name="connsiteY649" fmla="*/ 104254 h 454117"/>
                <a:gd name="connsiteX650" fmla="*/ 306659 w 343053"/>
                <a:gd name="connsiteY650" fmla="*/ 114116 h 454117"/>
                <a:gd name="connsiteX651" fmla="*/ 307363 w 343053"/>
                <a:gd name="connsiteY651" fmla="*/ 114586 h 454117"/>
                <a:gd name="connsiteX652" fmla="*/ 307598 w 343053"/>
                <a:gd name="connsiteY652" fmla="*/ 114586 h 454117"/>
                <a:gd name="connsiteX653" fmla="*/ 307833 w 343053"/>
                <a:gd name="connsiteY653" fmla="*/ 114586 h 454117"/>
                <a:gd name="connsiteX654" fmla="*/ 308067 w 343053"/>
                <a:gd name="connsiteY654" fmla="*/ 114586 h 454117"/>
                <a:gd name="connsiteX655" fmla="*/ 308537 w 343053"/>
                <a:gd name="connsiteY655" fmla="*/ 114351 h 454117"/>
                <a:gd name="connsiteX656" fmla="*/ 309007 w 343053"/>
                <a:gd name="connsiteY656" fmla="*/ 114116 h 454117"/>
                <a:gd name="connsiteX657" fmla="*/ 309946 w 343053"/>
                <a:gd name="connsiteY657" fmla="*/ 113412 h 454117"/>
                <a:gd name="connsiteX658" fmla="*/ 310650 w 343053"/>
                <a:gd name="connsiteY658" fmla="*/ 112942 h 454117"/>
                <a:gd name="connsiteX659" fmla="*/ 311590 w 343053"/>
                <a:gd name="connsiteY659" fmla="*/ 112473 h 454117"/>
                <a:gd name="connsiteX660" fmla="*/ 312529 w 343053"/>
                <a:gd name="connsiteY660" fmla="*/ 112473 h 454117"/>
                <a:gd name="connsiteX661" fmla="*/ 313233 w 343053"/>
                <a:gd name="connsiteY661" fmla="*/ 112708 h 454117"/>
                <a:gd name="connsiteX662" fmla="*/ 313938 w 343053"/>
                <a:gd name="connsiteY662" fmla="*/ 113177 h 454117"/>
                <a:gd name="connsiteX663" fmla="*/ 319103 w 343053"/>
                <a:gd name="connsiteY663" fmla="*/ 119047 h 454117"/>
                <a:gd name="connsiteX664" fmla="*/ 319573 w 343053"/>
                <a:gd name="connsiteY664" fmla="*/ 119987 h 454117"/>
                <a:gd name="connsiteX665" fmla="*/ 319808 w 343053"/>
                <a:gd name="connsiteY665" fmla="*/ 121161 h 454117"/>
                <a:gd name="connsiteX666" fmla="*/ 319338 w 343053"/>
                <a:gd name="connsiteY666" fmla="*/ 122569 h 454117"/>
                <a:gd name="connsiteX667" fmla="*/ 318869 w 343053"/>
                <a:gd name="connsiteY667" fmla="*/ 123743 h 454117"/>
                <a:gd name="connsiteX668" fmla="*/ 318164 w 343053"/>
                <a:gd name="connsiteY668" fmla="*/ 124448 h 454117"/>
                <a:gd name="connsiteX669" fmla="*/ 317225 w 343053"/>
                <a:gd name="connsiteY669" fmla="*/ 124917 h 454117"/>
                <a:gd name="connsiteX670" fmla="*/ 316521 w 343053"/>
                <a:gd name="connsiteY670" fmla="*/ 124917 h 454117"/>
                <a:gd name="connsiteX671" fmla="*/ 314642 w 343053"/>
                <a:gd name="connsiteY671" fmla="*/ 124917 h 454117"/>
                <a:gd name="connsiteX672" fmla="*/ 314172 w 343053"/>
                <a:gd name="connsiteY672" fmla="*/ 124917 h 454117"/>
                <a:gd name="connsiteX673" fmla="*/ 313938 w 343053"/>
                <a:gd name="connsiteY673" fmla="*/ 124917 h 454117"/>
                <a:gd name="connsiteX674" fmla="*/ 313703 w 343053"/>
                <a:gd name="connsiteY674" fmla="*/ 124917 h 454117"/>
                <a:gd name="connsiteX675" fmla="*/ 312998 w 343053"/>
                <a:gd name="connsiteY675" fmla="*/ 125622 h 454117"/>
                <a:gd name="connsiteX676" fmla="*/ 311590 w 343053"/>
                <a:gd name="connsiteY676" fmla="*/ 127031 h 454117"/>
                <a:gd name="connsiteX677" fmla="*/ 311355 w 343053"/>
                <a:gd name="connsiteY677" fmla="*/ 127266 h 454117"/>
                <a:gd name="connsiteX678" fmla="*/ 311355 w 343053"/>
                <a:gd name="connsiteY678" fmla="*/ 127266 h 454117"/>
                <a:gd name="connsiteX679" fmla="*/ 311355 w 343053"/>
                <a:gd name="connsiteY679" fmla="*/ 127500 h 454117"/>
                <a:gd name="connsiteX680" fmla="*/ 312764 w 343053"/>
                <a:gd name="connsiteY680" fmla="*/ 129614 h 454117"/>
                <a:gd name="connsiteX681" fmla="*/ 313233 w 343053"/>
                <a:gd name="connsiteY681" fmla="*/ 131022 h 454117"/>
                <a:gd name="connsiteX682" fmla="*/ 312764 w 343053"/>
                <a:gd name="connsiteY682" fmla="*/ 132431 h 454117"/>
                <a:gd name="connsiteX683" fmla="*/ 312294 w 343053"/>
                <a:gd name="connsiteY683" fmla="*/ 133136 h 454117"/>
                <a:gd name="connsiteX684" fmla="*/ 311824 w 343053"/>
                <a:gd name="connsiteY684" fmla="*/ 133605 h 454117"/>
                <a:gd name="connsiteX685" fmla="*/ 310650 w 343053"/>
                <a:gd name="connsiteY685" fmla="*/ 135014 h 454117"/>
                <a:gd name="connsiteX686" fmla="*/ 310885 w 343053"/>
                <a:gd name="connsiteY686" fmla="*/ 135719 h 454117"/>
                <a:gd name="connsiteX687" fmla="*/ 317225 w 343053"/>
                <a:gd name="connsiteY687" fmla="*/ 145581 h 454117"/>
                <a:gd name="connsiteX688" fmla="*/ 328261 w 343053"/>
                <a:gd name="connsiteY688" fmla="*/ 156851 h 454117"/>
                <a:gd name="connsiteX689" fmla="*/ 329905 w 343053"/>
                <a:gd name="connsiteY689" fmla="*/ 159434 h 454117"/>
                <a:gd name="connsiteX690" fmla="*/ 334131 w 343053"/>
                <a:gd name="connsiteY690" fmla="*/ 178923 h 454117"/>
                <a:gd name="connsiteX691" fmla="*/ 339062 w 343053"/>
                <a:gd name="connsiteY691" fmla="*/ 189724 h 454117"/>
                <a:gd name="connsiteX692" fmla="*/ 343054 w 343053"/>
                <a:gd name="connsiteY692" fmla="*/ 194655 h 454117"/>
                <a:gd name="connsiteX693" fmla="*/ 337184 w 343053"/>
                <a:gd name="connsiteY693" fmla="*/ 202404 h 454117"/>
                <a:gd name="connsiteX694" fmla="*/ 323330 w 343053"/>
                <a:gd name="connsiteY694" fmla="*/ 217666 h 454117"/>
                <a:gd name="connsiteX695" fmla="*/ 321452 w 343053"/>
                <a:gd name="connsiteY695" fmla="*/ 220015 h 454117"/>
                <a:gd name="connsiteX696" fmla="*/ 320747 w 343053"/>
                <a:gd name="connsiteY696" fmla="*/ 220719 h 454117"/>
                <a:gd name="connsiteX697" fmla="*/ 320043 w 343053"/>
                <a:gd name="connsiteY697" fmla="*/ 221189 h 454117"/>
                <a:gd name="connsiteX698" fmla="*/ 317695 w 343053"/>
                <a:gd name="connsiteY698" fmla="*/ 222597 h 454117"/>
                <a:gd name="connsiteX699" fmla="*/ 317460 w 343053"/>
                <a:gd name="connsiteY699" fmla="*/ 222832 h 454117"/>
                <a:gd name="connsiteX700" fmla="*/ 317460 w 343053"/>
                <a:gd name="connsiteY700" fmla="*/ 223067 h 454117"/>
                <a:gd name="connsiteX701" fmla="*/ 317460 w 343053"/>
                <a:gd name="connsiteY701" fmla="*/ 223537 h 454117"/>
                <a:gd name="connsiteX702" fmla="*/ 317695 w 343053"/>
                <a:gd name="connsiteY702" fmla="*/ 223771 h 454117"/>
                <a:gd name="connsiteX703" fmla="*/ 317929 w 343053"/>
                <a:gd name="connsiteY703" fmla="*/ 224006 h 454117"/>
                <a:gd name="connsiteX704" fmla="*/ 318634 w 343053"/>
                <a:gd name="connsiteY704" fmla="*/ 224476 h 454117"/>
                <a:gd name="connsiteX705" fmla="*/ 320043 w 343053"/>
                <a:gd name="connsiteY705" fmla="*/ 225180 h 454117"/>
                <a:gd name="connsiteX706" fmla="*/ 320982 w 343053"/>
                <a:gd name="connsiteY706" fmla="*/ 225650 h 454117"/>
                <a:gd name="connsiteX707" fmla="*/ 322156 w 343053"/>
                <a:gd name="connsiteY707" fmla="*/ 227294 h 454117"/>
                <a:gd name="connsiteX708" fmla="*/ 322391 w 343053"/>
                <a:gd name="connsiteY708" fmla="*/ 228233 h 454117"/>
                <a:gd name="connsiteX709" fmla="*/ 322391 w 343053"/>
                <a:gd name="connsiteY709" fmla="*/ 230346 h 454117"/>
                <a:gd name="connsiteX710" fmla="*/ 322626 w 343053"/>
                <a:gd name="connsiteY710" fmla="*/ 230816 h 454117"/>
                <a:gd name="connsiteX711" fmla="*/ 322626 w 343053"/>
                <a:gd name="connsiteY711" fmla="*/ 231050 h 454117"/>
                <a:gd name="connsiteX712" fmla="*/ 322860 w 343053"/>
                <a:gd name="connsiteY712" fmla="*/ 231285 h 454117"/>
                <a:gd name="connsiteX713" fmla="*/ 323095 w 343053"/>
                <a:gd name="connsiteY713" fmla="*/ 231285 h 454117"/>
                <a:gd name="connsiteX714" fmla="*/ 323330 w 343053"/>
                <a:gd name="connsiteY714" fmla="*/ 231285 h 454117"/>
                <a:gd name="connsiteX715" fmla="*/ 324504 w 343053"/>
                <a:gd name="connsiteY715" fmla="*/ 231050 h 454117"/>
                <a:gd name="connsiteX716" fmla="*/ 325443 w 343053"/>
                <a:gd name="connsiteY716" fmla="*/ 231050 h 454117"/>
                <a:gd name="connsiteX717" fmla="*/ 326617 w 343053"/>
                <a:gd name="connsiteY717" fmla="*/ 231050 h 454117"/>
                <a:gd name="connsiteX718" fmla="*/ 327087 w 343053"/>
                <a:gd name="connsiteY718" fmla="*/ 231050 h 454117"/>
                <a:gd name="connsiteX719" fmla="*/ 327556 w 343053"/>
                <a:gd name="connsiteY719" fmla="*/ 230816 h 454117"/>
                <a:gd name="connsiteX720" fmla="*/ 328261 w 343053"/>
                <a:gd name="connsiteY720" fmla="*/ 230581 h 454117"/>
                <a:gd name="connsiteX721" fmla="*/ 329435 w 343053"/>
                <a:gd name="connsiteY721" fmla="*/ 230346 h 454117"/>
                <a:gd name="connsiteX722" fmla="*/ 330374 w 343053"/>
                <a:gd name="connsiteY722" fmla="*/ 230581 h 454117"/>
                <a:gd name="connsiteX723" fmla="*/ 331548 w 343053"/>
                <a:gd name="connsiteY723" fmla="*/ 231520 h 454117"/>
                <a:gd name="connsiteX724" fmla="*/ 336479 w 343053"/>
                <a:gd name="connsiteY724" fmla="*/ 238564 h 454117"/>
                <a:gd name="connsiteX725" fmla="*/ 336714 w 343053"/>
                <a:gd name="connsiteY725" fmla="*/ 239269 h 454117"/>
                <a:gd name="connsiteX726" fmla="*/ 336714 w 343053"/>
                <a:gd name="connsiteY726" fmla="*/ 239973 h 454117"/>
                <a:gd name="connsiteX727" fmla="*/ 336479 w 343053"/>
                <a:gd name="connsiteY727" fmla="*/ 240912 h 454117"/>
                <a:gd name="connsiteX728" fmla="*/ 335775 w 343053"/>
                <a:gd name="connsiteY728" fmla="*/ 241852 h 454117"/>
                <a:gd name="connsiteX729" fmla="*/ 334366 w 343053"/>
                <a:gd name="connsiteY729" fmla="*/ 242321 h 454117"/>
                <a:gd name="connsiteX730" fmla="*/ 333427 w 343053"/>
                <a:gd name="connsiteY730" fmla="*/ 242321 h 454117"/>
                <a:gd name="connsiteX731" fmla="*/ 332722 w 343053"/>
                <a:gd name="connsiteY731" fmla="*/ 242086 h 454117"/>
                <a:gd name="connsiteX732" fmla="*/ 331313 w 343053"/>
                <a:gd name="connsiteY732" fmla="*/ 240912 h 454117"/>
                <a:gd name="connsiteX733" fmla="*/ 331079 w 343053"/>
                <a:gd name="connsiteY733" fmla="*/ 240912 h 454117"/>
                <a:gd name="connsiteX734" fmla="*/ 330844 w 343053"/>
                <a:gd name="connsiteY734" fmla="*/ 240912 h 454117"/>
                <a:gd name="connsiteX735" fmla="*/ 330374 w 343053"/>
                <a:gd name="connsiteY735" fmla="*/ 240912 h 454117"/>
                <a:gd name="connsiteX736" fmla="*/ 329670 w 343053"/>
                <a:gd name="connsiteY736" fmla="*/ 241147 h 454117"/>
                <a:gd name="connsiteX737" fmla="*/ 328496 w 343053"/>
                <a:gd name="connsiteY737" fmla="*/ 241617 h 454117"/>
                <a:gd name="connsiteX738" fmla="*/ 328026 w 343053"/>
                <a:gd name="connsiteY738" fmla="*/ 241852 h 454117"/>
                <a:gd name="connsiteX739" fmla="*/ 327791 w 343053"/>
                <a:gd name="connsiteY739" fmla="*/ 242086 h 454117"/>
                <a:gd name="connsiteX740" fmla="*/ 327556 w 343053"/>
                <a:gd name="connsiteY740" fmla="*/ 242556 h 454117"/>
                <a:gd name="connsiteX741" fmla="*/ 327322 w 343053"/>
                <a:gd name="connsiteY741" fmla="*/ 243495 h 454117"/>
                <a:gd name="connsiteX742" fmla="*/ 327087 w 343053"/>
                <a:gd name="connsiteY742" fmla="*/ 245843 h 454117"/>
                <a:gd name="connsiteX743" fmla="*/ 326617 w 343053"/>
                <a:gd name="connsiteY743" fmla="*/ 246783 h 454117"/>
                <a:gd name="connsiteX744" fmla="*/ 325913 w 343053"/>
                <a:gd name="connsiteY744" fmla="*/ 247487 h 454117"/>
                <a:gd name="connsiteX745" fmla="*/ 324504 w 343053"/>
                <a:gd name="connsiteY745" fmla="*/ 248426 h 454117"/>
                <a:gd name="connsiteX746" fmla="*/ 323330 w 343053"/>
                <a:gd name="connsiteY746" fmla="*/ 248661 h 454117"/>
                <a:gd name="connsiteX747" fmla="*/ 322391 w 343053"/>
                <a:gd name="connsiteY747" fmla="*/ 248661 h 454117"/>
                <a:gd name="connsiteX748" fmla="*/ 321686 w 343053"/>
                <a:gd name="connsiteY748" fmla="*/ 248426 h 454117"/>
                <a:gd name="connsiteX749" fmla="*/ 321452 w 343053"/>
                <a:gd name="connsiteY749" fmla="*/ 248426 h 454117"/>
                <a:gd name="connsiteX750" fmla="*/ 320982 w 343053"/>
                <a:gd name="connsiteY750" fmla="*/ 248661 h 454117"/>
                <a:gd name="connsiteX751" fmla="*/ 320747 w 343053"/>
                <a:gd name="connsiteY751" fmla="*/ 248896 h 454117"/>
                <a:gd name="connsiteX752" fmla="*/ 320512 w 343053"/>
                <a:gd name="connsiteY752" fmla="*/ 249131 h 454117"/>
                <a:gd name="connsiteX753" fmla="*/ 316990 w 343053"/>
                <a:gd name="connsiteY753" fmla="*/ 252418 h 454117"/>
                <a:gd name="connsiteX754" fmla="*/ 316286 w 343053"/>
                <a:gd name="connsiteY754" fmla="*/ 252888 h 454117"/>
                <a:gd name="connsiteX755" fmla="*/ 315581 w 343053"/>
                <a:gd name="connsiteY755" fmla="*/ 253357 h 454117"/>
                <a:gd name="connsiteX756" fmla="*/ 312059 w 343053"/>
                <a:gd name="connsiteY756" fmla="*/ 255001 h 454117"/>
                <a:gd name="connsiteX757" fmla="*/ 311590 w 343053"/>
                <a:gd name="connsiteY757" fmla="*/ 255236 h 454117"/>
                <a:gd name="connsiteX758" fmla="*/ 310650 w 343053"/>
                <a:gd name="connsiteY758" fmla="*/ 255940 h 454117"/>
                <a:gd name="connsiteX759" fmla="*/ 309711 w 343053"/>
                <a:gd name="connsiteY759" fmla="*/ 256644 h 454117"/>
                <a:gd name="connsiteX760" fmla="*/ 308067 w 343053"/>
                <a:gd name="connsiteY760" fmla="*/ 258288 h 454117"/>
                <a:gd name="connsiteX761" fmla="*/ 306893 w 343053"/>
                <a:gd name="connsiteY761" fmla="*/ 259227 h 454117"/>
                <a:gd name="connsiteX762" fmla="*/ 306659 w 343053"/>
                <a:gd name="connsiteY762" fmla="*/ 259462 h 454117"/>
                <a:gd name="connsiteX763" fmla="*/ 306424 w 343053"/>
                <a:gd name="connsiteY763" fmla="*/ 259697 h 454117"/>
                <a:gd name="connsiteX764" fmla="*/ 306424 w 343053"/>
                <a:gd name="connsiteY764" fmla="*/ 260636 h 454117"/>
                <a:gd name="connsiteX765" fmla="*/ 306659 w 343053"/>
                <a:gd name="connsiteY765" fmla="*/ 262515 h 454117"/>
                <a:gd name="connsiteX766" fmla="*/ 306659 w 343053"/>
                <a:gd name="connsiteY766" fmla="*/ 263689 h 454117"/>
                <a:gd name="connsiteX767" fmla="*/ 305954 w 343053"/>
                <a:gd name="connsiteY767" fmla="*/ 264863 h 454117"/>
                <a:gd name="connsiteX768" fmla="*/ 299614 w 343053"/>
                <a:gd name="connsiteY768" fmla="*/ 270968 h 454117"/>
                <a:gd name="connsiteX769" fmla="*/ 294449 w 343053"/>
                <a:gd name="connsiteY769" fmla="*/ 274255 h 454117"/>
                <a:gd name="connsiteX770" fmla="*/ 293744 w 343053"/>
                <a:gd name="connsiteY770" fmla="*/ 274725 h 454117"/>
                <a:gd name="connsiteX771" fmla="*/ 293509 w 343053"/>
                <a:gd name="connsiteY771" fmla="*/ 274960 h 454117"/>
                <a:gd name="connsiteX772" fmla="*/ 293509 w 343053"/>
                <a:gd name="connsiteY772" fmla="*/ 275194 h 454117"/>
                <a:gd name="connsiteX773" fmla="*/ 293509 w 343053"/>
                <a:gd name="connsiteY773" fmla="*/ 275899 h 454117"/>
                <a:gd name="connsiteX774" fmla="*/ 293979 w 343053"/>
                <a:gd name="connsiteY774" fmla="*/ 277542 h 454117"/>
                <a:gd name="connsiteX775" fmla="*/ 293979 w 343053"/>
                <a:gd name="connsiteY775" fmla="*/ 277777 h 454117"/>
                <a:gd name="connsiteX776" fmla="*/ 293979 w 343053"/>
                <a:gd name="connsiteY776" fmla="*/ 278012 h 454117"/>
                <a:gd name="connsiteX777" fmla="*/ 293744 w 343053"/>
                <a:gd name="connsiteY777" fmla="*/ 278716 h 454117"/>
                <a:gd name="connsiteX778" fmla="*/ 293275 w 343053"/>
                <a:gd name="connsiteY778" fmla="*/ 279421 h 454117"/>
                <a:gd name="connsiteX779" fmla="*/ 292570 w 343053"/>
                <a:gd name="connsiteY779" fmla="*/ 280360 h 454117"/>
                <a:gd name="connsiteX780" fmla="*/ 291161 w 343053"/>
                <a:gd name="connsiteY780" fmla="*/ 281769 h 454117"/>
                <a:gd name="connsiteX781" fmla="*/ 289048 w 343053"/>
                <a:gd name="connsiteY781" fmla="*/ 283413 h 454117"/>
                <a:gd name="connsiteX782" fmla="*/ 288813 w 343053"/>
                <a:gd name="connsiteY782" fmla="*/ 283647 h 454117"/>
                <a:gd name="connsiteX783" fmla="*/ 288813 w 343053"/>
                <a:gd name="connsiteY783" fmla="*/ 283882 h 454117"/>
                <a:gd name="connsiteX784" fmla="*/ 288813 w 343053"/>
                <a:gd name="connsiteY784" fmla="*/ 284352 h 454117"/>
                <a:gd name="connsiteX785" fmla="*/ 289753 w 343053"/>
                <a:gd name="connsiteY785" fmla="*/ 287169 h 454117"/>
                <a:gd name="connsiteX786" fmla="*/ 289753 w 343053"/>
                <a:gd name="connsiteY786" fmla="*/ 287874 h 454117"/>
                <a:gd name="connsiteX787" fmla="*/ 289753 w 343053"/>
                <a:gd name="connsiteY787" fmla="*/ 288578 h 454117"/>
                <a:gd name="connsiteX788" fmla="*/ 289518 w 343053"/>
                <a:gd name="connsiteY788" fmla="*/ 290457 h 454117"/>
                <a:gd name="connsiteX789" fmla="*/ 289518 w 343053"/>
                <a:gd name="connsiteY789" fmla="*/ 291396 h 454117"/>
                <a:gd name="connsiteX790" fmla="*/ 290927 w 343053"/>
                <a:gd name="connsiteY790" fmla="*/ 297501 h 454117"/>
                <a:gd name="connsiteX791" fmla="*/ 290927 w 343053"/>
                <a:gd name="connsiteY791" fmla="*/ 298440 h 454117"/>
                <a:gd name="connsiteX792" fmla="*/ 290457 w 343053"/>
                <a:gd name="connsiteY792" fmla="*/ 299380 h 454117"/>
                <a:gd name="connsiteX793" fmla="*/ 289753 w 343053"/>
                <a:gd name="connsiteY793" fmla="*/ 300319 h 454117"/>
                <a:gd name="connsiteX794" fmla="*/ 285526 w 343053"/>
                <a:gd name="connsiteY794" fmla="*/ 304310 h 454117"/>
                <a:gd name="connsiteX795" fmla="*/ 285291 w 343053"/>
                <a:gd name="connsiteY795" fmla="*/ 304780 h 454117"/>
                <a:gd name="connsiteX796" fmla="*/ 285056 w 343053"/>
                <a:gd name="connsiteY796" fmla="*/ 305015 h 454117"/>
                <a:gd name="connsiteX797" fmla="*/ 285056 w 343053"/>
                <a:gd name="connsiteY797" fmla="*/ 305719 h 454117"/>
                <a:gd name="connsiteX798" fmla="*/ 285291 w 343053"/>
                <a:gd name="connsiteY798" fmla="*/ 306189 h 454117"/>
                <a:gd name="connsiteX799" fmla="*/ 285761 w 343053"/>
                <a:gd name="connsiteY799" fmla="*/ 307363 h 454117"/>
                <a:gd name="connsiteX800" fmla="*/ 285996 w 343053"/>
                <a:gd name="connsiteY800" fmla="*/ 308302 h 454117"/>
                <a:gd name="connsiteX801" fmla="*/ 285996 w 343053"/>
                <a:gd name="connsiteY801" fmla="*/ 309007 h 454117"/>
                <a:gd name="connsiteX802" fmla="*/ 285761 w 343053"/>
                <a:gd name="connsiteY802" fmla="*/ 309946 h 454117"/>
                <a:gd name="connsiteX803" fmla="*/ 285056 w 343053"/>
                <a:gd name="connsiteY803" fmla="*/ 310885 h 454117"/>
                <a:gd name="connsiteX804" fmla="*/ 284117 w 343053"/>
                <a:gd name="connsiteY804" fmla="*/ 312059 h 454117"/>
                <a:gd name="connsiteX805" fmla="*/ 282004 w 343053"/>
                <a:gd name="connsiteY805" fmla="*/ 313938 h 454117"/>
                <a:gd name="connsiteX806" fmla="*/ 280595 w 343053"/>
                <a:gd name="connsiteY806" fmla="*/ 314877 h 454117"/>
                <a:gd name="connsiteX807" fmla="*/ 279186 w 343053"/>
                <a:gd name="connsiteY807" fmla="*/ 315112 h 454117"/>
                <a:gd name="connsiteX808" fmla="*/ 278247 w 343053"/>
                <a:gd name="connsiteY808" fmla="*/ 314642 h 454117"/>
                <a:gd name="connsiteX809" fmla="*/ 275194 w 343053"/>
                <a:gd name="connsiteY809" fmla="*/ 312529 h 454117"/>
                <a:gd name="connsiteX810" fmla="*/ 274255 w 343053"/>
                <a:gd name="connsiteY810" fmla="*/ 311589 h 454117"/>
                <a:gd name="connsiteX811" fmla="*/ 274020 w 343053"/>
                <a:gd name="connsiteY811" fmla="*/ 311355 h 454117"/>
                <a:gd name="connsiteX812" fmla="*/ 274020 w 343053"/>
                <a:gd name="connsiteY812" fmla="*/ 311355 h 454117"/>
                <a:gd name="connsiteX813" fmla="*/ 273551 w 343053"/>
                <a:gd name="connsiteY813" fmla="*/ 311355 h 454117"/>
                <a:gd name="connsiteX814" fmla="*/ 273081 w 343053"/>
                <a:gd name="connsiteY814" fmla="*/ 311589 h 454117"/>
                <a:gd name="connsiteX815" fmla="*/ 269559 w 343053"/>
                <a:gd name="connsiteY815" fmla="*/ 313468 h 454117"/>
                <a:gd name="connsiteX816" fmla="*/ 268855 w 343053"/>
                <a:gd name="connsiteY816" fmla="*/ 313703 h 454117"/>
                <a:gd name="connsiteX817" fmla="*/ 267915 w 343053"/>
                <a:gd name="connsiteY817" fmla="*/ 313703 h 454117"/>
                <a:gd name="connsiteX818" fmla="*/ 266507 w 343053"/>
                <a:gd name="connsiteY818" fmla="*/ 313468 h 454117"/>
                <a:gd name="connsiteX819" fmla="*/ 266037 w 343053"/>
                <a:gd name="connsiteY819" fmla="*/ 313468 h 454117"/>
                <a:gd name="connsiteX820" fmla="*/ 265567 w 343053"/>
                <a:gd name="connsiteY820" fmla="*/ 313468 h 454117"/>
                <a:gd name="connsiteX821" fmla="*/ 263454 w 343053"/>
                <a:gd name="connsiteY821" fmla="*/ 313938 h 454117"/>
                <a:gd name="connsiteX822" fmla="*/ 262515 w 343053"/>
                <a:gd name="connsiteY822" fmla="*/ 313938 h 454117"/>
                <a:gd name="connsiteX823" fmla="*/ 261576 w 343053"/>
                <a:gd name="connsiteY823" fmla="*/ 313703 h 454117"/>
                <a:gd name="connsiteX824" fmla="*/ 260871 w 343053"/>
                <a:gd name="connsiteY824" fmla="*/ 313468 h 454117"/>
                <a:gd name="connsiteX825" fmla="*/ 259932 w 343053"/>
                <a:gd name="connsiteY825" fmla="*/ 312764 h 454117"/>
                <a:gd name="connsiteX826" fmla="*/ 259228 w 343053"/>
                <a:gd name="connsiteY826" fmla="*/ 312529 h 454117"/>
                <a:gd name="connsiteX827" fmla="*/ 258288 w 343053"/>
                <a:gd name="connsiteY827" fmla="*/ 312529 h 454117"/>
                <a:gd name="connsiteX828" fmla="*/ 257819 w 343053"/>
                <a:gd name="connsiteY828" fmla="*/ 312529 h 454117"/>
                <a:gd name="connsiteX829" fmla="*/ 256879 w 343053"/>
                <a:gd name="connsiteY829" fmla="*/ 312529 h 454117"/>
                <a:gd name="connsiteX830" fmla="*/ 255940 w 343053"/>
                <a:gd name="connsiteY830" fmla="*/ 312294 h 454117"/>
                <a:gd name="connsiteX831" fmla="*/ 255236 w 343053"/>
                <a:gd name="connsiteY831" fmla="*/ 311824 h 454117"/>
                <a:gd name="connsiteX832" fmla="*/ 254766 w 343053"/>
                <a:gd name="connsiteY832" fmla="*/ 311355 h 454117"/>
                <a:gd name="connsiteX833" fmla="*/ 252888 w 343053"/>
                <a:gd name="connsiteY833" fmla="*/ 308302 h 454117"/>
                <a:gd name="connsiteX834" fmla="*/ 252653 w 343053"/>
                <a:gd name="connsiteY834" fmla="*/ 308067 h 454117"/>
                <a:gd name="connsiteX835" fmla="*/ 252418 w 343053"/>
                <a:gd name="connsiteY835" fmla="*/ 308067 h 454117"/>
                <a:gd name="connsiteX836" fmla="*/ 252183 w 343053"/>
                <a:gd name="connsiteY836" fmla="*/ 307833 h 454117"/>
                <a:gd name="connsiteX837" fmla="*/ 251948 w 343053"/>
                <a:gd name="connsiteY837" fmla="*/ 307833 h 454117"/>
                <a:gd name="connsiteX838" fmla="*/ 251714 w 343053"/>
                <a:gd name="connsiteY838" fmla="*/ 307833 h 454117"/>
                <a:gd name="connsiteX839" fmla="*/ 251479 w 343053"/>
                <a:gd name="connsiteY839" fmla="*/ 308067 h 454117"/>
                <a:gd name="connsiteX840" fmla="*/ 251009 w 343053"/>
                <a:gd name="connsiteY840" fmla="*/ 308302 h 454117"/>
                <a:gd name="connsiteX841" fmla="*/ 249835 w 343053"/>
                <a:gd name="connsiteY841" fmla="*/ 309241 h 454117"/>
                <a:gd name="connsiteX842" fmla="*/ 249600 w 343053"/>
                <a:gd name="connsiteY842" fmla="*/ 309476 h 454117"/>
                <a:gd name="connsiteX843" fmla="*/ 249600 w 343053"/>
                <a:gd name="connsiteY843" fmla="*/ 309711 h 454117"/>
                <a:gd name="connsiteX844" fmla="*/ 249835 w 343053"/>
                <a:gd name="connsiteY844" fmla="*/ 310415 h 454117"/>
                <a:gd name="connsiteX845" fmla="*/ 250070 w 343053"/>
                <a:gd name="connsiteY845" fmla="*/ 310650 h 454117"/>
                <a:gd name="connsiteX846" fmla="*/ 250540 w 343053"/>
                <a:gd name="connsiteY846" fmla="*/ 311120 h 454117"/>
                <a:gd name="connsiteX847" fmla="*/ 251244 w 343053"/>
                <a:gd name="connsiteY847" fmla="*/ 311589 h 454117"/>
                <a:gd name="connsiteX848" fmla="*/ 251479 w 343053"/>
                <a:gd name="connsiteY848" fmla="*/ 312998 h 454117"/>
                <a:gd name="connsiteX849" fmla="*/ 251244 w 343053"/>
                <a:gd name="connsiteY849" fmla="*/ 315581 h 454117"/>
                <a:gd name="connsiteX850" fmla="*/ 251244 w 343053"/>
                <a:gd name="connsiteY850" fmla="*/ 316520 h 454117"/>
                <a:gd name="connsiteX851" fmla="*/ 251479 w 343053"/>
                <a:gd name="connsiteY851" fmla="*/ 317225 h 454117"/>
                <a:gd name="connsiteX852" fmla="*/ 252653 w 343053"/>
                <a:gd name="connsiteY852" fmla="*/ 319808 h 454117"/>
                <a:gd name="connsiteX853" fmla="*/ 252653 w 343053"/>
                <a:gd name="connsiteY853" fmla="*/ 321217 h 454117"/>
                <a:gd name="connsiteX854" fmla="*/ 252183 w 343053"/>
                <a:gd name="connsiteY854" fmla="*/ 322391 h 454117"/>
                <a:gd name="connsiteX855" fmla="*/ 251009 w 343053"/>
                <a:gd name="connsiteY855" fmla="*/ 323799 h 454117"/>
                <a:gd name="connsiteX856" fmla="*/ 249835 w 343053"/>
                <a:gd name="connsiteY856" fmla="*/ 325208 h 454117"/>
                <a:gd name="connsiteX857" fmla="*/ 248896 w 343053"/>
                <a:gd name="connsiteY857" fmla="*/ 326147 h 454117"/>
                <a:gd name="connsiteX858" fmla="*/ 248192 w 343053"/>
                <a:gd name="connsiteY858" fmla="*/ 326617 h 454117"/>
                <a:gd name="connsiteX859" fmla="*/ 247487 w 343053"/>
                <a:gd name="connsiteY859" fmla="*/ 327087 h 454117"/>
                <a:gd name="connsiteX860" fmla="*/ 246548 w 343053"/>
                <a:gd name="connsiteY860" fmla="*/ 327321 h 454117"/>
                <a:gd name="connsiteX861" fmla="*/ 245843 w 343053"/>
                <a:gd name="connsiteY861" fmla="*/ 327321 h 454117"/>
                <a:gd name="connsiteX862" fmla="*/ 243965 w 343053"/>
                <a:gd name="connsiteY862" fmla="*/ 326852 h 454117"/>
                <a:gd name="connsiteX863" fmla="*/ 243026 w 343053"/>
                <a:gd name="connsiteY863" fmla="*/ 326852 h 454117"/>
                <a:gd name="connsiteX864" fmla="*/ 242556 w 343053"/>
                <a:gd name="connsiteY864" fmla="*/ 326852 h 454117"/>
                <a:gd name="connsiteX865" fmla="*/ 242321 w 343053"/>
                <a:gd name="connsiteY865" fmla="*/ 326852 h 454117"/>
                <a:gd name="connsiteX866" fmla="*/ 242087 w 343053"/>
                <a:gd name="connsiteY866" fmla="*/ 327087 h 454117"/>
                <a:gd name="connsiteX867" fmla="*/ 241852 w 343053"/>
                <a:gd name="connsiteY867" fmla="*/ 327321 h 454117"/>
                <a:gd name="connsiteX868" fmla="*/ 241617 w 343053"/>
                <a:gd name="connsiteY868" fmla="*/ 327556 h 454117"/>
                <a:gd name="connsiteX869" fmla="*/ 241147 w 343053"/>
                <a:gd name="connsiteY869" fmla="*/ 328495 h 454117"/>
                <a:gd name="connsiteX870" fmla="*/ 238799 w 343053"/>
                <a:gd name="connsiteY870" fmla="*/ 333427 h 454117"/>
                <a:gd name="connsiteX871" fmla="*/ 238330 w 343053"/>
                <a:gd name="connsiteY871" fmla="*/ 334131 h 454117"/>
                <a:gd name="connsiteX872" fmla="*/ 237860 w 343053"/>
                <a:gd name="connsiteY872" fmla="*/ 334601 h 454117"/>
                <a:gd name="connsiteX873" fmla="*/ 237625 w 343053"/>
                <a:gd name="connsiteY873" fmla="*/ 334835 h 454117"/>
                <a:gd name="connsiteX874" fmla="*/ 237390 w 343053"/>
                <a:gd name="connsiteY874" fmla="*/ 335070 h 454117"/>
                <a:gd name="connsiteX875" fmla="*/ 237390 w 343053"/>
                <a:gd name="connsiteY875" fmla="*/ 335305 h 454117"/>
                <a:gd name="connsiteX876" fmla="*/ 237625 w 343053"/>
                <a:gd name="connsiteY876" fmla="*/ 336010 h 454117"/>
                <a:gd name="connsiteX877" fmla="*/ 239738 w 343053"/>
                <a:gd name="connsiteY877" fmla="*/ 339532 h 454117"/>
                <a:gd name="connsiteX878" fmla="*/ 242321 w 343053"/>
                <a:gd name="connsiteY878" fmla="*/ 345167 h 454117"/>
                <a:gd name="connsiteX879" fmla="*/ 242321 w 343053"/>
                <a:gd name="connsiteY879" fmla="*/ 346341 h 454117"/>
                <a:gd name="connsiteX880" fmla="*/ 241852 w 343053"/>
                <a:gd name="connsiteY880" fmla="*/ 347515 h 454117"/>
                <a:gd name="connsiteX881" fmla="*/ 240443 w 343053"/>
                <a:gd name="connsiteY881" fmla="*/ 348454 h 454117"/>
                <a:gd name="connsiteX882" fmla="*/ 239269 w 343053"/>
                <a:gd name="connsiteY882" fmla="*/ 348689 h 454117"/>
                <a:gd name="connsiteX883" fmla="*/ 238330 w 343053"/>
                <a:gd name="connsiteY883" fmla="*/ 348689 h 454117"/>
                <a:gd name="connsiteX884" fmla="*/ 237625 w 343053"/>
                <a:gd name="connsiteY884" fmla="*/ 348454 h 454117"/>
                <a:gd name="connsiteX885" fmla="*/ 237390 w 343053"/>
                <a:gd name="connsiteY885" fmla="*/ 348454 h 454117"/>
                <a:gd name="connsiteX886" fmla="*/ 237156 w 343053"/>
                <a:gd name="connsiteY886" fmla="*/ 348454 h 454117"/>
                <a:gd name="connsiteX887" fmla="*/ 236686 w 343053"/>
                <a:gd name="connsiteY887" fmla="*/ 348689 h 454117"/>
                <a:gd name="connsiteX888" fmla="*/ 235747 w 343053"/>
                <a:gd name="connsiteY888" fmla="*/ 349393 h 454117"/>
                <a:gd name="connsiteX889" fmla="*/ 236216 w 343053"/>
                <a:gd name="connsiteY889" fmla="*/ 350567 h 454117"/>
                <a:gd name="connsiteX890" fmla="*/ 239504 w 343053"/>
                <a:gd name="connsiteY890" fmla="*/ 355264 h 454117"/>
                <a:gd name="connsiteX891" fmla="*/ 239973 w 343053"/>
                <a:gd name="connsiteY891" fmla="*/ 356203 h 454117"/>
                <a:gd name="connsiteX892" fmla="*/ 239973 w 343053"/>
                <a:gd name="connsiteY892" fmla="*/ 356438 h 454117"/>
                <a:gd name="connsiteX893" fmla="*/ 239973 w 343053"/>
                <a:gd name="connsiteY893" fmla="*/ 356672 h 454117"/>
                <a:gd name="connsiteX894" fmla="*/ 239269 w 343053"/>
                <a:gd name="connsiteY894" fmla="*/ 360195 h 454117"/>
                <a:gd name="connsiteX895" fmla="*/ 239269 w 343053"/>
                <a:gd name="connsiteY895" fmla="*/ 361838 h 454117"/>
                <a:gd name="connsiteX896" fmla="*/ 239738 w 343053"/>
                <a:gd name="connsiteY896" fmla="*/ 363012 h 454117"/>
                <a:gd name="connsiteX897" fmla="*/ 239738 w 343053"/>
                <a:gd name="connsiteY897" fmla="*/ 365595 h 454117"/>
                <a:gd name="connsiteX898" fmla="*/ 239738 w 343053"/>
                <a:gd name="connsiteY898" fmla="*/ 366065 h 454117"/>
                <a:gd name="connsiteX899" fmla="*/ 239973 w 343053"/>
                <a:gd name="connsiteY899" fmla="*/ 366534 h 454117"/>
                <a:gd name="connsiteX900" fmla="*/ 241852 w 343053"/>
                <a:gd name="connsiteY900" fmla="*/ 369822 h 454117"/>
                <a:gd name="connsiteX901" fmla="*/ 241382 w 343053"/>
                <a:gd name="connsiteY901" fmla="*/ 371465 h 454117"/>
                <a:gd name="connsiteX902" fmla="*/ 240443 w 343053"/>
                <a:gd name="connsiteY902" fmla="*/ 373109 h 454117"/>
                <a:gd name="connsiteX903" fmla="*/ 231285 w 343053"/>
                <a:gd name="connsiteY903" fmla="*/ 382266 h 454117"/>
                <a:gd name="connsiteX904" fmla="*/ 230346 w 343053"/>
                <a:gd name="connsiteY904" fmla="*/ 382971 h 454117"/>
                <a:gd name="connsiteX905" fmla="*/ 229407 w 343053"/>
                <a:gd name="connsiteY905" fmla="*/ 383441 h 454117"/>
                <a:gd name="connsiteX906" fmla="*/ 227294 w 343053"/>
                <a:gd name="connsiteY906" fmla="*/ 383910 h 454117"/>
                <a:gd name="connsiteX907" fmla="*/ 226589 w 343053"/>
                <a:gd name="connsiteY907" fmla="*/ 384145 h 454117"/>
                <a:gd name="connsiteX908" fmla="*/ 226120 w 343053"/>
                <a:gd name="connsiteY908" fmla="*/ 384380 h 454117"/>
                <a:gd name="connsiteX909" fmla="*/ 225180 w 343053"/>
                <a:gd name="connsiteY909" fmla="*/ 385084 h 454117"/>
                <a:gd name="connsiteX910" fmla="*/ 222598 w 343053"/>
                <a:gd name="connsiteY910" fmla="*/ 387432 h 454117"/>
                <a:gd name="connsiteX911" fmla="*/ 221893 w 343053"/>
                <a:gd name="connsiteY911" fmla="*/ 387902 h 454117"/>
                <a:gd name="connsiteX912" fmla="*/ 219545 w 343053"/>
                <a:gd name="connsiteY912" fmla="*/ 389311 h 454117"/>
                <a:gd name="connsiteX913" fmla="*/ 219310 w 343053"/>
                <a:gd name="connsiteY913" fmla="*/ 390015 h 454117"/>
                <a:gd name="connsiteX914" fmla="*/ 221424 w 343053"/>
                <a:gd name="connsiteY914" fmla="*/ 395885 h 454117"/>
                <a:gd name="connsiteX915" fmla="*/ 213675 w 343053"/>
                <a:gd name="connsiteY915" fmla="*/ 394477 h 454117"/>
                <a:gd name="connsiteX916" fmla="*/ 207805 w 343053"/>
                <a:gd name="connsiteY916" fmla="*/ 391424 h 454117"/>
                <a:gd name="connsiteX917" fmla="*/ 199352 w 343053"/>
                <a:gd name="connsiteY917" fmla="*/ 382736 h 454117"/>
                <a:gd name="connsiteX918" fmla="*/ 198412 w 343053"/>
                <a:gd name="connsiteY918" fmla="*/ 381327 h 454117"/>
                <a:gd name="connsiteX919" fmla="*/ 197943 w 343053"/>
                <a:gd name="connsiteY919" fmla="*/ 379214 h 454117"/>
                <a:gd name="connsiteX920" fmla="*/ 198647 w 343053"/>
                <a:gd name="connsiteY920" fmla="*/ 377336 h 454117"/>
                <a:gd name="connsiteX921" fmla="*/ 198882 w 343053"/>
                <a:gd name="connsiteY921" fmla="*/ 377101 h 454117"/>
                <a:gd name="connsiteX922" fmla="*/ 198178 w 343053"/>
                <a:gd name="connsiteY922" fmla="*/ 377101 h 454117"/>
                <a:gd name="connsiteX923" fmla="*/ 196769 w 343053"/>
                <a:gd name="connsiteY923" fmla="*/ 377805 h 454117"/>
                <a:gd name="connsiteX924" fmla="*/ 194421 w 343053"/>
                <a:gd name="connsiteY924" fmla="*/ 378510 h 454117"/>
                <a:gd name="connsiteX925" fmla="*/ 189490 w 343053"/>
                <a:gd name="connsiteY925" fmla="*/ 374987 h 454117"/>
                <a:gd name="connsiteX926" fmla="*/ 189020 w 343053"/>
                <a:gd name="connsiteY926" fmla="*/ 374987 h 454117"/>
                <a:gd name="connsiteX927" fmla="*/ 185498 w 343053"/>
                <a:gd name="connsiteY927" fmla="*/ 374753 h 454117"/>
                <a:gd name="connsiteX928" fmla="*/ 184089 w 343053"/>
                <a:gd name="connsiteY928" fmla="*/ 374987 h 454117"/>
                <a:gd name="connsiteX929" fmla="*/ 182680 w 343053"/>
                <a:gd name="connsiteY929" fmla="*/ 375692 h 454117"/>
                <a:gd name="connsiteX930" fmla="*/ 181741 w 343053"/>
                <a:gd name="connsiteY930" fmla="*/ 376631 h 454117"/>
                <a:gd name="connsiteX931" fmla="*/ 179863 w 343053"/>
                <a:gd name="connsiteY931" fmla="*/ 378744 h 454117"/>
                <a:gd name="connsiteX932" fmla="*/ 170470 w 343053"/>
                <a:gd name="connsiteY932" fmla="*/ 385084 h 454117"/>
                <a:gd name="connsiteX933" fmla="*/ 168827 w 343053"/>
                <a:gd name="connsiteY933" fmla="*/ 386728 h 454117"/>
                <a:gd name="connsiteX934" fmla="*/ 167183 w 343053"/>
                <a:gd name="connsiteY934" fmla="*/ 389076 h 454117"/>
                <a:gd name="connsiteX935" fmla="*/ 151451 w 343053"/>
                <a:gd name="connsiteY935" fmla="*/ 403869 h 454117"/>
                <a:gd name="connsiteX936" fmla="*/ 150042 w 343053"/>
                <a:gd name="connsiteY936" fmla="*/ 405982 h 454117"/>
                <a:gd name="connsiteX937" fmla="*/ 149103 w 343053"/>
                <a:gd name="connsiteY937" fmla="*/ 408095 h 454117"/>
                <a:gd name="connsiteX938" fmla="*/ 147929 w 343053"/>
                <a:gd name="connsiteY938" fmla="*/ 410443 h 454117"/>
                <a:gd name="connsiteX939" fmla="*/ 136658 w 343053"/>
                <a:gd name="connsiteY939" fmla="*/ 425236 h 454117"/>
                <a:gd name="connsiteX940" fmla="*/ 124683 w 343053"/>
                <a:gd name="connsiteY940" fmla="*/ 445195 h 454117"/>
                <a:gd name="connsiteX941" fmla="*/ 120691 w 343053"/>
                <a:gd name="connsiteY941" fmla="*/ 454118 h 454117"/>
                <a:gd name="connsiteX942" fmla="*/ 119047 w 343053"/>
                <a:gd name="connsiteY942" fmla="*/ 451769 h 454117"/>
                <a:gd name="connsiteX943" fmla="*/ 201700 w 343053"/>
                <a:gd name="connsiteY943" fmla="*/ 419131 h 454117"/>
                <a:gd name="connsiteX944" fmla="*/ 197238 w 343053"/>
                <a:gd name="connsiteY944" fmla="*/ 418192 h 454117"/>
                <a:gd name="connsiteX945" fmla="*/ 193247 w 343053"/>
                <a:gd name="connsiteY945" fmla="*/ 414670 h 454117"/>
                <a:gd name="connsiteX946" fmla="*/ 189490 w 343053"/>
                <a:gd name="connsiteY946" fmla="*/ 413261 h 454117"/>
                <a:gd name="connsiteX947" fmla="*/ 186437 w 343053"/>
                <a:gd name="connsiteY947" fmla="*/ 409974 h 454117"/>
                <a:gd name="connsiteX948" fmla="*/ 183150 w 343053"/>
                <a:gd name="connsiteY948" fmla="*/ 408565 h 454117"/>
                <a:gd name="connsiteX949" fmla="*/ 178454 w 343053"/>
                <a:gd name="connsiteY949" fmla="*/ 405278 h 454117"/>
                <a:gd name="connsiteX950" fmla="*/ 177514 w 343053"/>
                <a:gd name="connsiteY950" fmla="*/ 401521 h 454117"/>
                <a:gd name="connsiteX951" fmla="*/ 180567 w 343053"/>
                <a:gd name="connsiteY951" fmla="*/ 400582 h 454117"/>
                <a:gd name="connsiteX952" fmla="*/ 186672 w 343053"/>
                <a:gd name="connsiteY952" fmla="*/ 401756 h 454117"/>
                <a:gd name="connsiteX953" fmla="*/ 190429 w 343053"/>
                <a:gd name="connsiteY953" fmla="*/ 403634 h 454117"/>
                <a:gd name="connsiteX954" fmla="*/ 192307 w 343053"/>
                <a:gd name="connsiteY954" fmla="*/ 401521 h 454117"/>
                <a:gd name="connsiteX955" fmla="*/ 203109 w 343053"/>
                <a:gd name="connsiteY955" fmla="*/ 411383 h 454117"/>
                <a:gd name="connsiteX956" fmla="*/ 208744 w 343053"/>
                <a:gd name="connsiteY956" fmla="*/ 414905 h 454117"/>
                <a:gd name="connsiteX957" fmla="*/ 216023 w 343053"/>
                <a:gd name="connsiteY957" fmla="*/ 414435 h 454117"/>
                <a:gd name="connsiteX958" fmla="*/ 220249 w 343053"/>
                <a:gd name="connsiteY958" fmla="*/ 415374 h 454117"/>
                <a:gd name="connsiteX959" fmla="*/ 223302 w 343053"/>
                <a:gd name="connsiteY959" fmla="*/ 414905 h 454117"/>
                <a:gd name="connsiteX960" fmla="*/ 224711 w 343053"/>
                <a:gd name="connsiteY960" fmla="*/ 414905 h 454117"/>
                <a:gd name="connsiteX961" fmla="*/ 225180 w 343053"/>
                <a:gd name="connsiteY961" fmla="*/ 415609 h 454117"/>
                <a:gd name="connsiteX962" fmla="*/ 225180 w 343053"/>
                <a:gd name="connsiteY962" fmla="*/ 416079 h 454117"/>
                <a:gd name="connsiteX963" fmla="*/ 225415 w 343053"/>
                <a:gd name="connsiteY963" fmla="*/ 419366 h 454117"/>
                <a:gd name="connsiteX964" fmla="*/ 221189 w 343053"/>
                <a:gd name="connsiteY964" fmla="*/ 418662 h 454117"/>
                <a:gd name="connsiteX965" fmla="*/ 207100 w 343053"/>
                <a:gd name="connsiteY965" fmla="*/ 419366 h 454117"/>
                <a:gd name="connsiteX966" fmla="*/ 201700 w 343053"/>
                <a:gd name="connsiteY966" fmla="*/ 419131 h 454117"/>
                <a:gd name="connsiteX967" fmla="*/ 48370 w 343053"/>
                <a:gd name="connsiteY967" fmla="*/ 200291 h 454117"/>
                <a:gd name="connsiteX968" fmla="*/ 29351 w 343053"/>
                <a:gd name="connsiteY968" fmla="*/ 147929 h 454117"/>
                <a:gd name="connsiteX969" fmla="*/ 33108 w 343053"/>
                <a:gd name="connsiteY969" fmla="*/ 148868 h 454117"/>
                <a:gd name="connsiteX970" fmla="*/ 34047 w 343053"/>
                <a:gd name="connsiteY970" fmla="*/ 150277 h 454117"/>
                <a:gd name="connsiteX971" fmla="*/ 33577 w 343053"/>
                <a:gd name="connsiteY971" fmla="*/ 151920 h 454117"/>
                <a:gd name="connsiteX972" fmla="*/ 39917 w 343053"/>
                <a:gd name="connsiteY972" fmla="*/ 168122 h 454117"/>
                <a:gd name="connsiteX973" fmla="*/ 45553 w 343053"/>
                <a:gd name="connsiteY973" fmla="*/ 174697 h 454117"/>
                <a:gd name="connsiteX974" fmla="*/ 47431 w 343053"/>
                <a:gd name="connsiteY974" fmla="*/ 178454 h 454117"/>
                <a:gd name="connsiteX975" fmla="*/ 46962 w 343053"/>
                <a:gd name="connsiteY975" fmla="*/ 182915 h 454117"/>
                <a:gd name="connsiteX976" fmla="*/ 50953 w 343053"/>
                <a:gd name="connsiteY976" fmla="*/ 185967 h 454117"/>
                <a:gd name="connsiteX977" fmla="*/ 53066 w 343053"/>
                <a:gd name="connsiteY977" fmla="*/ 189020 h 454117"/>
                <a:gd name="connsiteX978" fmla="*/ 51892 w 343053"/>
                <a:gd name="connsiteY978" fmla="*/ 191603 h 454117"/>
                <a:gd name="connsiteX979" fmla="*/ 51658 w 343053"/>
                <a:gd name="connsiteY979" fmla="*/ 192542 h 454117"/>
                <a:gd name="connsiteX980" fmla="*/ 54945 w 343053"/>
                <a:gd name="connsiteY980" fmla="*/ 197473 h 454117"/>
                <a:gd name="connsiteX981" fmla="*/ 53066 w 343053"/>
                <a:gd name="connsiteY981" fmla="*/ 201465 h 454117"/>
                <a:gd name="connsiteX982" fmla="*/ 48370 w 343053"/>
                <a:gd name="connsiteY982" fmla="*/ 200291 h 454117"/>
                <a:gd name="connsiteX983" fmla="*/ 15967 w 343053"/>
                <a:gd name="connsiteY983" fmla="*/ 90166 h 454117"/>
                <a:gd name="connsiteX984" fmla="*/ 15732 w 343053"/>
                <a:gd name="connsiteY984" fmla="*/ 84296 h 454117"/>
                <a:gd name="connsiteX985" fmla="*/ 2818 w 343053"/>
                <a:gd name="connsiteY985" fmla="*/ 40152 h 454117"/>
                <a:gd name="connsiteX986" fmla="*/ 0 w 343053"/>
                <a:gd name="connsiteY986" fmla="*/ 19254 h 454117"/>
                <a:gd name="connsiteX987" fmla="*/ 1174 w 343053"/>
                <a:gd name="connsiteY987" fmla="*/ 13853 h 454117"/>
                <a:gd name="connsiteX988" fmla="*/ 4461 w 343053"/>
                <a:gd name="connsiteY988" fmla="*/ 8218 h 454117"/>
                <a:gd name="connsiteX989" fmla="*/ 6575 w 343053"/>
                <a:gd name="connsiteY989" fmla="*/ 5870 h 454117"/>
                <a:gd name="connsiteX990" fmla="*/ 10097 w 343053"/>
                <a:gd name="connsiteY990" fmla="*/ 2583 h 454117"/>
                <a:gd name="connsiteX991" fmla="*/ 14558 w 343053"/>
                <a:gd name="connsiteY991" fmla="*/ 0 h 454117"/>
                <a:gd name="connsiteX992" fmla="*/ 15028 w 343053"/>
                <a:gd name="connsiteY992" fmla="*/ 4696 h 454117"/>
                <a:gd name="connsiteX993" fmla="*/ 9157 w 343053"/>
                <a:gd name="connsiteY993" fmla="*/ 10331 h 454117"/>
                <a:gd name="connsiteX994" fmla="*/ 5870 w 343053"/>
                <a:gd name="connsiteY994" fmla="*/ 14323 h 454117"/>
                <a:gd name="connsiteX995" fmla="*/ 4227 w 343053"/>
                <a:gd name="connsiteY995" fmla="*/ 18315 h 454117"/>
                <a:gd name="connsiteX996" fmla="*/ 3992 w 343053"/>
                <a:gd name="connsiteY996" fmla="*/ 23716 h 454117"/>
                <a:gd name="connsiteX997" fmla="*/ 14323 w 343053"/>
                <a:gd name="connsiteY997" fmla="*/ 63163 h 454117"/>
                <a:gd name="connsiteX998" fmla="*/ 18550 w 343053"/>
                <a:gd name="connsiteY998" fmla="*/ 79130 h 454117"/>
                <a:gd name="connsiteX999" fmla="*/ 19489 w 343053"/>
                <a:gd name="connsiteY999" fmla="*/ 90401 h 454117"/>
                <a:gd name="connsiteX1000" fmla="*/ 19254 w 343053"/>
                <a:gd name="connsiteY1000" fmla="*/ 92514 h 454117"/>
                <a:gd name="connsiteX1001" fmla="*/ 18550 w 343053"/>
                <a:gd name="connsiteY1001" fmla="*/ 98149 h 454117"/>
                <a:gd name="connsiteX1002" fmla="*/ 15967 w 343053"/>
                <a:gd name="connsiteY1002" fmla="*/ 90166 h 454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</a:cxnLst>
              <a:rect l="l" t="t" r="r" b="b"/>
              <a:pathLst>
                <a:path w="343053" h="454117">
                  <a:moveTo>
                    <a:pt x="119047" y="451769"/>
                  </a:moveTo>
                  <a:cubicBezTo>
                    <a:pt x="119047" y="451300"/>
                    <a:pt x="119047" y="451065"/>
                    <a:pt x="119047" y="450361"/>
                  </a:cubicBezTo>
                  <a:cubicBezTo>
                    <a:pt x="119282" y="448247"/>
                    <a:pt x="119282" y="446134"/>
                    <a:pt x="119282" y="443551"/>
                  </a:cubicBezTo>
                  <a:lnTo>
                    <a:pt x="119282" y="443316"/>
                  </a:lnTo>
                  <a:lnTo>
                    <a:pt x="119282" y="443082"/>
                  </a:lnTo>
                  <a:cubicBezTo>
                    <a:pt x="119517" y="442612"/>
                    <a:pt x="119517" y="442142"/>
                    <a:pt x="119517" y="441438"/>
                  </a:cubicBezTo>
                  <a:cubicBezTo>
                    <a:pt x="119517" y="441203"/>
                    <a:pt x="119517" y="440734"/>
                    <a:pt x="119517" y="440499"/>
                  </a:cubicBezTo>
                  <a:cubicBezTo>
                    <a:pt x="119517" y="439090"/>
                    <a:pt x="120456" y="438386"/>
                    <a:pt x="120926" y="437681"/>
                  </a:cubicBezTo>
                  <a:cubicBezTo>
                    <a:pt x="121161" y="437446"/>
                    <a:pt x="121395" y="437211"/>
                    <a:pt x="121630" y="436977"/>
                  </a:cubicBezTo>
                  <a:cubicBezTo>
                    <a:pt x="121865" y="436507"/>
                    <a:pt x="122100" y="436037"/>
                    <a:pt x="122570" y="435568"/>
                  </a:cubicBezTo>
                  <a:cubicBezTo>
                    <a:pt x="122804" y="435098"/>
                    <a:pt x="123039" y="434629"/>
                    <a:pt x="123274" y="434159"/>
                  </a:cubicBezTo>
                  <a:cubicBezTo>
                    <a:pt x="123509" y="433689"/>
                    <a:pt x="123978" y="433220"/>
                    <a:pt x="124448" y="432985"/>
                  </a:cubicBezTo>
                  <a:cubicBezTo>
                    <a:pt x="124683" y="432750"/>
                    <a:pt x="124918" y="432515"/>
                    <a:pt x="125152" y="432281"/>
                  </a:cubicBezTo>
                  <a:cubicBezTo>
                    <a:pt x="125622" y="431811"/>
                    <a:pt x="125857" y="431107"/>
                    <a:pt x="126092" y="430402"/>
                  </a:cubicBezTo>
                  <a:cubicBezTo>
                    <a:pt x="126326" y="429933"/>
                    <a:pt x="126326" y="429698"/>
                    <a:pt x="126561" y="429228"/>
                  </a:cubicBezTo>
                  <a:lnTo>
                    <a:pt x="127031" y="428524"/>
                  </a:lnTo>
                  <a:cubicBezTo>
                    <a:pt x="128205" y="426410"/>
                    <a:pt x="129144" y="424532"/>
                    <a:pt x="130788" y="422654"/>
                  </a:cubicBezTo>
                  <a:cubicBezTo>
                    <a:pt x="131727" y="421479"/>
                    <a:pt x="132666" y="420540"/>
                    <a:pt x="133605" y="419601"/>
                  </a:cubicBezTo>
                  <a:cubicBezTo>
                    <a:pt x="135719" y="417488"/>
                    <a:pt x="137832" y="415374"/>
                    <a:pt x="138771" y="412322"/>
                  </a:cubicBezTo>
                  <a:cubicBezTo>
                    <a:pt x="139006" y="411852"/>
                    <a:pt x="139241" y="410678"/>
                    <a:pt x="139006" y="410443"/>
                  </a:cubicBezTo>
                  <a:cubicBezTo>
                    <a:pt x="139006" y="410443"/>
                    <a:pt x="138771" y="410209"/>
                    <a:pt x="138771" y="410209"/>
                  </a:cubicBezTo>
                  <a:cubicBezTo>
                    <a:pt x="138536" y="410209"/>
                    <a:pt x="138067" y="410209"/>
                    <a:pt x="137832" y="410443"/>
                  </a:cubicBezTo>
                  <a:lnTo>
                    <a:pt x="137362" y="410678"/>
                  </a:lnTo>
                  <a:cubicBezTo>
                    <a:pt x="136423" y="410913"/>
                    <a:pt x="135719" y="410913"/>
                    <a:pt x="135014" y="410913"/>
                  </a:cubicBezTo>
                  <a:cubicBezTo>
                    <a:pt x="133136" y="410913"/>
                    <a:pt x="131727" y="410209"/>
                    <a:pt x="130318" y="409035"/>
                  </a:cubicBezTo>
                  <a:cubicBezTo>
                    <a:pt x="129379" y="408095"/>
                    <a:pt x="129144" y="407391"/>
                    <a:pt x="129379" y="406452"/>
                  </a:cubicBezTo>
                  <a:cubicBezTo>
                    <a:pt x="129849" y="405043"/>
                    <a:pt x="131492" y="404573"/>
                    <a:pt x="133136" y="404104"/>
                  </a:cubicBezTo>
                  <a:lnTo>
                    <a:pt x="140415" y="401990"/>
                  </a:lnTo>
                  <a:cubicBezTo>
                    <a:pt x="140415" y="401990"/>
                    <a:pt x="140415" y="401990"/>
                    <a:pt x="140415" y="401756"/>
                  </a:cubicBezTo>
                  <a:cubicBezTo>
                    <a:pt x="140650" y="400816"/>
                    <a:pt x="141589" y="400112"/>
                    <a:pt x="142528" y="399877"/>
                  </a:cubicBezTo>
                  <a:cubicBezTo>
                    <a:pt x="142763" y="399877"/>
                    <a:pt x="142998" y="399877"/>
                    <a:pt x="143233" y="399877"/>
                  </a:cubicBezTo>
                  <a:cubicBezTo>
                    <a:pt x="143937" y="399877"/>
                    <a:pt x="144407" y="400112"/>
                    <a:pt x="145111" y="400347"/>
                  </a:cubicBezTo>
                  <a:cubicBezTo>
                    <a:pt x="145346" y="400347"/>
                    <a:pt x="145346" y="400582"/>
                    <a:pt x="145581" y="400582"/>
                  </a:cubicBezTo>
                  <a:cubicBezTo>
                    <a:pt x="145815" y="400582"/>
                    <a:pt x="146285" y="400816"/>
                    <a:pt x="146520" y="400816"/>
                  </a:cubicBezTo>
                  <a:cubicBezTo>
                    <a:pt x="146520" y="400816"/>
                    <a:pt x="146520" y="400112"/>
                    <a:pt x="146520" y="399877"/>
                  </a:cubicBezTo>
                  <a:cubicBezTo>
                    <a:pt x="146520" y="399408"/>
                    <a:pt x="146520" y="398703"/>
                    <a:pt x="146520" y="398233"/>
                  </a:cubicBezTo>
                  <a:cubicBezTo>
                    <a:pt x="147224" y="395181"/>
                    <a:pt x="150042" y="393537"/>
                    <a:pt x="152390" y="392129"/>
                  </a:cubicBezTo>
                  <a:cubicBezTo>
                    <a:pt x="153329" y="391659"/>
                    <a:pt x="154269" y="390955"/>
                    <a:pt x="154973" y="390485"/>
                  </a:cubicBezTo>
                  <a:cubicBezTo>
                    <a:pt x="158965" y="387197"/>
                    <a:pt x="160843" y="384615"/>
                    <a:pt x="160843" y="383910"/>
                  </a:cubicBezTo>
                  <a:cubicBezTo>
                    <a:pt x="160843" y="383910"/>
                    <a:pt x="160843" y="383910"/>
                    <a:pt x="160843" y="383910"/>
                  </a:cubicBezTo>
                  <a:cubicBezTo>
                    <a:pt x="160843" y="383910"/>
                    <a:pt x="160843" y="383910"/>
                    <a:pt x="160608" y="383910"/>
                  </a:cubicBezTo>
                  <a:cubicBezTo>
                    <a:pt x="160608" y="383910"/>
                    <a:pt x="160608" y="383910"/>
                    <a:pt x="160608" y="383910"/>
                  </a:cubicBezTo>
                  <a:cubicBezTo>
                    <a:pt x="160374" y="383910"/>
                    <a:pt x="159669" y="384145"/>
                    <a:pt x="159434" y="384380"/>
                  </a:cubicBezTo>
                  <a:cubicBezTo>
                    <a:pt x="158730" y="384615"/>
                    <a:pt x="158025" y="384849"/>
                    <a:pt x="157556" y="384849"/>
                  </a:cubicBezTo>
                  <a:cubicBezTo>
                    <a:pt x="157086" y="384849"/>
                    <a:pt x="155677" y="384615"/>
                    <a:pt x="155443" y="382736"/>
                  </a:cubicBezTo>
                  <a:cubicBezTo>
                    <a:pt x="155208" y="381797"/>
                    <a:pt x="155677" y="380858"/>
                    <a:pt x="155912" y="379918"/>
                  </a:cubicBezTo>
                  <a:cubicBezTo>
                    <a:pt x="155912" y="379684"/>
                    <a:pt x="156147" y="379449"/>
                    <a:pt x="156147" y="379214"/>
                  </a:cubicBezTo>
                  <a:cubicBezTo>
                    <a:pt x="156147" y="378979"/>
                    <a:pt x="156147" y="378744"/>
                    <a:pt x="156382" y="378510"/>
                  </a:cubicBezTo>
                  <a:cubicBezTo>
                    <a:pt x="156382" y="377805"/>
                    <a:pt x="156617" y="376866"/>
                    <a:pt x="157086" y="376396"/>
                  </a:cubicBezTo>
                  <a:cubicBezTo>
                    <a:pt x="157321" y="375692"/>
                    <a:pt x="158025" y="375457"/>
                    <a:pt x="158260" y="374987"/>
                  </a:cubicBezTo>
                  <a:cubicBezTo>
                    <a:pt x="158495" y="374753"/>
                    <a:pt x="158730" y="374518"/>
                    <a:pt x="158965" y="374283"/>
                  </a:cubicBezTo>
                  <a:cubicBezTo>
                    <a:pt x="159434" y="373579"/>
                    <a:pt x="159904" y="372874"/>
                    <a:pt x="160139" y="371935"/>
                  </a:cubicBezTo>
                  <a:cubicBezTo>
                    <a:pt x="160843" y="370057"/>
                    <a:pt x="160843" y="368413"/>
                    <a:pt x="160843" y="366534"/>
                  </a:cubicBezTo>
                  <a:lnTo>
                    <a:pt x="160843" y="365126"/>
                  </a:lnTo>
                  <a:lnTo>
                    <a:pt x="162252" y="365360"/>
                  </a:lnTo>
                  <a:cubicBezTo>
                    <a:pt x="166244" y="365830"/>
                    <a:pt x="170235" y="368883"/>
                    <a:pt x="171410" y="372874"/>
                  </a:cubicBezTo>
                  <a:cubicBezTo>
                    <a:pt x="171879" y="374283"/>
                    <a:pt x="171175" y="375457"/>
                    <a:pt x="170940" y="376396"/>
                  </a:cubicBezTo>
                  <a:cubicBezTo>
                    <a:pt x="170705" y="377101"/>
                    <a:pt x="170470" y="377336"/>
                    <a:pt x="170470" y="377805"/>
                  </a:cubicBezTo>
                  <a:cubicBezTo>
                    <a:pt x="170470" y="378040"/>
                    <a:pt x="170470" y="378040"/>
                    <a:pt x="170470" y="378040"/>
                  </a:cubicBezTo>
                  <a:cubicBezTo>
                    <a:pt x="171175" y="378040"/>
                    <a:pt x="172114" y="377570"/>
                    <a:pt x="172818" y="376866"/>
                  </a:cubicBezTo>
                  <a:cubicBezTo>
                    <a:pt x="174932" y="374987"/>
                    <a:pt x="176340" y="372639"/>
                    <a:pt x="177045" y="368883"/>
                  </a:cubicBezTo>
                  <a:cubicBezTo>
                    <a:pt x="177514" y="366769"/>
                    <a:pt x="177749" y="363482"/>
                    <a:pt x="176575" y="361134"/>
                  </a:cubicBezTo>
                  <a:cubicBezTo>
                    <a:pt x="176340" y="360899"/>
                    <a:pt x="176340" y="360430"/>
                    <a:pt x="176106" y="359960"/>
                  </a:cubicBezTo>
                  <a:cubicBezTo>
                    <a:pt x="175871" y="359020"/>
                    <a:pt x="175401" y="358081"/>
                    <a:pt x="174932" y="357612"/>
                  </a:cubicBezTo>
                  <a:cubicBezTo>
                    <a:pt x="174227" y="357142"/>
                    <a:pt x="171879" y="356438"/>
                    <a:pt x="170940" y="356438"/>
                  </a:cubicBezTo>
                  <a:cubicBezTo>
                    <a:pt x="168592" y="356672"/>
                    <a:pt x="166713" y="358786"/>
                    <a:pt x="164835" y="360664"/>
                  </a:cubicBezTo>
                  <a:cubicBezTo>
                    <a:pt x="164365" y="361134"/>
                    <a:pt x="163896" y="361604"/>
                    <a:pt x="163426" y="362073"/>
                  </a:cubicBezTo>
                  <a:cubicBezTo>
                    <a:pt x="161548" y="363952"/>
                    <a:pt x="159434" y="365360"/>
                    <a:pt x="156147" y="365595"/>
                  </a:cubicBezTo>
                  <a:cubicBezTo>
                    <a:pt x="154738" y="365595"/>
                    <a:pt x="153564" y="365830"/>
                    <a:pt x="152155" y="365830"/>
                  </a:cubicBezTo>
                  <a:cubicBezTo>
                    <a:pt x="149807" y="366065"/>
                    <a:pt x="147459" y="366300"/>
                    <a:pt x="145111" y="366300"/>
                  </a:cubicBezTo>
                  <a:cubicBezTo>
                    <a:pt x="144641" y="366300"/>
                    <a:pt x="144172" y="366300"/>
                    <a:pt x="143702" y="366300"/>
                  </a:cubicBezTo>
                  <a:cubicBezTo>
                    <a:pt x="141354" y="366300"/>
                    <a:pt x="139710" y="365830"/>
                    <a:pt x="139006" y="365126"/>
                  </a:cubicBezTo>
                  <a:cubicBezTo>
                    <a:pt x="138067" y="364186"/>
                    <a:pt x="138302" y="362778"/>
                    <a:pt x="138302" y="361604"/>
                  </a:cubicBezTo>
                  <a:cubicBezTo>
                    <a:pt x="138302" y="360899"/>
                    <a:pt x="138302" y="360195"/>
                    <a:pt x="138302" y="359725"/>
                  </a:cubicBezTo>
                  <a:cubicBezTo>
                    <a:pt x="138067" y="359490"/>
                    <a:pt x="136658" y="359256"/>
                    <a:pt x="135954" y="359256"/>
                  </a:cubicBezTo>
                  <a:cubicBezTo>
                    <a:pt x="135484" y="359256"/>
                    <a:pt x="135014" y="359256"/>
                    <a:pt x="134780" y="359256"/>
                  </a:cubicBezTo>
                  <a:cubicBezTo>
                    <a:pt x="134780" y="359256"/>
                    <a:pt x="134545" y="359256"/>
                    <a:pt x="134545" y="359256"/>
                  </a:cubicBezTo>
                  <a:cubicBezTo>
                    <a:pt x="133840" y="359256"/>
                    <a:pt x="133136" y="359256"/>
                    <a:pt x="132431" y="358551"/>
                  </a:cubicBezTo>
                  <a:cubicBezTo>
                    <a:pt x="131962" y="358081"/>
                    <a:pt x="131727" y="357142"/>
                    <a:pt x="131492" y="356203"/>
                  </a:cubicBezTo>
                  <a:cubicBezTo>
                    <a:pt x="131492" y="355968"/>
                    <a:pt x="131492" y="355733"/>
                    <a:pt x="131257" y="355498"/>
                  </a:cubicBezTo>
                  <a:lnTo>
                    <a:pt x="130788" y="354324"/>
                  </a:lnTo>
                  <a:lnTo>
                    <a:pt x="131962" y="354090"/>
                  </a:lnTo>
                  <a:cubicBezTo>
                    <a:pt x="132431" y="354090"/>
                    <a:pt x="132901" y="353855"/>
                    <a:pt x="133371" y="353855"/>
                  </a:cubicBezTo>
                  <a:cubicBezTo>
                    <a:pt x="135249" y="353620"/>
                    <a:pt x="135719" y="353385"/>
                    <a:pt x="135719" y="352446"/>
                  </a:cubicBezTo>
                  <a:cubicBezTo>
                    <a:pt x="135719" y="351507"/>
                    <a:pt x="135249" y="350567"/>
                    <a:pt x="134545" y="349628"/>
                  </a:cubicBezTo>
                  <a:cubicBezTo>
                    <a:pt x="134075" y="348924"/>
                    <a:pt x="133605" y="348219"/>
                    <a:pt x="133371" y="347515"/>
                  </a:cubicBezTo>
                  <a:cubicBezTo>
                    <a:pt x="132901" y="346341"/>
                    <a:pt x="132901" y="345637"/>
                    <a:pt x="133371" y="344697"/>
                  </a:cubicBezTo>
                  <a:cubicBezTo>
                    <a:pt x="134075" y="343523"/>
                    <a:pt x="135484" y="343288"/>
                    <a:pt x="136658" y="343054"/>
                  </a:cubicBezTo>
                  <a:cubicBezTo>
                    <a:pt x="137128" y="343054"/>
                    <a:pt x="137832" y="342819"/>
                    <a:pt x="138536" y="342819"/>
                  </a:cubicBezTo>
                  <a:cubicBezTo>
                    <a:pt x="141824" y="342819"/>
                    <a:pt x="142528" y="344697"/>
                    <a:pt x="142763" y="345637"/>
                  </a:cubicBezTo>
                  <a:cubicBezTo>
                    <a:pt x="142763" y="346106"/>
                    <a:pt x="142763" y="346811"/>
                    <a:pt x="142763" y="347515"/>
                  </a:cubicBezTo>
                  <a:cubicBezTo>
                    <a:pt x="142763" y="347750"/>
                    <a:pt x="142763" y="347985"/>
                    <a:pt x="142763" y="348219"/>
                  </a:cubicBezTo>
                  <a:cubicBezTo>
                    <a:pt x="142763" y="348219"/>
                    <a:pt x="142998" y="348219"/>
                    <a:pt x="142998" y="348219"/>
                  </a:cubicBezTo>
                  <a:cubicBezTo>
                    <a:pt x="142998" y="348219"/>
                    <a:pt x="142998" y="347985"/>
                    <a:pt x="142998" y="347985"/>
                  </a:cubicBezTo>
                  <a:cubicBezTo>
                    <a:pt x="142998" y="347750"/>
                    <a:pt x="142998" y="347515"/>
                    <a:pt x="142998" y="347045"/>
                  </a:cubicBezTo>
                  <a:cubicBezTo>
                    <a:pt x="143233" y="345871"/>
                    <a:pt x="143467" y="345402"/>
                    <a:pt x="144172" y="344463"/>
                  </a:cubicBezTo>
                  <a:cubicBezTo>
                    <a:pt x="145346" y="342584"/>
                    <a:pt x="146989" y="341645"/>
                    <a:pt x="148633" y="340940"/>
                  </a:cubicBezTo>
                  <a:cubicBezTo>
                    <a:pt x="149572" y="340706"/>
                    <a:pt x="150277" y="340471"/>
                    <a:pt x="150981" y="340471"/>
                  </a:cubicBezTo>
                  <a:cubicBezTo>
                    <a:pt x="152155" y="340471"/>
                    <a:pt x="153329" y="340706"/>
                    <a:pt x="154503" y="341175"/>
                  </a:cubicBezTo>
                  <a:cubicBezTo>
                    <a:pt x="156617" y="341880"/>
                    <a:pt x="158495" y="342584"/>
                    <a:pt x="158730" y="344228"/>
                  </a:cubicBezTo>
                  <a:cubicBezTo>
                    <a:pt x="158730" y="344697"/>
                    <a:pt x="158730" y="345402"/>
                    <a:pt x="157791" y="346106"/>
                  </a:cubicBezTo>
                  <a:cubicBezTo>
                    <a:pt x="158730" y="346106"/>
                    <a:pt x="159434" y="346341"/>
                    <a:pt x="160139" y="346576"/>
                  </a:cubicBezTo>
                  <a:lnTo>
                    <a:pt x="161782" y="347280"/>
                  </a:lnTo>
                  <a:lnTo>
                    <a:pt x="160374" y="348454"/>
                  </a:lnTo>
                  <a:cubicBezTo>
                    <a:pt x="159200" y="349628"/>
                    <a:pt x="158025" y="351037"/>
                    <a:pt x="157086" y="352681"/>
                  </a:cubicBezTo>
                  <a:cubicBezTo>
                    <a:pt x="157556" y="352446"/>
                    <a:pt x="158260" y="352446"/>
                    <a:pt x="158730" y="352211"/>
                  </a:cubicBezTo>
                  <a:cubicBezTo>
                    <a:pt x="159200" y="352211"/>
                    <a:pt x="159904" y="351976"/>
                    <a:pt x="160374" y="351976"/>
                  </a:cubicBezTo>
                  <a:cubicBezTo>
                    <a:pt x="161313" y="351976"/>
                    <a:pt x="161782" y="351741"/>
                    <a:pt x="162722" y="351507"/>
                  </a:cubicBezTo>
                  <a:cubicBezTo>
                    <a:pt x="165539" y="350098"/>
                    <a:pt x="167418" y="348924"/>
                    <a:pt x="168122" y="346341"/>
                  </a:cubicBezTo>
                  <a:cubicBezTo>
                    <a:pt x="168592" y="344932"/>
                    <a:pt x="168592" y="344228"/>
                    <a:pt x="168357" y="343993"/>
                  </a:cubicBezTo>
                  <a:cubicBezTo>
                    <a:pt x="167653" y="343993"/>
                    <a:pt x="166948" y="344228"/>
                    <a:pt x="166479" y="344463"/>
                  </a:cubicBezTo>
                  <a:cubicBezTo>
                    <a:pt x="166244" y="344463"/>
                    <a:pt x="166009" y="344697"/>
                    <a:pt x="166009" y="344697"/>
                  </a:cubicBezTo>
                  <a:cubicBezTo>
                    <a:pt x="165539" y="344932"/>
                    <a:pt x="165070" y="344932"/>
                    <a:pt x="164600" y="344932"/>
                  </a:cubicBezTo>
                  <a:cubicBezTo>
                    <a:pt x="163661" y="344932"/>
                    <a:pt x="162956" y="344697"/>
                    <a:pt x="162017" y="344228"/>
                  </a:cubicBezTo>
                  <a:lnTo>
                    <a:pt x="160843" y="343758"/>
                  </a:lnTo>
                  <a:cubicBezTo>
                    <a:pt x="159200" y="343054"/>
                    <a:pt x="158730" y="342819"/>
                    <a:pt x="158260" y="340706"/>
                  </a:cubicBezTo>
                  <a:lnTo>
                    <a:pt x="158025" y="340001"/>
                  </a:lnTo>
                  <a:cubicBezTo>
                    <a:pt x="157791" y="339062"/>
                    <a:pt x="157556" y="338123"/>
                    <a:pt x="157556" y="337184"/>
                  </a:cubicBezTo>
                  <a:cubicBezTo>
                    <a:pt x="157556" y="336010"/>
                    <a:pt x="157791" y="334835"/>
                    <a:pt x="158025" y="333661"/>
                  </a:cubicBezTo>
                  <a:cubicBezTo>
                    <a:pt x="158025" y="333192"/>
                    <a:pt x="158260" y="332487"/>
                    <a:pt x="158260" y="332018"/>
                  </a:cubicBezTo>
                  <a:lnTo>
                    <a:pt x="158495" y="331079"/>
                  </a:lnTo>
                  <a:cubicBezTo>
                    <a:pt x="158730" y="328965"/>
                    <a:pt x="158965" y="326852"/>
                    <a:pt x="158965" y="324739"/>
                  </a:cubicBezTo>
                  <a:cubicBezTo>
                    <a:pt x="158965" y="324034"/>
                    <a:pt x="158965" y="323565"/>
                    <a:pt x="158965" y="322860"/>
                  </a:cubicBezTo>
                  <a:cubicBezTo>
                    <a:pt x="158965" y="321686"/>
                    <a:pt x="158965" y="320512"/>
                    <a:pt x="158730" y="319338"/>
                  </a:cubicBezTo>
                  <a:cubicBezTo>
                    <a:pt x="158730" y="319103"/>
                    <a:pt x="158730" y="318634"/>
                    <a:pt x="158730" y="318634"/>
                  </a:cubicBezTo>
                  <a:cubicBezTo>
                    <a:pt x="158730" y="318634"/>
                    <a:pt x="158495" y="318634"/>
                    <a:pt x="158260" y="318634"/>
                  </a:cubicBezTo>
                  <a:cubicBezTo>
                    <a:pt x="157791" y="318634"/>
                    <a:pt x="157321" y="318399"/>
                    <a:pt x="156851" y="318399"/>
                  </a:cubicBezTo>
                  <a:cubicBezTo>
                    <a:pt x="156382" y="318164"/>
                    <a:pt x="156147" y="318164"/>
                    <a:pt x="155677" y="318164"/>
                  </a:cubicBezTo>
                  <a:cubicBezTo>
                    <a:pt x="155443" y="318164"/>
                    <a:pt x="155443" y="318164"/>
                    <a:pt x="155443" y="318164"/>
                  </a:cubicBezTo>
                  <a:cubicBezTo>
                    <a:pt x="155208" y="318399"/>
                    <a:pt x="155208" y="318399"/>
                    <a:pt x="155677" y="319573"/>
                  </a:cubicBezTo>
                  <a:cubicBezTo>
                    <a:pt x="155912" y="320042"/>
                    <a:pt x="156147" y="320512"/>
                    <a:pt x="156147" y="320982"/>
                  </a:cubicBezTo>
                  <a:cubicBezTo>
                    <a:pt x="156617" y="323330"/>
                    <a:pt x="155208" y="324269"/>
                    <a:pt x="153799" y="324973"/>
                  </a:cubicBezTo>
                  <a:cubicBezTo>
                    <a:pt x="152390" y="325678"/>
                    <a:pt x="150981" y="326147"/>
                    <a:pt x="149807" y="326852"/>
                  </a:cubicBezTo>
                  <a:cubicBezTo>
                    <a:pt x="147929" y="327556"/>
                    <a:pt x="145581" y="328261"/>
                    <a:pt x="143233" y="328261"/>
                  </a:cubicBezTo>
                  <a:cubicBezTo>
                    <a:pt x="142998" y="328261"/>
                    <a:pt x="142763" y="328261"/>
                    <a:pt x="142293" y="328261"/>
                  </a:cubicBezTo>
                  <a:lnTo>
                    <a:pt x="141119" y="328261"/>
                  </a:lnTo>
                  <a:lnTo>
                    <a:pt x="141119" y="327087"/>
                  </a:lnTo>
                  <a:cubicBezTo>
                    <a:pt x="141354" y="325208"/>
                    <a:pt x="141589" y="324739"/>
                    <a:pt x="143233" y="323565"/>
                  </a:cubicBezTo>
                  <a:cubicBezTo>
                    <a:pt x="143702" y="323095"/>
                    <a:pt x="144407" y="322860"/>
                    <a:pt x="145111" y="322625"/>
                  </a:cubicBezTo>
                  <a:cubicBezTo>
                    <a:pt x="145581" y="322391"/>
                    <a:pt x="146050" y="322156"/>
                    <a:pt x="146285" y="321921"/>
                  </a:cubicBezTo>
                  <a:cubicBezTo>
                    <a:pt x="147459" y="321217"/>
                    <a:pt x="148398" y="320277"/>
                    <a:pt x="149338" y="319103"/>
                  </a:cubicBezTo>
                  <a:cubicBezTo>
                    <a:pt x="151686" y="315816"/>
                    <a:pt x="154034" y="311824"/>
                    <a:pt x="156617" y="307598"/>
                  </a:cubicBezTo>
                  <a:cubicBezTo>
                    <a:pt x="158260" y="304545"/>
                    <a:pt x="160139" y="301258"/>
                    <a:pt x="159904" y="298206"/>
                  </a:cubicBezTo>
                  <a:cubicBezTo>
                    <a:pt x="159904" y="296562"/>
                    <a:pt x="159200" y="296562"/>
                    <a:pt x="158965" y="296562"/>
                  </a:cubicBezTo>
                  <a:cubicBezTo>
                    <a:pt x="158730" y="296562"/>
                    <a:pt x="158495" y="296562"/>
                    <a:pt x="158025" y="296796"/>
                  </a:cubicBezTo>
                  <a:cubicBezTo>
                    <a:pt x="155912" y="297501"/>
                    <a:pt x="154269" y="298440"/>
                    <a:pt x="153095" y="299380"/>
                  </a:cubicBezTo>
                  <a:cubicBezTo>
                    <a:pt x="150746" y="301258"/>
                    <a:pt x="150277" y="304310"/>
                    <a:pt x="149572" y="307128"/>
                  </a:cubicBezTo>
                  <a:cubicBezTo>
                    <a:pt x="149338" y="307833"/>
                    <a:pt x="149338" y="308302"/>
                    <a:pt x="149103" y="309007"/>
                  </a:cubicBezTo>
                  <a:lnTo>
                    <a:pt x="148868" y="310181"/>
                  </a:lnTo>
                  <a:lnTo>
                    <a:pt x="147694" y="309946"/>
                  </a:lnTo>
                  <a:cubicBezTo>
                    <a:pt x="146989" y="309711"/>
                    <a:pt x="146285" y="309476"/>
                    <a:pt x="145581" y="309241"/>
                  </a:cubicBezTo>
                  <a:cubicBezTo>
                    <a:pt x="144172" y="308772"/>
                    <a:pt x="142528" y="308302"/>
                    <a:pt x="141354" y="308302"/>
                  </a:cubicBezTo>
                  <a:cubicBezTo>
                    <a:pt x="140885" y="308302"/>
                    <a:pt x="140650" y="308302"/>
                    <a:pt x="140415" y="308537"/>
                  </a:cubicBezTo>
                  <a:lnTo>
                    <a:pt x="138536" y="309241"/>
                  </a:lnTo>
                  <a:lnTo>
                    <a:pt x="139006" y="307128"/>
                  </a:lnTo>
                  <a:cubicBezTo>
                    <a:pt x="139476" y="304310"/>
                    <a:pt x="141824" y="303606"/>
                    <a:pt x="143467" y="302902"/>
                  </a:cubicBezTo>
                  <a:lnTo>
                    <a:pt x="143937" y="302667"/>
                  </a:lnTo>
                  <a:cubicBezTo>
                    <a:pt x="145581" y="302197"/>
                    <a:pt x="146050" y="301493"/>
                    <a:pt x="146520" y="300084"/>
                  </a:cubicBezTo>
                  <a:cubicBezTo>
                    <a:pt x="146520" y="299614"/>
                    <a:pt x="146755" y="299380"/>
                    <a:pt x="146755" y="299145"/>
                  </a:cubicBezTo>
                  <a:cubicBezTo>
                    <a:pt x="146520" y="299145"/>
                    <a:pt x="146285" y="299380"/>
                    <a:pt x="146050" y="299380"/>
                  </a:cubicBezTo>
                  <a:cubicBezTo>
                    <a:pt x="145581" y="299614"/>
                    <a:pt x="145111" y="299614"/>
                    <a:pt x="144641" y="299849"/>
                  </a:cubicBezTo>
                  <a:lnTo>
                    <a:pt x="144407" y="299849"/>
                  </a:lnTo>
                  <a:cubicBezTo>
                    <a:pt x="143233" y="299849"/>
                    <a:pt x="142293" y="299145"/>
                    <a:pt x="141824" y="298440"/>
                  </a:cubicBezTo>
                  <a:cubicBezTo>
                    <a:pt x="141824" y="298675"/>
                    <a:pt x="141824" y="298910"/>
                    <a:pt x="142059" y="299145"/>
                  </a:cubicBezTo>
                  <a:cubicBezTo>
                    <a:pt x="142293" y="300084"/>
                    <a:pt x="142528" y="301023"/>
                    <a:pt x="142059" y="302197"/>
                  </a:cubicBezTo>
                  <a:cubicBezTo>
                    <a:pt x="141589" y="303136"/>
                    <a:pt x="140650" y="304076"/>
                    <a:pt x="139945" y="304780"/>
                  </a:cubicBezTo>
                  <a:cubicBezTo>
                    <a:pt x="139710" y="305015"/>
                    <a:pt x="139241" y="305250"/>
                    <a:pt x="139006" y="305719"/>
                  </a:cubicBezTo>
                  <a:lnTo>
                    <a:pt x="138536" y="306189"/>
                  </a:lnTo>
                  <a:cubicBezTo>
                    <a:pt x="137832" y="306893"/>
                    <a:pt x="137362" y="307598"/>
                    <a:pt x="136423" y="308302"/>
                  </a:cubicBezTo>
                  <a:lnTo>
                    <a:pt x="135484" y="309007"/>
                  </a:lnTo>
                  <a:lnTo>
                    <a:pt x="134780" y="307833"/>
                  </a:lnTo>
                  <a:cubicBezTo>
                    <a:pt x="134310" y="306893"/>
                    <a:pt x="134075" y="306189"/>
                    <a:pt x="133840" y="305250"/>
                  </a:cubicBezTo>
                  <a:cubicBezTo>
                    <a:pt x="133605" y="304780"/>
                    <a:pt x="133605" y="304310"/>
                    <a:pt x="133371" y="303841"/>
                  </a:cubicBezTo>
                  <a:cubicBezTo>
                    <a:pt x="133136" y="303371"/>
                    <a:pt x="133136" y="303136"/>
                    <a:pt x="132901" y="302902"/>
                  </a:cubicBezTo>
                  <a:cubicBezTo>
                    <a:pt x="132197" y="301962"/>
                    <a:pt x="131727" y="300788"/>
                    <a:pt x="133136" y="299145"/>
                  </a:cubicBezTo>
                  <a:cubicBezTo>
                    <a:pt x="133371" y="298910"/>
                    <a:pt x="133605" y="298675"/>
                    <a:pt x="134075" y="298440"/>
                  </a:cubicBezTo>
                  <a:cubicBezTo>
                    <a:pt x="134310" y="298206"/>
                    <a:pt x="134780" y="297971"/>
                    <a:pt x="134780" y="297736"/>
                  </a:cubicBezTo>
                  <a:cubicBezTo>
                    <a:pt x="134545" y="297501"/>
                    <a:pt x="133605" y="297266"/>
                    <a:pt x="133136" y="297032"/>
                  </a:cubicBezTo>
                  <a:cubicBezTo>
                    <a:pt x="132666" y="296796"/>
                    <a:pt x="132197" y="296562"/>
                    <a:pt x="131962" y="296562"/>
                  </a:cubicBezTo>
                  <a:cubicBezTo>
                    <a:pt x="131257" y="296092"/>
                    <a:pt x="130553" y="295622"/>
                    <a:pt x="130318" y="294918"/>
                  </a:cubicBezTo>
                  <a:cubicBezTo>
                    <a:pt x="130083" y="294214"/>
                    <a:pt x="130553" y="293744"/>
                    <a:pt x="130788" y="293274"/>
                  </a:cubicBezTo>
                  <a:cubicBezTo>
                    <a:pt x="131023" y="293040"/>
                    <a:pt x="131023" y="292805"/>
                    <a:pt x="131257" y="292570"/>
                  </a:cubicBezTo>
                  <a:cubicBezTo>
                    <a:pt x="131492" y="292335"/>
                    <a:pt x="131492" y="291866"/>
                    <a:pt x="131492" y="291396"/>
                  </a:cubicBezTo>
                  <a:cubicBezTo>
                    <a:pt x="131492" y="290692"/>
                    <a:pt x="131727" y="289987"/>
                    <a:pt x="131962" y="289283"/>
                  </a:cubicBezTo>
                  <a:cubicBezTo>
                    <a:pt x="132666" y="287874"/>
                    <a:pt x="133605" y="286700"/>
                    <a:pt x="134780" y="285526"/>
                  </a:cubicBezTo>
                  <a:cubicBezTo>
                    <a:pt x="135484" y="284587"/>
                    <a:pt x="136188" y="283882"/>
                    <a:pt x="136893" y="282943"/>
                  </a:cubicBezTo>
                  <a:cubicBezTo>
                    <a:pt x="137597" y="281769"/>
                    <a:pt x="137597" y="281769"/>
                    <a:pt x="137128" y="280595"/>
                  </a:cubicBezTo>
                  <a:cubicBezTo>
                    <a:pt x="136893" y="279421"/>
                    <a:pt x="136658" y="278482"/>
                    <a:pt x="136423" y="277542"/>
                  </a:cubicBezTo>
                  <a:cubicBezTo>
                    <a:pt x="136423" y="277073"/>
                    <a:pt x="136423" y="276368"/>
                    <a:pt x="136188" y="275664"/>
                  </a:cubicBezTo>
                  <a:cubicBezTo>
                    <a:pt x="136188" y="273786"/>
                    <a:pt x="135954" y="271672"/>
                    <a:pt x="134780" y="270498"/>
                  </a:cubicBezTo>
                  <a:cubicBezTo>
                    <a:pt x="134545" y="270263"/>
                    <a:pt x="134310" y="270029"/>
                    <a:pt x="134075" y="269794"/>
                  </a:cubicBezTo>
                  <a:cubicBezTo>
                    <a:pt x="132431" y="268385"/>
                    <a:pt x="130083" y="266507"/>
                    <a:pt x="130318" y="263923"/>
                  </a:cubicBezTo>
                  <a:cubicBezTo>
                    <a:pt x="130318" y="262984"/>
                    <a:pt x="130788" y="262515"/>
                    <a:pt x="131023" y="262045"/>
                  </a:cubicBezTo>
                  <a:cubicBezTo>
                    <a:pt x="131257" y="261810"/>
                    <a:pt x="131257" y="261575"/>
                    <a:pt x="131257" y="261575"/>
                  </a:cubicBezTo>
                  <a:cubicBezTo>
                    <a:pt x="131492" y="261341"/>
                    <a:pt x="131257" y="261106"/>
                    <a:pt x="131257" y="260636"/>
                  </a:cubicBezTo>
                  <a:cubicBezTo>
                    <a:pt x="131257" y="259227"/>
                    <a:pt x="131023" y="258288"/>
                    <a:pt x="130553" y="257349"/>
                  </a:cubicBezTo>
                  <a:cubicBezTo>
                    <a:pt x="129849" y="256175"/>
                    <a:pt x="128909" y="255940"/>
                    <a:pt x="127266" y="255470"/>
                  </a:cubicBezTo>
                  <a:cubicBezTo>
                    <a:pt x="126561" y="255236"/>
                    <a:pt x="125857" y="255236"/>
                    <a:pt x="125152" y="255001"/>
                  </a:cubicBezTo>
                  <a:cubicBezTo>
                    <a:pt x="123039" y="254296"/>
                    <a:pt x="122804" y="253357"/>
                    <a:pt x="122570" y="252183"/>
                  </a:cubicBezTo>
                  <a:cubicBezTo>
                    <a:pt x="122570" y="251948"/>
                    <a:pt x="122335" y="251479"/>
                    <a:pt x="122335" y="251009"/>
                  </a:cubicBezTo>
                  <a:cubicBezTo>
                    <a:pt x="122100" y="250540"/>
                    <a:pt x="121865" y="250070"/>
                    <a:pt x="121630" y="249600"/>
                  </a:cubicBezTo>
                  <a:cubicBezTo>
                    <a:pt x="121630" y="249600"/>
                    <a:pt x="121630" y="249835"/>
                    <a:pt x="121630" y="250070"/>
                  </a:cubicBezTo>
                  <a:cubicBezTo>
                    <a:pt x="121630" y="250540"/>
                    <a:pt x="121395" y="251244"/>
                    <a:pt x="121161" y="251714"/>
                  </a:cubicBezTo>
                  <a:cubicBezTo>
                    <a:pt x="120691" y="252418"/>
                    <a:pt x="120221" y="253357"/>
                    <a:pt x="119987" y="254062"/>
                  </a:cubicBezTo>
                  <a:lnTo>
                    <a:pt x="119517" y="255001"/>
                  </a:lnTo>
                  <a:lnTo>
                    <a:pt x="118813" y="255940"/>
                  </a:lnTo>
                  <a:lnTo>
                    <a:pt x="117873" y="255470"/>
                  </a:lnTo>
                  <a:cubicBezTo>
                    <a:pt x="116934" y="254766"/>
                    <a:pt x="115995" y="254296"/>
                    <a:pt x="115056" y="254062"/>
                  </a:cubicBezTo>
                  <a:cubicBezTo>
                    <a:pt x="113882" y="253592"/>
                    <a:pt x="112473" y="253357"/>
                    <a:pt x="111299" y="253357"/>
                  </a:cubicBezTo>
                  <a:cubicBezTo>
                    <a:pt x="108481" y="253357"/>
                    <a:pt x="106133" y="254766"/>
                    <a:pt x="104020" y="256175"/>
                  </a:cubicBezTo>
                  <a:lnTo>
                    <a:pt x="99558" y="259227"/>
                  </a:lnTo>
                  <a:lnTo>
                    <a:pt x="105429" y="249835"/>
                  </a:lnTo>
                  <a:lnTo>
                    <a:pt x="105898" y="247957"/>
                  </a:lnTo>
                  <a:lnTo>
                    <a:pt x="104020" y="246313"/>
                  </a:lnTo>
                  <a:lnTo>
                    <a:pt x="100967" y="245139"/>
                  </a:lnTo>
                  <a:lnTo>
                    <a:pt x="98384" y="244669"/>
                  </a:lnTo>
                  <a:lnTo>
                    <a:pt x="96976" y="245374"/>
                  </a:lnTo>
                  <a:lnTo>
                    <a:pt x="96741" y="249365"/>
                  </a:lnTo>
                  <a:lnTo>
                    <a:pt x="94158" y="250774"/>
                  </a:lnTo>
                  <a:lnTo>
                    <a:pt x="91810" y="247252"/>
                  </a:lnTo>
                  <a:lnTo>
                    <a:pt x="89931" y="245374"/>
                  </a:lnTo>
                  <a:lnTo>
                    <a:pt x="88757" y="245374"/>
                  </a:lnTo>
                  <a:lnTo>
                    <a:pt x="85940" y="251009"/>
                  </a:lnTo>
                  <a:lnTo>
                    <a:pt x="84296" y="247487"/>
                  </a:lnTo>
                  <a:lnTo>
                    <a:pt x="84061" y="244669"/>
                  </a:lnTo>
                  <a:lnTo>
                    <a:pt x="80304" y="237860"/>
                  </a:lnTo>
                  <a:lnTo>
                    <a:pt x="80539" y="235982"/>
                  </a:lnTo>
                  <a:lnTo>
                    <a:pt x="83122" y="230111"/>
                  </a:lnTo>
                  <a:lnTo>
                    <a:pt x="83826" y="226354"/>
                  </a:lnTo>
                  <a:lnTo>
                    <a:pt x="83122" y="224241"/>
                  </a:lnTo>
                  <a:lnTo>
                    <a:pt x="77956" y="223771"/>
                  </a:lnTo>
                  <a:lnTo>
                    <a:pt x="78895" y="221658"/>
                  </a:lnTo>
                  <a:lnTo>
                    <a:pt x="78661" y="221189"/>
                  </a:lnTo>
                  <a:lnTo>
                    <a:pt x="77956" y="218371"/>
                  </a:lnTo>
                  <a:lnTo>
                    <a:pt x="82417" y="219780"/>
                  </a:lnTo>
                  <a:lnTo>
                    <a:pt x="84531" y="219780"/>
                  </a:lnTo>
                  <a:lnTo>
                    <a:pt x="85235" y="219310"/>
                  </a:lnTo>
                  <a:lnTo>
                    <a:pt x="84765" y="217432"/>
                  </a:lnTo>
                  <a:lnTo>
                    <a:pt x="77956" y="208274"/>
                  </a:lnTo>
                  <a:lnTo>
                    <a:pt x="82417" y="207570"/>
                  </a:lnTo>
                  <a:lnTo>
                    <a:pt x="84296" y="206865"/>
                  </a:lnTo>
                  <a:lnTo>
                    <a:pt x="92045" y="203343"/>
                  </a:lnTo>
                  <a:lnTo>
                    <a:pt x="91575" y="203109"/>
                  </a:lnTo>
                  <a:lnTo>
                    <a:pt x="86644" y="203578"/>
                  </a:lnTo>
                  <a:lnTo>
                    <a:pt x="81009" y="203578"/>
                  </a:lnTo>
                  <a:lnTo>
                    <a:pt x="77017" y="200760"/>
                  </a:lnTo>
                  <a:lnTo>
                    <a:pt x="76312" y="200056"/>
                  </a:lnTo>
                  <a:lnTo>
                    <a:pt x="74669" y="199117"/>
                  </a:lnTo>
                  <a:lnTo>
                    <a:pt x="73730" y="197708"/>
                  </a:lnTo>
                  <a:lnTo>
                    <a:pt x="73495" y="196064"/>
                  </a:lnTo>
                  <a:lnTo>
                    <a:pt x="73964" y="192542"/>
                  </a:lnTo>
                  <a:lnTo>
                    <a:pt x="73730" y="187141"/>
                  </a:lnTo>
                  <a:lnTo>
                    <a:pt x="71381" y="189255"/>
                  </a:lnTo>
                  <a:lnTo>
                    <a:pt x="67625" y="188785"/>
                  </a:lnTo>
                  <a:lnTo>
                    <a:pt x="59171" y="177984"/>
                  </a:lnTo>
                  <a:lnTo>
                    <a:pt x="58232" y="176106"/>
                  </a:lnTo>
                  <a:lnTo>
                    <a:pt x="57997" y="174932"/>
                  </a:lnTo>
                  <a:lnTo>
                    <a:pt x="57997" y="173758"/>
                  </a:lnTo>
                  <a:lnTo>
                    <a:pt x="57763" y="173288"/>
                  </a:lnTo>
                  <a:lnTo>
                    <a:pt x="56119" y="170940"/>
                  </a:lnTo>
                  <a:lnTo>
                    <a:pt x="55649" y="169766"/>
                  </a:lnTo>
                  <a:lnTo>
                    <a:pt x="54241" y="162721"/>
                  </a:lnTo>
                  <a:lnTo>
                    <a:pt x="53066" y="160373"/>
                  </a:lnTo>
                  <a:lnTo>
                    <a:pt x="51892" y="159199"/>
                  </a:lnTo>
                  <a:lnTo>
                    <a:pt x="47666" y="156147"/>
                  </a:lnTo>
                  <a:lnTo>
                    <a:pt x="37804" y="143702"/>
                  </a:lnTo>
                  <a:lnTo>
                    <a:pt x="37100" y="142998"/>
                  </a:lnTo>
                  <a:lnTo>
                    <a:pt x="35926" y="142528"/>
                  </a:lnTo>
                  <a:lnTo>
                    <a:pt x="33108" y="141824"/>
                  </a:lnTo>
                  <a:lnTo>
                    <a:pt x="31699" y="141119"/>
                  </a:lnTo>
                  <a:lnTo>
                    <a:pt x="28412" y="136658"/>
                  </a:lnTo>
                  <a:lnTo>
                    <a:pt x="22542" y="110829"/>
                  </a:lnTo>
                  <a:lnTo>
                    <a:pt x="22776" y="107776"/>
                  </a:lnTo>
                  <a:lnTo>
                    <a:pt x="21837" y="106602"/>
                  </a:lnTo>
                  <a:lnTo>
                    <a:pt x="21602" y="105194"/>
                  </a:lnTo>
                  <a:lnTo>
                    <a:pt x="22307" y="104254"/>
                  </a:lnTo>
                  <a:lnTo>
                    <a:pt x="24185" y="102611"/>
                  </a:lnTo>
                  <a:lnTo>
                    <a:pt x="24655" y="102141"/>
                  </a:lnTo>
                  <a:lnTo>
                    <a:pt x="25594" y="101202"/>
                  </a:lnTo>
                  <a:lnTo>
                    <a:pt x="27472" y="99558"/>
                  </a:lnTo>
                  <a:lnTo>
                    <a:pt x="28412" y="97680"/>
                  </a:lnTo>
                  <a:lnTo>
                    <a:pt x="31699" y="98854"/>
                  </a:lnTo>
                  <a:lnTo>
                    <a:pt x="30760" y="98149"/>
                  </a:lnTo>
                  <a:lnTo>
                    <a:pt x="28647" y="95097"/>
                  </a:lnTo>
                  <a:lnTo>
                    <a:pt x="27707" y="91810"/>
                  </a:lnTo>
                  <a:lnTo>
                    <a:pt x="26768" y="85939"/>
                  </a:lnTo>
                  <a:lnTo>
                    <a:pt x="26298" y="84296"/>
                  </a:lnTo>
                  <a:lnTo>
                    <a:pt x="26298" y="81948"/>
                  </a:lnTo>
                  <a:lnTo>
                    <a:pt x="29351" y="74903"/>
                  </a:lnTo>
                  <a:lnTo>
                    <a:pt x="30055" y="71381"/>
                  </a:lnTo>
                  <a:lnTo>
                    <a:pt x="27003" y="68798"/>
                  </a:lnTo>
                  <a:lnTo>
                    <a:pt x="26768" y="61285"/>
                  </a:lnTo>
                  <a:lnTo>
                    <a:pt x="28412" y="50484"/>
                  </a:lnTo>
                  <a:lnTo>
                    <a:pt x="27003" y="51658"/>
                  </a:lnTo>
                  <a:lnTo>
                    <a:pt x="24890" y="53301"/>
                  </a:lnTo>
                  <a:lnTo>
                    <a:pt x="22776" y="52597"/>
                  </a:lnTo>
                  <a:lnTo>
                    <a:pt x="19019" y="45083"/>
                  </a:lnTo>
                  <a:lnTo>
                    <a:pt x="18550" y="42500"/>
                  </a:lnTo>
                  <a:lnTo>
                    <a:pt x="18785" y="39917"/>
                  </a:lnTo>
                  <a:lnTo>
                    <a:pt x="19724" y="37099"/>
                  </a:lnTo>
                  <a:lnTo>
                    <a:pt x="22307" y="34751"/>
                  </a:lnTo>
                  <a:lnTo>
                    <a:pt x="25829" y="34986"/>
                  </a:lnTo>
                  <a:lnTo>
                    <a:pt x="28647" y="36395"/>
                  </a:lnTo>
                  <a:lnTo>
                    <a:pt x="30760" y="38039"/>
                  </a:lnTo>
                  <a:lnTo>
                    <a:pt x="32403" y="40387"/>
                  </a:lnTo>
                  <a:lnTo>
                    <a:pt x="34282" y="46962"/>
                  </a:lnTo>
                  <a:lnTo>
                    <a:pt x="39917" y="54006"/>
                  </a:lnTo>
                  <a:lnTo>
                    <a:pt x="40856" y="54475"/>
                  </a:lnTo>
                  <a:lnTo>
                    <a:pt x="49075" y="57293"/>
                  </a:lnTo>
                  <a:lnTo>
                    <a:pt x="50249" y="58702"/>
                  </a:lnTo>
                  <a:lnTo>
                    <a:pt x="50718" y="59641"/>
                  </a:lnTo>
                  <a:lnTo>
                    <a:pt x="51423" y="58702"/>
                  </a:lnTo>
                  <a:lnTo>
                    <a:pt x="54945" y="50718"/>
                  </a:lnTo>
                  <a:lnTo>
                    <a:pt x="54710" y="49075"/>
                  </a:lnTo>
                  <a:lnTo>
                    <a:pt x="52127" y="45318"/>
                  </a:lnTo>
                  <a:lnTo>
                    <a:pt x="50249" y="39917"/>
                  </a:lnTo>
                  <a:lnTo>
                    <a:pt x="48840" y="26064"/>
                  </a:lnTo>
                  <a:lnTo>
                    <a:pt x="49779" y="26064"/>
                  </a:lnTo>
                  <a:lnTo>
                    <a:pt x="50953" y="26064"/>
                  </a:lnTo>
                  <a:lnTo>
                    <a:pt x="50953" y="26298"/>
                  </a:lnTo>
                  <a:lnTo>
                    <a:pt x="58937" y="27003"/>
                  </a:lnTo>
                  <a:lnTo>
                    <a:pt x="59171" y="29116"/>
                  </a:lnTo>
                  <a:lnTo>
                    <a:pt x="64102" y="38273"/>
                  </a:lnTo>
                  <a:lnTo>
                    <a:pt x="67155" y="48605"/>
                  </a:lnTo>
                  <a:lnTo>
                    <a:pt x="71381" y="54240"/>
                  </a:lnTo>
                  <a:lnTo>
                    <a:pt x="72556" y="56589"/>
                  </a:lnTo>
                  <a:lnTo>
                    <a:pt x="76547" y="70207"/>
                  </a:lnTo>
                  <a:lnTo>
                    <a:pt x="76078" y="78191"/>
                  </a:lnTo>
                  <a:lnTo>
                    <a:pt x="77486" y="82887"/>
                  </a:lnTo>
                  <a:lnTo>
                    <a:pt x="80304" y="87114"/>
                  </a:lnTo>
                  <a:lnTo>
                    <a:pt x="84061" y="90166"/>
                  </a:lnTo>
                  <a:lnTo>
                    <a:pt x="87583" y="91105"/>
                  </a:lnTo>
                  <a:lnTo>
                    <a:pt x="89227" y="87583"/>
                  </a:lnTo>
                  <a:lnTo>
                    <a:pt x="95801" y="88522"/>
                  </a:lnTo>
                  <a:lnTo>
                    <a:pt x="106133" y="92749"/>
                  </a:lnTo>
                  <a:lnTo>
                    <a:pt x="108951" y="94158"/>
                  </a:lnTo>
                  <a:lnTo>
                    <a:pt x="112238" y="98854"/>
                  </a:lnTo>
                  <a:lnTo>
                    <a:pt x="114116" y="99793"/>
                  </a:lnTo>
                  <a:lnTo>
                    <a:pt x="116699" y="100497"/>
                  </a:lnTo>
                  <a:lnTo>
                    <a:pt x="119047" y="101671"/>
                  </a:lnTo>
                  <a:lnTo>
                    <a:pt x="119752" y="101906"/>
                  </a:lnTo>
                  <a:lnTo>
                    <a:pt x="117404" y="100732"/>
                  </a:lnTo>
                  <a:lnTo>
                    <a:pt x="113882" y="98384"/>
                  </a:lnTo>
                  <a:lnTo>
                    <a:pt x="112942" y="95567"/>
                  </a:lnTo>
                  <a:lnTo>
                    <a:pt x="97210" y="85705"/>
                  </a:lnTo>
                  <a:lnTo>
                    <a:pt x="91575" y="77956"/>
                  </a:lnTo>
                  <a:lnTo>
                    <a:pt x="91575" y="67859"/>
                  </a:lnTo>
                  <a:lnTo>
                    <a:pt x="93219" y="64807"/>
                  </a:lnTo>
                  <a:lnTo>
                    <a:pt x="92749" y="64337"/>
                  </a:lnTo>
                  <a:lnTo>
                    <a:pt x="89696" y="63633"/>
                  </a:lnTo>
                  <a:lnTo>
                    <a:pt x="88288" y="62693"/>
                  </a:lnTo>
                  <a:lnTo>
                    <a:pt x="87348" y="61519"/>
                  </a:lnTo>
                  <a:lnTo>
                    <a:pt x="85705" y="59876"/>
                  </a:lnTo>
                  <a:lnTo>
                    <a:pt x="85000" y="59171"/>
                  </a:lnTo>
                  <a:lnTo>
                    <a:pt x="79600" y="58232"/>
                  </a:lnTo>
                  <a:lnTo>
                    <a:pt x="80774" y="54240"/>
                  </a:lnTo>
                  <a:lnTo>
                    <a:pt x="85470" y="49779"/>
                  </a:lnTo>
                  <a:lnTo>
                    <a:pt x="85705" y="47901"/>
                  </a:lnTo>
                  <a:lnTo>
                    <a:pt x="83357" y="40622"/>
                  </a:lnTo>
                  <a:lnTo>
                    <a:pt x="83122" y="38039"/>
                  </a:lnTo>
                  <a:lnTo>
                    <a:pt x="84061" y="35456"/>
                  </a:lnTo>
                  <a:lnTo>
                    <a:pt x="85940" y="32169"/>
                  </a:lnTo>
                  <a:lnTo>
                    <a:pt x="88288" y="28881"/>
                  </a:lnTo>
                  <a:lnTo>
                    <a:pt x="90636" y="26768"/>
                  </a:lnTo>
                  <a:lnTo>
                    <a:pt x="93219" y="24890"/>
                  </a:lnTo>
                  <a:lnTo>
                    <a:pt x="94393" y="23246"/>
                  </a:lnTo>
                  <a:lnTo>
                    <a:pt x="96506" y="22541"/>
                  </a:lnTo>
                  <a:lnTo>
                    <a:pt x="99558" y="28646"/>
                  </a:lnTo>
                  <a:lnTo>
                    <a:pt x="100498" y="29586"/>
                  </a:lnTo>
                  <a:lnTo>
                    <a:pt x="101672" y="29820"/>
                  </a:lnTo>
                  <a:lnTo>
                    <a:pt x="104255" y="31229"/>
                  </a:lnTo>
                  <a:lnTo>
                    <a:pt x="105194" y="31934"/>
                  </a:lnTo>
                  <a:lnTo>
                    <a:pt x="105898" y="32873"/>
                  </a:lnTo>
                  <a:lnTo>
                    <a:pt x="106133" y="33577"/>
                  </a:lnTo>
                  <a:lnTo>
                    <a:pt x="106368" y="34517"/>
                  </a:lnTo>
                  <a:lnTo>
                    <a:pt x="106368" y="36865"/>
                  </a:lnTo>
                  <a:lnTo>
                    <a:pt x="106603" y="38273"/>
                  </a:lnTo>
                  <a:lnTo>
                    <a:pt x="107072" y="39213"/>
                  </a:lnTo>
                  <a:lnTo>
                    <a:pt x="109655" y="42030"/>
                  </a:lnTo>
                  <a:lnTo>
                    <a:pt x="111064" y="43204"/>
                  </a:lnTo>
                  <a:lnTo>
                    <a:pt x="112003" y="43439"/>
                  </a:lnTo>
                  <a:lnTo>
                    <a:pt x="112942" y="43674"/>
                  </a:lnTo>
                  <a:lnTo>
                    <a:pt x="113412" y="43674"/>
                  </a:lnTo>
                  <a:lnTo>
                    <a:pt x="115760" y="43674"/>
                  </a:lnTo>
                  <a:lnTo>
                    <a:pt x="119047" y="43204"/>
                  </a:lnTo>
                  <a:lnTo>
                    <a:pt x="119987" y="43204"/>
                  </a:lnTo>
                  <a:lnTo>
                    <a:pt x="121161" y="43204"/>
                  </a:lnTo>
                  <a:lnTo>
                    <a:pt x="122804" y="43674"/>
                  </a:lnTo>
                  <a:lnTo>
                    <a:pt x="123744" y="44144"/>
                  </a:lnTo>
                  <a:lnTo>
                    <a:pt x="124683" y="44848"/>
                  </a:lnTo>
                  <a:lnTo>
                    <a:pt x="125857" y="46257"/>
                  </a:lnTo>
                  <a:lnTo>
                    <a:pt x="126561" y="47666"/>
                  </a:lnTo>
                  <a:lnTo>
                    <a:pt x="127735" y="55180"/>
                  </a:lnTo>
                  <a:lnTo>
                    <a:pt x="128909" y="57763"/>
                  </a:lnTo>
                  <a:lnTo>
                    <a:pt x="129379" y="58232"/>
                  </a:lnTo>
                  <a:lnTo>
                    <a:pt x="129614" y="58232"/>
                  </a:lnTo>
                  <a:lnTo>
                    <a:pt x="129849" y="58232"/>
                  </a:lnTo>
                  <a:lnTo>
                    <a:pt x="134075" y="57528"/>
                  </a:lnTo>
                  <a:lnTo>
                    <a:pt x="135484" y="57528"/>
                  </a:lnTo>
                  <a:lnTo>
                    <a:pt x="137128" y="57997"/>
                  </a:lnTo>
                  <a:lnTo>
                    <a:pt x="138302" y="58702"/>
                  </a:lnTo>
                  <a:lnTo>
                    <a:pt x="141354" y="61989"/>
                  </a:lnTo>
                  <a:lnTo>
                    <a:pt x="142998" y="64572"/>
                  </a:lnTo>
                  <a:lnTo>
                    <a:pt x="143233" y="65511"/>
                  </a:lnTo>
                  <a:lnTo>
                    <a:pt x="143233" y="66450"/>
                  </a:lnTo>
                  <a:lnTo>
                    <a:pt x="142998" y="67390"/>
                  </a:lnTo>
                  <a:lnTo>
                    <a:pt x="142293" y="68564"/>
                  </a:lnTo>
                  <a:lnTo>
                    <a:pt x="142059" y="68798"/>
                  </a:lnTo>
                  <a:lnTo>
                    <a:pt x="142059" y="69033"/>
                  </a:lnTo>
                  <a:lnTo>
                    <a:pt x="142293" y="69972"/>
                  </a:lnTo>
                  <a:lnTo>
                    <a:pt x="144641" y="73495"/>
                  </a:lnTo>
                  <a:lnTo>
                    <a:pt x="145111" y="73964"/>
                  </a:lnTo>
                  <a:lnTo>
                    <a:pt x="145581" y="74199"/>
                  </a:lnTo>
                  <a:lnTo>
                    <a:pt x="145815" y="74199"/>
                  </a:lnTo>
                  <a:lnTo>
                    <a:pt x="146050" y="74199"/>
                  </a:lnTo>
                  <a:lnTo>
                    <a:pt x="146520" y="74199"/>
                  </a:lnTo>
                  <a:lnTo>
                    <a:pt x="146989" y="73964"/>
                  </a:lnTo>
                  <a:lnTo>
                    <a:pt x="147694" y="73729"/>
                  </a:lnTo>
                  <a:lnTo>
                    <a:pt x="150042" y="72321"/>
                  </a:lnTo>
                  <a:lnTo>
                    <a:pt x="151451" y="71851"/>
                  </a:lnTo>
                  <a:lnTo>
                    <a:pt x="152625" y="72555"/>
                  </a:lnTo>
                  <a:lnTo>
                    <a:pt x="153095" y="73495"/>
                  </a:lnTo>
                  <a:lnTo>
                    <a:pt x="153095" y="74669"/>
                  </a:lnTo>
                  <a:lnTo>
                    <a:pt x="152860" y="75373"/>
                  </a:lnTo>
                  <a:lnTo>
                    <a:pt x="152860" y="75608"/>
                  </a:lnTo>
                  <a:lnTo>
                    <a:pt x="152860" y="75843"/>
                  </a:lnTo>
                  <a:lnTo>
                    <a:pt x="153329" y="77017"/>
                  </a:lnTo>
                  <a:lnTo>
                    <a:pt x="153095" y="77721"/>
                  </a:lnTo>
                  <a:lnTo>
                    <a:pt x="153095" y="78425"/>
                  </a:lnTo>
                  <a:lnTo>
                    <a:pt x="153329" y="79365"/>
                  </a:lnTo>
                  <a:lnTo>
                    <a:pt x="155677" y="83357"/>
                  </a:lnTo>
                  <a:lnTo>
                    <a:pt x="156147" y="84765"/>
                  </a:lnTo>
                  <a:lnTo>
                    <a:pt x="155912" y="85705"/>
                  </a:lnTo>
                  <a:lnTo>
                    <a:pt x="155912" y="85939"/>
                  </a:lnTo>
                  <a:lnTo>
                    <a:pt x="155912" y="86409"/>
                  </a:lnTo>
                  <a:lnTo>
                    <a:pt x="156382" y="89227"/>
                  </a:lnTo>
                  <a:lnTo>
                    <a:pt x="156382" y="89931"/>
                  </a:lnTo>
                  <a:lnTo>
                    <a:pt x="156147" y="90636"/>
                  </a:lnTo>
                  <a:lnTo>
                    <a:pt x="155912" y="91340"/>
                  </a:lnTo>
                  <a:lnTo>
                    <a:pt x="154973" y="92984"/>
                  </a:lnTo>
                  <a:lnTo>
                    <a:pt x="154738" y="93453"/>
                  </a:lnTo>
                  <a:lnTo>
                    <a:pt x="154503" y="93923"/>
                  </a:lnTo>
                  <a:lnTo>
                    <a:pt x="154503" y="94393"/>
                  </a:lnTo>
                  <a:lnTo>
                    <a:pt x="154503" y="94393"/>
                  </a:lnTo>
                  <a:lnTo>
                    <a:pt x="154503" y="94627"/>
                  </a:lnTo>
                  <a:lnTo>
                    <a:pt x="154973" y="95801"/>
                  </a:lnTo>
                  <a:lnTo>
                    <a:pt x="158730" y="100967"/>
                  </a:lnTo>
                  <a:lnTo>
                    <a:pt x="161548" y="106368"/>
                  </a:lnTo>
                  <a:lnTo>
                    <a:pt x="161782" y="106602"/>
                  </a:lnTo>
                  <a:lnTo>
                    <a:pt x="162017" y="106837"/>
                  </a:lnTo>
                  <a:lnTo>
                    <a:pt x="162722" y="107072"/>
                  </a:lnTo>
                  <a:lnTo>
                    <a:pt x="170235" y="113882"/>
                  </a:lnTo>
                  <a:lnTo>
                    <a:pt x="170705" y="114116"/>
                  </a:lnTo>
                  <a:lnTo>
                    <a:pt x="170705" y="112708"/>
                  </a:lnTo>
                  <a:lnTo>
                    <a:pt x="170705" y="112238"/>
                  </a:lnTo>
                  <a:lnTo>
                    <a:pt x="167183" y="107072"/>
                  </a:lnTo>
                  <a:lnTo>
                    <a:pt x="166009" y="104254"/>
                  </a:lnTo>
                  <a:lnTo>
                    <a:pt x="165774" y="103080"/>
                  </a:lnTo>
                  <a:lnTo>
                    <a:pt x="165774" y="102376"/>
                  </a:lnTo>
                  <a:lnTo>
                    <a:pt x="165774" y="101671"/>
                  </a:lnTo>
                  <a:lnTo>
                    <a:pt x="166009" y="100732"/>
                  </a:lnTo>
                  <a:lnTo>
                    <a:pt x="166713" y="100028"/>
                  </a:lnTo>
                  <a:lnTo>
                    <a:pt x="167653" y="99558"/>
                  </a:lnTo>
                  <a:lnTo>
                    <a:pt x="169296" y="99793"/>
                  </a:lnTo>
                  <a:lnTo>
                    <a:pt x="170235" y="100263"/>
                  </a:lnTo>
                  <a:lnTo>
                    <a:pt x="177749" y="109890"/>
                  </a:lnTo>
                  <a:lnTo>
                    <a:pt x="178454" y="110360"/>
                  </a:lnTo>
                  <a:lnTo>
                    <a:pt x="182211" y="111299"/>
                  </a:lnTo>
                  <a:lnTo>
                    <a:pt x="184089" y="112473"/>
                  </a:lnTo>
                  <a:lnTo>
                    <a:pt x="187846" y="116230"/>
                  </a:lnTo>
                  <a:lnTo>
                    <a:pt x="188550" y="116699"/>
                  </a:lnTo>
                  <a:lnTo>
                    <a:pt x="188550" y="116699"/>
                  </a:lnTo>
                  <a:lnTo>
                    <a:pt x="188550" y="116464"/>
                  </a:lnTo>
                  <a:lnTo>
                    <a:pt x="188550" y="116230"/>
                  </a:lnTo>
                  <a:lnTo>
                    <a:pt x="188550" y="115995"/>
                  </a:lnTo>
                  <a:lnTo>
                    <a:pt x="188550" y="115760"/>
                  </a:lnTo>
                  <a:lnTo>
                    <a:pt x="186437" y="112003"/>
                  </a:lnTo>
                  <a:lnTo>
                    <a:pt x="186202" y="111064"/>
                  </a:lnTo>
                  <a:lnTo>
                    <a:pt x="186202" y="110124"/>
                  </a:lnTo>
                  <a:lnTo>
                    <a:pt x="186437" y="109420"/>
                  </a:lnTo>
                  <a:lnTo>
                    <a:pt x="186907" y="108716"/>
                  </a:lnTo>
                  <a:lnTo>
                    <a:pt x="187376" y="108246"/>
                  </a:lnTo>
                  <a:lnTo>
                    <a:pt x="188550" y="107307"/>
                  </a:lnTo>
                  <a:lnTo>
                    <a:pt x="190429" y="106133"/>
                  </a:lnTo>
                  <a:lnTo>
                    <a:pt x="191603" y="105898"/>
                  </a:lnTo>
                  <a:lnTo>
                    <a:pt x="193012" y="105898"/>
                  </a:lnTo>
                  <a:lnTo>
                    <a:pt x="194890" y="106602"/>
                  </a:lnTo>
                  <a:lnTo>
                    <a:pt x="195829" y="107307"/>
                  </a:lnTo>
                  <a:lnTo>
                    <a:pt x="196534" y="108011"/>
                  </a:lnTo>
                  <a:lnTo>
                    <a:pt x="196534" y="108716"/>
                  </a:lnTo>
                  <a:lnTo>
                    <a:pt x="196534" y="108950"/>
                  </a:lnTo>
                  <a:lnTo>
                    <a:pt x="196299" y="109655"/>
                  </a:lnTo>
                  <a:lnTo>
                    <a:pt x="195829" y="110829"/>
                  </a:lnTo>
                  <a:lnTo>
                    <a:pt x="195360" y="111768"/>
                  </a:lnTo>
                  <a:lnTo>
                    <a:pt x="195125" y="112708"/>
                  </a:lnTo>
                  <a:lnTo>
                    <a:pt x="195125" y="114586"/>
                  </a:lnTo>
                  <a:lnTo>
                    <a:pt x="195360" y="114586"/>
                  </a:lnTo>
                  <a:lnTo>
                    <a:pt x="195829" y="114586"/>
                  </a:lnTo>
                  <a:lnTo>
                    <a:pt x="196534" y="114586"/>
                  </a:lnTo>
                  <a:lnTo>
                    <a:pt x="199821" y="115290"/>
                  </a:lnTo>
                  <a:lnTo>
                    <a:pt x="201465" y="115525"/>
                  </a:lnTo>
                  <a:lnTo>
                    <a:pt x="201934" y="115525"/>
                  </a:lnTo>
                  <a:lnTo>
                    <a:pt x="202169" y="115525"/>
                  </a:lnTo>
                  <a:lnTo>
                    <a:pt x="202169" y="115525"/>
                  </a:lnTo>
                  <a:lnTo>
                    <a:pt x="202169" y="115525"/>
                  </a:lnTo>
                  <a:lnTo>
                    <a:pt x="203813" y="108481"/>
                  </a:lnTo>
                  <a:lnTo>
                    <a:pt x="204048" y="100497"/>
                  </a:lnTo>
                  <a:lnTo>
                    <a:pt x="204048" y="100263"/>
                  </a:lnTo>
                  <a:lnTo>
                    <a:pt x="203813" y="99793"/>
                  </a:lnTo>
                  <a:lnTo>
                    <a:pt x="202639" y="98384"/>
                  </a:lnTo>
                  <a:lnTo>
                    <a:pt x="202169" y="97445"/>
                  </a:lnTo>
                  <a:lnTo>
                    <a:pt x="202404" y="96271"/>
                  </a:lnTo>
                  <a:lnTo>
                    <a:pt x="202874" y="95332"/>
                  </a:lnTo>
                  <a:lnTo>
                    <a:pt x="204283" y="94393"/>
                  </a:lnTo>
                  <a:lnTo>
                    <a:pt x="204752" y="93923"/>
                  </a:lnTo>
                  <a:lnTo>
                    <a:pt x="204987" y="93688"/>
                  </a:lnTo>
                  <a:lnTo>
                    <a:pt x="205691" y="93218"/>
                  </a:lnTo>
                  <a:lnTo>
                    <a:pt x="206396" y="92749"/>
                  </a:lnTo>
                  <a:lnTo>
                    <a:pt x="207100" y="92514"/>
                  </a:lnTo>
                  <a:lnTo>
                    <a:pt x="208039" y="92514"/>
                  </a:lnTo>
                  <a:lnTo>
                    <a:pt x="211562" y="92984"/>
                  </a:lnTo>
                  <a:lnTo>
                    <a:pt x="218606" y="92514"/>
                  </a:lnTo>
                  <a:lnTo>
                    <a:pt x="221658" y="92044"/>
                  </a:lnTo>
                  <a:lnTo>
                    <a:pt x="223537" y="92044"/>
                  </a:lnTo>
                  <a:lnTo>
                    <a:pt x="224711" y="92984"/>
                  </a:lnTo>
                  <a:lnTo>
                    <a:pt x="224946" y="94158"/>
                  </a:lnTo>
                  <a:lnTo>
                    <a:pt x="224241" y="96036"/>
                  </a:lnTo>
                  <a:lnTo>
                    <a:pt x="225415" y="98149"/>
                  </a:lnTo>
                  <a:lnTo>
                    <a:pt x="226354" y="99323"/>
                  </a:lnTo>
                  <a:lnTo>
                    <a:pt x="227059" y="99793"/>
                  </a:lnTo>
                  <a:lnTo>
                    <a:pt x="227294" y="100028"/>
                  </a:lnTo>
                  <a:lnTo>
                    <a:pt x="232694" y="101202"/>
                  </a:lnTo>
                  <a:lnTo>
                    <a:pt x="233868" y="101671"/>
                  </a:lnTo>
                  <a:lnTo>
                    <a:pt x="234808" y="102611"/>
                  </a:lnTo>
                  <a:lnTo>
                    <a:pt x="235042" y="103550"/>
                  </a:lnTo>
                  <a:lnTo>
                    <a:pt x="235042" y="105428"/>
                  </a:lnTo>
                  <a:lnTo>
                    <a:pt x="235042" y="105898"/>
                  </a:lnTo>
                  <a:lnTo>
                    <a:pt x="235277" y="106133"/>
                  </a:lnTo>
                  <a:lnTo>
                    <a:pt x="235512" y="106133"/>
                  </a:lnTo>
                  <a:lnTo>
                    <a:pt x="235982" y="105898"/>
                  </a:lnTo>
                  <a:lnTo>
                    <a:pt x="236921" y="105663"/>
                  </a:lnTo>
                  <a:lnTo>
                    <a:pt x="238330" y="105663"/>
                  </a:lnTo>
                  <a:lnTo>
                    <a:pt x="238564" y="105428"/>
                  </a:lnTo>
                  <a:lnTo>
                    <a:pt x="241147" y="100967"/>
                  </a:lnTo>
                  <a:lnTo>
                    <a:pt x="242321" y="99558"/>
                  </a:lnTo>
                  <a:lnTo>
                    <a:pt x="242791" y="99089"/>
                  </a:lnTo>
                  <a:lnTo>
                    <a:pt x="243261" y="98619"/>
                  </a:lnTo>
                  <a:lnTo>
                    <a:pt x="243965" y="98149"/>
                  </a:lnTo>
                  <a:lnTo>
                    <a:pt x="244669" y="97680"/>
                  </a:lnTo>
                  <a:lnTo>
                    <a:pt x="246078" y="96975"/>
                  </a:lnTo>
                  <a:lnTo>
                    <a:pt x="248426" y="96506"/>
                  </a:lnTo>
                  <a:lnTo>
                    <a:pt x="251948" y="95801"/>
                  </a:lnTo>
                  <a:lnTo>
                    <a:pt x="253123" y="95332"/>
                  </a:lnTo>
                  <a:lnTo>
                    <a:pt x="253592" y="95097"/>
                  </a:lnTo>
                  <a:lnTo>
                    <a:pt x="253827" y="94862"/>
                  </a:lnTo>
                  <a:lnTo>
                    <a:pt x="254531" y="94393"/>
                  </a:lnTo>
                  <a:lnTo>
                    <a:pt x="255236" y="93688"/>
                  </a:lnTo>
                  <a:lnTo>
                    <a:pt x="255471" y="93218"/>
                  </a:lnTo>
                  <a:lnTo>
                    <a:pt x="258993" y="88288"/>
                  </a:lnTo>
                  <a:lnTo>
                    <a:pt x="258993" y="88053"/>
                  </a:lnTo>
                  <a:lnTo>
                    <a:pt x="258993" y="87818"/>
                  </a:lnTo>
                  <a:lnTo>
                    <a:pt x="258993" y="87583"/>
                  </a:lnTo>
                  <a:lnTo>
                    <a:pt x="257114" y="84061"/>
                  </a:lnTo>
                  <a:lnTo>
                    <a:pt x="256879" y="83122"/>
                  </a:lnTo>
                  <a:lnTo>
                    <a:pt x="256879" y="82183"/>
                  </a:lnTo>
                  <a:lnTo>
                    <a:pt x="256879" y="81478"/>
                  </a:lnTo>
                  <a:lnTo>
                    <a:pt x="257114" y="80539"/>
                  </a:lnTo>
                  <a:lnTo>
                    <a:pt x="257349" y="79835"/>
                  </a:lnTo>
                  <a:lnTo>
                    <a:pt x="257819" y="79130"/>
                  </a:lnTo>
                  <a:lnTo>
                    <a:pt x="258288" y="78661"/>
                  </a:lnTo>
                  <a:lnTo>
                    <a:pt x="258758" y="78191"/>
                  </a:lnTo>
                  <a:lnTo>
                    <a:pt x="259462" y="77486"/>
                  </a:lnTo>
                  <a:lnTo>
                    <a:pt x="260402" y="77251"/>
                  </a:lnTo>
                  <a:lnTo>
                    <a:pt x="261576" y="77251"/>
                  </a:lnTo>
                  <a:lnTo>
                    <a:pt x="264863" y="77721"/>
                  </a:lnTo>
                  <a:lnTo>
                    <a:pt x="265567" y="77721"/>
                  </a:lnTo>
                  <a:lnTo>
                    <a:pt x="266976" y="77251"/>
                  </a:lnTo>
                  <a:lnTo>
                    <a:pt x="268620" y="76782"/>
                  </a:lnTo>
                  <a:lnTo>
                    <a:pt x="270029" y="77486"/>
                  </a:lnTo>
                  <a:lnTo>
                    <a:pt x="270263" y="78895"/>
                  </a:lnTo>
                  <a:lnTo>
                    <a:pt x="269794" y="79835"/>
                  </a:lnTo>
                  <a:lnTo>
                    <a:pt x="267915" y="82417"/>
                  </a:lnTo>
                  <a:lnTo>
                    <a:pt x="266272" y="84296"/>
                  </a:lnTo>
                  <a:lnTo>
                    <a:pt x="266037" y="84531"/>
                  </a:lnTo>
                  <a:lnTo>
                    <a:pt x="266037" y="84531"/>
                  </a:lnTo>
                  <a:lnTo>
                    <a:pt x="266037" y="85000"/>
                  </a:lnTo>
                  <a:lnTo>
                    <a:pt x="266272" y="85235"/>
                  </a:lnTo>
                  <a:lnTo>
                    <a:pt x="267446" y="86879"/>
                  </a:lnTo>
                  <a:lnTo>
                    <a:pt x="267915" y="87348"/>
                  </a:lnTo>
                  <a:lnTo>
                    <a:pt x="267915" y="87348"/>
                  </a:lnTo>
                  <a:lnTo>
                    <a:pt x="268150" y="87348"/>
                  </a:lnTo>
                  <a:lnTo>
                    <a:pt x="268385" y="87114"/>
                  </a:lnTo>
                  <a:lnTo>
                    <a:pt x="268620" y="86879"/>
                  </a:lnTo>
                  <a:lnTo>
                    <a:pt x="269324" y="86174"/>
                  </a:lnTo>
                  <a:lnTo>
                    <a:pt x="269559" y="85705"/>
                  </a:lnTo>
                  <a:lnTo>
                    <a:pt x="270029" y="85235"/>
                  </a:lnTo>
                  <a:lnTo>
                    <a:pt x="270498" y="84765"/>
                  </a:lnTo>
                  <a:lnTo>
                    <a:pt x="271203" y="84296"/>
                  </a:lnTo>
                  <a:lnTo>
                    <a:pt x="271907" y="83826"/>
                  </a:lnTo>
                  <a:lnTo>
                    <a:pt x="273551" y="83357"/>
                  </a:lnTo>
                  <a:lnTo>
                    <a:pt x="274960" y="82887"/>
                  </a:lnTo>
                  <a:lnTo>
                    <a:pt x="275429" y="82652"/>
                  </a:lnTo>
                  <a:lnTo>
                    <a:pt x="275899" y="82417"/>
                  </a:lnTo>
                  <a:lnTo>
                    <a:pt x="276134" y="82183"/>
                  </a:lnTo>
                  <a:lnTo>
                    <a:pt x="276368" y="81948"/>
                  </a:lnTo>
                  <a:lnTo>
                    <a:pt x="276838" y="81243"/>
                  </a:lnTo>
                  <a:lnTo>
                    <a:pt x="277073" y="80774"/>
                  </a:lnTo>
                  <a:lnTo>
                    <a:pt x="278012" y="79365"/>
                  </a:lnTo>
                  <a:lnTo>
                    <a:pt x="278482" y="78895"/>
                  </a:lnTo>
                  <a:lnTo>
                    <a:pt x="278951" y="78425"/>
                  </a:lnTo>
                  <a:lnTo>
                    <a:pt x="279656" y="77956"/>
                  </a:lnTo>
                  <a:lnTo>
                    <a:pt x="280360" y="77721"/>
                  </a:lnTo>
                  <a:lnTo>
                    <a:pt x="281769" y="77486"/>
                  </a:lnTo>
                  <a:lnTo>
                    <a:pt x="282239" y="77486"/>
                  </a:lnTo>
                  <a:lnTo>
                    <a:pt x="282473" y="77251"/>
                  </a:lnTo>
                  <a:lnTo>
                    <a:pt x="282708" y="77017"/>
                  </a:lnTo>
                  <a:lnTo>
                    <a:pt x="282943" y="76782"/>
                  </a:lnTo>
                  <a:lnTo>
                    <a:pt x="283178" y="75843"/>
                  </a:lnTo>
                  <a:lnTo>
                    <a:pt x="283648" y="73729"/>
                  </a:lnTo>
                  <a:lnTo>
                    <a:pt x="283882" y="72790"/>
                  </a:lnTo>
                  <a:lnTo>
                    <a:pt x="284352" y="72086"/>
                  </a:lnTo>
                  <a:lnTo>
                    <a:pt x="284822" y="71616"/>
                  </a:lnTo>
                  <a:lnTo>
                    <a:pt x="285526" y="71147"/>
                  </a:lnTo>
                  <a:lnTo>
                    <a:pt x="286700" y="70442"/>
                  </a:lnTo>
                  <a:lnTo>
                    <a:pt x="288578" y="69503"/>
                  </a:lnTo>
                  <a:lnTo>
                    <a:pt x="291396" y="68329"/>
                  </a:lnTo>
                  <a:lnTo>
                    <a:pt x="293979" y="78895"/>
                  </a:lnTo>
                  <a:lnTo>
                    <a:pt x="293979" y="79835"/>
                  </a:lnTo>
                  <a:lnTo>
                    <a:pt x="293509" y="82183"/>
                  </a:lnTo>
                  <a:lnTo>
                    <a:pt x="293509" y="83122"/>
                  </a:lnTo>
                  <a:lnTo>
                    <a:pt x="296092" y="91575"/>
                  </a:lnTo>
                  <a:lnTo>
                    <a:pt x="296562" y="93688"/>
                  </a:lnTo>
                  <a:lnTo>
                    <a:pt x="296562" y="95567"/>
                  </a:lnTo>
                  <a:lnTo>
                    <a:pt x="295623" y="96741"/>
                  </a:lnTo>
                  <a:lnTo>
                    <a:pt x="294214" y="98149"/>
                  </a:lnTo>
                  <a:lnTo>
                    <a:pt x="293979" y="98384"/>
                  </a:lnTo>
                  <a:lnTo>
                    <a:pt x="293744" y="98854"/>
                  </a:lnTo>
                  <a:lnTo>
                    <a:pt x="293509" y="99323"/>
                  </a:lnTo>
                  <a:lnTo>
                    <a:pt x="293275" y="100263"/>
                  </a:lnTo>
                  <a:lnTo>
                    <a:pt x="293040" y="101671"/>
                  </a:lnTo>
                  <a:lnTo>
                    <a:pt x="293040" y="102846"/>
                  </a:lnTo>
                  <a:lnTo>
                    <a:pt x="293275" y="103315"/>
                  </a:lnTo>
                  <a:lnTo>
                    <a:pt x="293509" y="103550"/>
                  </a:lnTo>
                  <a:lnTo>
                    <a:pt x="293979" y="103785"/>
                  </a:lnTo>
                  <a:lnTo>
                    <a:pt x="294214" y="103785"/>
                  </a:lnTo>
                  <a:lnTo>
                    <a:pt x="294918" y="103550"/>
                  </a:lnTo>
                  <a:lnTo>
                    <a:pt x="295857" y="103315"/>
                  </a:lnTo>
                  <a:lnTo>
                    <a:pt x="296797" y="103315"/>
                  </a:lnTo>
                  <a:lnTo>
                    <a:pt x="297736" y="103785"/>
                  </a:lnTo>
                  <a:lnTo>
                    <a:pt x="298206" y="104254"/>
                  </a:lnTo>
                  <a:lnTo>
                    <a:pt x="306659" y="114116"/>
                  </a:lnTo>
                  <a:lnTo>
                    <a:pt x="307363" y="114586"/>
                  </a:lnTo>
                  <a:lnTo>
                    <a:pt x="307598" y="114586"/>
                  </a:lnTo>
                  <a:lnTo>
                    <a:pt x="307833" y="114586"/>
                  </a:lnTo>
                  <a:lnTo>
                    <a:pt x="308067" y="114586"/>
                  </a:lnTo>
                  <a:lnTo>
                    <a:pt x="308537" y="114351"/>
                  </a:lnTo>
                  <a:lnTo>
                    <a:pt x="309007" y="114116"/>
                  </a:lnTo>
                  <a:lnTo>
                    <a:pt x="309946" y="113412"/>
                  </a:lnTo>
                  <a:lnTo>
                    <a:pt x="310650" y="112942"/>
                  </a:lnTo>
                  <a:lnTo>
                    <a:pt x="311590" y="112473"/>
                  </a:lnTo>
                  <a:lnTo>
                    <a:pt x="312529" y="112473"/>
                  </a:lnTo>
                  <a:lnTo>
                    <a:pt x="313233" y="112708"/>
                  </a:lnTo>
                  <a:lnTo>
                    <a:pt x="313938" y="113177"/>
                  </a:lnTo>
                  <a:lnTo>
                    <a:pt x="319103" y="119047"/>
                  </a:lnTo>
                  <a:lnTo>
                    <a:pt x="319573" y="119987"/>
                  </a:lnTo>
                  <a:lnTo>
                    <a:pt x="319808" y="121161"/>
                  </a:lnTo>
                  <a:lnTo>
                    <a:pt x="319338" y="122569"/>
                  </a:lnTo>
                  <a:lnTo>
                    <a:pt x="318869" y="123743"/>
                  </a:lnTo>
                  <a:lnTo>
                    <a:pt x="318164" y="124448"/>
                  </a:lnTo>
                  <a:lnTo>
                    <a:pt x="317225" y="124917"/>
                  </a:lnTo>
                  <a:lnTo>
                    <a:pt x="316521" y="124917"/>
                  </a:lnTo>
                  <a:lnTo>
                    <a:pt x="314642" y="124917"/>
                  </a:lnTo>
                  <a:lnTo>
                    <a:pt x="314172" y="124917"/>
                  </a:lnTo>
                  <a:lnTo>
                    <a:pt x="313938" y="124917"/>
                  </a:lnTo>
                  <a:lnTo>
                    <a:pt x="313703" y="124917"/>
                  </a:lnTo>
                  <a:lnTo>
                    <a:pt x="312998" y="125622"/>
                  </a:lnTo>
                  <a:lnTo>
                    <a:pt x="311590" y="127031"/>
                  </a:lnTo>
                  <a:lnTo>
                    <a:pt x="311355" y="127266"/>
                  </a:lnTo>
                  <a:lnTo>
                    <a:pt x="311355" y="127266"/>
                  </a:lnTo>
                  <a:lnTo>
                    <a:pt x="311355" y="127500"/>
                  </a:lnTo>
                  <a:lnTo>
                    <a:pt x="312764" y="129614"/>
                  </a:lnTo>
                  <a:lnTo>
                    <a:pt x="313233" y="131022"/>
                  </a:lnTo>
                  <a:lnTo>
                    <a:pt x="312764" y="132431"/>
                  </a:lnTo>
                  <a:lnTo>
                    <a:pt x="312294" y="133136"/>
                  </a:lnTo>
                  <a:lnTo>
                    <a:pt x="311824" y="133605"/>
                  </a:lnTo>
                  <a:lnTo>
                    <a:pt x="310650" y="135014"/>
                  </a:lnTo>
                  <a:lnTo>
                    <a:pt x="310885" y="135719"/>
                  </a:lnTo>
                  <a:lnTo>
                    <a:pt x="317225" y="145581"/>
                  </a:lnTo>
                  <a:lnTo>
                    <a:pt x="328261" y="156851"/>
                  </a:lnTo>
                  <a:lnTo>
                    <a:pt x="329905" y="159434"/>
                  </a:lnTo>
                  <a:lnTo>
                    <a:pt x="334131" y="178923"/>
                  </a:lnTo>
                  <a:lnTo>
                    <a:pt x="339062" y="189724"/>
                  </a:lnTo>
                  <a:lnTo>
                    <a:pt x="343054" y="194655"/>
                  </a:lnTo>
                  <a:lnTo>
                    <a:pt x="337184" y="202404"/>
                  </a:lnTo>
                  <a:lnTo>
                    <a:pt x="323330" y="217666"/>
                  </a:lnTo>
                  <a:lnTo>
                    <a:pt x="321452" y="220015"/>
                  </a:lnTo>
                  <a:lnTo>
                    <a:pt x="320747" y="220719"/>
                  </a:lnTo>
                  <a:lnTo>
                    <a:pt x="320043" y="221189"/>
                  </a:lnTo>
                  <a:lnTo>
                    <a:pt x="317695" y="222597"/>
                  </a:lnTo>
                  <a:lnTo>
                    <a:pt x="317460" y="222832"/>
                  </a:lnTo>
                  <a:lnTo>
                    <a:pt x="317460" y="223067"/>
                  </a:lnTo>
                  <a:lnTo>
                    <a:pt x="317460" y="223537"/>
                  </a:lnTo>
                  <a:lnTo>
                    <a:pt x="317695" y="223771"/>
                  </a:lnTo>
                  <a:lnTo>
                    <a:pt x="317929" y="224006"/>
                  </a:lnTo>
                  <a:lnTo>
                    <a:pt x="318634" y="224476"/>
                  </a:lnTo>
                  <a:lnTo>
                    <a:pt x="320043" y="225180"/>
                  </a:lnTo>
                  <a:lnTo>
                    <a:pt x="320982" y="225650"/>
                  </a:lnTo>
                  <a:lnTo>
                    <a:pt x="322156" y="227294"/>
                  </a:lnTo>
                  <a:lnTo>
                    <a:pt x="322391" y="228233"/>
                  </a:lnTo>
                  <a:lnTo>
                    <a:pt x="322391" y="230346"/>
                  </a:lnTo>
                  <a:lnTo>
                    <a:pt x="322626" y="230816"/>
                  </a:lnTo>
                  <a:lnTo>
                    <a:pt x="322626" y="231050"/>
                  </a:lnTo>
                  <a:lnTo>
                    <a:pt x="322860" y="231285"/>
                  </a:lnTo>
                  <a:lnTo>
                    <a:pt x="323095" y="231285"/>
                  </a:lnTo>
                  <a:lnTo>
                    <a:pt x="323330" y="231285"/>
                  </a:lnTo>
                  <a:lnTo>
                    <a:pt x="324504" y="231050"/>
                  </a:lnTo>
                  <a:lnTo>
                    <a:pt x="325443" y="231050"/>
                  </a:lnTo>
                  <a:lnTo>
                    <a:pt x="326617" y="231050"/>
                  </a:lnTo>
                  <a:lnTo>
                    <a:pt x="327087" y="231050"/>
                  </a:lnTo>
                  <a:lnTo>
                    <a:pt x="327556" y="230816"/>
                  </a:lnTo>
                  <a:lnTo>
                    <a:pt x="328261" y="230581"/>
                  </a:lnTo>
                  <a:lnTo>
                    <a:pt x="329435" y="230346"/>
                  </a:lnTo>
                  <a:lnTo>
                    <a:pt x="330374" y="230581"/>
                  </a:lnTo>
                  <a:lnTo>
                    <a:pt x="331548" y="231520"/>
                  </a:lnTo>
                  <a:lnTo>
                    <a:pt x="336479" y="238564"/>
                  </a:lnTo>
                  <a:lnTo>
                    <a:pt x="336714" y="239269"/>
                  </a:lnTo>
                  <a:lnTo>
                    <a:pt x="336714" y="239973"/>
                  </a:lnTo>
                  <a:lnTo>
                    <a:pt x="336479" y="240912"/>
                  </a:lnTo>
                  <a:lnTo>
                    <a:pt x="335775" y="241852"/>
                  </a:lnTo>
                  <a:lnTo>
                    <a:pt x="334366" y="242321"/>
                  </a:lnTo>
                  <a:lnTo>
                    <a:pt x="333427" y="242321"/>
                  </a:lnTo>
                  <a:lnTo>
                    <a:pt x="332722" y="242086"/>
                  </a:lnTo>
                  <a:lnTo>
                    <a:pt x="331313" y="240912"/>
                  </a:lnTo>
                  <a:lnTo>
                    <a:pt x="331079" y="240912"/>
                  </a:lnTo>
                  <a:lnTo>
                    <a:pt x="330844" y="240912"/>
                  </a:lnTo>
                  <a:lnTo>
                    <a:pt x="330374" y="240912"/>
                  </a:lnTo>
                  <a:lnTo>
                    <a:pt x="329670" y="241147"/>
                  </a:lnTo>
                  <a:lnTo>
                    <a:pt x="328496" y="241617"/>
                  </a:lnTo>
                  <a:lnTo>
                    <a:pt x="328026" y="241852"/>
                  </a:lnTo>
                  <a:lnTo>
                    <a:pt x="327791" y="242086"/>
                  </a:lnTo>
                  <a:lnTo>
                    <a:pt x="327556" y="242556"/>
                  </a:lnTo>
                  <a:lnTo>
                    <a:pt x="327322" y="243495"/>
                  </a:lnTo>
                  <a:lnTo>
                    <a:pt x="327087" y="245843"/>
                  </a:lnTo>
                  <a:lnTo>
                    <a:pt x="326617" y="246783"/>
                  </a:lnTo>
                  <a:lnTo>
                    <a:pt x="325913" y="247487"/>
                  </a:lnTo>
                  <a:lnTo>
                    <a:pt x="324504" y="248426"/>
                  </a:lnTo>
                  <a:lnTo>
                    <a:pt x="323330" y="248661"/>
                  </a:lnTo>
                  <a:lnTo>
                    <a:pt x="322391" y="248661"/>
                  </a:lnTo>
                  <a:lnTo>
                    <a:pt x="321686" y="248426"/>
                  </a:lnTo>
                  <a:lnTo>
                    <a:pt x="321452" y="248426"/>
                  </a:lnTo>
                  <a:lnTo>
                    <a:pt x="320982" y="248661"/>
                  </a:lnTo>
                  <a:lnTo>
                    <a:pt x="320747" y="248896"/>
                  </a:lnTo>
                  <a:lnTo>
                    <a:pt x="320512" y="249131"/>
                  </a:lnTo>
                  <a:lnTo>
                    <a:pt x="316990" y="252418"/>
                  </a:lnTo>
                  <a:lnTo>
                    <a:pt x="316286" y="252888"/>
                  </a:lnTo>
                  <a:lnTo>
                    <a:pt x="315581" y="253357"/>
                  </a:lnTo>
                  <a:lnTo>
                    <a:pt x="312059" y="255001"/>
                  </a:lnTo>
                  <a:lnTo>
                    <a:pt x="311590" y="255236"/>
                  </a:lnTo>
                  <a:lnTo>
                    <a:pt x="310650" y="255940"/>
                  </a:lnTo>
                  <a:lnTo>
                    <a:pt x="309711" y="256644"/>
                  </a:lnTo>
                  <a:lnTo>
                    <a:pt x="308067" y="258288"/>
                  </a:lnTo>
                  <a:lnTo>
                    <a:pt x="306893" y="259227"/>
                  </a:lnTo>
                  <a:lnTo>
                    <a:pt x="306659" y="259462"/>
                  </a:lnTo>
                  <a:lnTo>
                    <a:pt x="306424" y="259697"/>
                  </a:lnTo>
                  <a:lnTo>
                    <a:pt x="306424" y="260636"/>
                  </a:lnTo>
                  <a:lnTo>
                    <a:pt x="306659" y="262515"/>
                  </a:lnTo>
                  <a:lnTo>
                    <a:pt x="306659" y="263689"/>
                  </a:lnTo>
                  <a:lnTo>
                    <a:pt x="305954" y="264863"/>
                  </a:lnTo>
                  <a:lnTo>
                    <a:pt x="299614" y="270968"/>
                  </a:lnTo>
                  <a:lnTo>
                    <a:pt x="294449" y="274255"/>
                  </a:lnTo>
                  <a:lnTo>
                    <a:pt x="293744" y="274725"/>
                  </a:lnTo>
                  <a:lnTo>
                    <a:pt x="293509" y="274960"/>
                  </a:lnTo>
                  <a:lnTo>
                    <a:pt x="293509" y="275194"/>
                  </a:lnTo>
                  <a:lnTo>
                    <a:pt x="293509" y="275899"/>
                  </a:lnTo>
                  <a:lnTo>
                    <a:pt x="293979" y="277542"/>
                  </a:lnTo>
                  <a:lnTo>
                    <a:pt x="293979" y="277777"/>
                  </a:lnTo>
                  <a:lnTo>
                    <a:pt x="293979" y="278012"/>
                  </a:lnTo>
                  <a:lnTo>
                    <a:pt x="293744" y="278716"/>
                  </a:lnTo>
                  <a:lnTo>
                    <a:pt x="293275" y="279421"/>
                  </a:lnTo>
                  <a:lnTo>
                    <a:pt x="292570" y="280360"/>
                  </a:lnTo>
                  <a:lnTo>
                    <a:pt x="291161" y="281769"/>
                  </a:lnTo>
                  <a:lnTo>
                    <a:pt x="289048" y="283413"/>
                  </a:lnTo>
                  <a:lnTo>
                    <a:pt x="288813" y="283647"/>
                  </a:lnTo>
                  <a:lnTo>
                    <a:pt x="288813" y="283882"/>
                  </a:lnTo>
                  <a:lnTo>
                    <a:pt x="288813" y="284352"/>
                  </a:lnTo>
                  <a:lnTo>
                    <a:pt x="289753" y="287169"/>
                  </a:lnTo>
                  <a:lnTo>
                    <a:pt x="289753" y="287874"/>
                  </a:lnTo>
                  <a:lnTo>
                    <a:pt x="289753" y="288578"/>
                  </a:lnTo>
                  <a:lnTo>
                    <a:pt x="289518" y="290457"/>
                  </a:lnTo>
                  <a:lnTo>
                    <a:pt x="289518" y="291396"/>
                  </a:lnTo>
                  <a:lnTo>
                    <a:pt x="290927" y="297501"/>
                  </a:lnTo>
                  <a:lnTo>
                    <a:pt x="290927" y="298440"/>
                  </a:lnTo>
                  <a:lnTo>
                    <a:pt x="290457" y="299380"/>
                  </a:lnTo>
                  <a:lnTo>
                    <a:pt x="289753" y="300319"/>
                  </a:lnTo>
                  <a:lnTo>
                    <a:pt x="285526" y="304310"/>
                  </a:lnTo>
                  <a:lnTo>
                    <a:pt x="285291" y="304780"/>
                  </a:lnTo>
                  <a:lnTo>
                    <a:pt x="285056" y="305015"/>
                  </a:lnTo>
                  <a:lnTo>
                    <a:pt x="285056" y="305719"/>
                  </a:lnTo>
                  <a:lnTo>
                    <a:pt x="285291" y="306189"/>
                  </a:lnTo>
                  <a:lnTo>
                    <a:pt x="285761" y="307363"/>
                  </a:lnTo>
                  <a:lnTo>
                    <a:pt x="285996" y="308302"/>
                  </a:lnTo>
                  <a:lnTo>
                    <a:pt x="285996" y="309007"/>
                  </a:lnTo>
                  <a:lnTo>
                    <a:pt x="285761" y="309946"/>
                  </a:lnTo>
                  <a:lnTo>
                    <a:pt x="285056" y="310885"/>
                  </a:lnTo>
                  <a:lnTo>
                    <a:pt x="284117" y="312059"/>
                  </a:lnTo>
                  <a:lnTo>
                    <a:pt x="282004" y="313938"/>
                  </a:lnTo>
                  <a:lnTo>
                    <a:pt x="280595" y="314877"/>
                  </a:lnTo>
                  <a:lnTo>
                    <a:pt x="279186" y="315112"/>
                  </a:lnTo>
                  <a:lnTo>
                    <a:pt x="278247" y="314642"/>
                  </a:lnTo>
                  <a:lnTo>
                    <a:pt x="275194" y="312529"/>
                  </a:lnTo>
                  <a:lnTo>
                    <a:pt x="274255" y="311589"/>
                  </a:lnTo>
                  <a:lnTo>
                    <a:pt x="274020" y="311355"/>
                  </a:lnTo>
                  <a:lnTo>
                    <a:pt x="274020" y="311355"/>
                  </a:lnTo>
                  <a:lnTo>
                    <a:pt x="273551" y="311355"/>
                  </a:lnTo>
                  <a:lnTo>
                    <a:pt x="273081" y="311589"/>
                  </a:lnTo>
                  <a:lnTo>
                    <a:pt x="269559" y="313468"/>
                  </a:lnTo>
                  <a:lnTo>
                    <a:pt x="268855" y="313703"/>
                  </a:lnTo>
                  <a:lnTo>
                    <a:pt x="267915" y="313703"/>
                  </a:lnTo>
                  <a:lnTo>
                    <a:pt x="266507" y="313468"/>
                  </a:lnTo>
                  <a:lnTo>
                    <a:pt x="266037" y="313468"/>
                  </a:lnTo>
                  <a:lnTo>
                    <a:pt x="265567" y="313468"/>
                  </a:lnTo>
                  <a:lnTo>
                    <a:pt x="263454" y="313938"/>
                  </a:lnTo>
                  <a:lnTo>
                    <a:pt x="262515" y="313938"/>
                  </a:lnTo>
                  <a:lnTo>
                    <a:pt x="261576" y="313703"/>
                  </a:lnTo>
                  <a:lnTo>
                    <a:pt x="260871" y="313468"/>
                  </a:lnTo>
                  <a:lnTo>
                    <a:pt x="259932" y="312764"/>
                  </a:lnTo>
                  <a:lnTo>
                    <a:pt x="259228" y="312529"/>
                  </a:lnTo>
                  <a:lnTo>
                    <a:pt x="258288" y="312529"/>
                  </a:lnTo>
                  <a:lnTo>
                    <a:pt x="257819" y="312529"/>
                  </a:lnTo>
                  <a:lnTo>
                    <a:pt x="256879" y="312529"/>
                  </a:lnTo>
                  <a:lnTo>
                    <a:pt x="255940" y="312294"/>
                  </a:lnTo>
                  <a:lnTo>
                    <a:pt x="255236" y="311824"/>
                  </a:lnTo>
                  <a:lnTo>
                    <a:pt x="254766" y="311355"/>
                  </a:lnTo>
                  <a:lnTo>
                    <a:pt x="252888" y="308302"/>
                  </a:lnTo>
                  <a:lnTo>
                    <a:pt x="252653" y="308067"/>
                  </a:lnTo>
                  <a:lnTo>
                    <a:pt x="252418" y="308067"/>
                  </a:lnTo>
                  <a:lnTo>
                    <a:pt x="252183" y="307833"/>
                  </a:lnTo>
                  <a:lnTo>
                    <a:pt x="251948" y="307833"/>
                  </a:lnTo>
                  <a:lnTo>
                    <a:pt x="251714" y="307833"/>
                  </a:lnTo>
                  <a:lnTo>
                    <a:pt x="251479" y="308067"/>
                  </a:lnTo>
                  <a:lnTo>
                    <a:pt x="251009" y="308302"/>
                  </a:lnTo>
                  <a:lnTo>
                    <a:pt x="249835" y="309241"/>
                  </a:lnTo>
                  <a:lnTo>
                    <a:pt x="249600" y="309476"/>
                  </a:lnTo>
                  <a:lnTo>
                    <a:pt x="249600" y="309711"/>
                  </a:lnTo>
                  <a:lnTo>
                    <a:pt x="249835" y="310415"/>
                  </a:lnTo>
                  <a:lnTo>
                    <a:pt x="250070" y="310650"/>
                  </a:lnTo>
                  <a:lnTo>
                    <a:pt x="250540" y="311120"/>
                  </a:lnTo>
                  <a:lnTo>
                    <a:pt x="251244" y="311589"/>
                  </a:lnTo>
                  <a:lnTo>
                    <a:pt x="251479" y="312998"/>
                  </a:lnTo>
                  <a:lnTo>
                    <a:pt x="251244" y="315581"/>
                  </a:lnTo>
                  <a:lnTo>
                    <a:pt x="251244" y="316520"/>
                  </a:lnTo>
                  <a:lnTo>
                    <a:pt x="251479" y="317225"/>
                  </a:lnTo>
                  <a:lnTo>
                    <a:pt x="252653" y="319808"/>
                  </a:lnTo>
                  <a:lnTo>
                    <a:pt x="252653" y="321217"/>
                  </a:lnTo>
                  <a:lnTo>
                    <a:pt x="252183" y="322391"/>
                  </a:lnTo>
                  <a:lnTo>
                    <a:pt x="251009" y="323799"/>
                  </a:lnTo>
                  <a:lnTo>
                    <a:pt x="249835" y="325208"/>
                  </a:lnTo>
                  <a:lnTo>
                    <a:pt x="248896" y="326147"/>
                  </a:lnTo>
                  <a:lnTo>
                    <a:pt x="248192" y="326617"/>
                  </a:lnTo>
                  <a:lnTo>
                    <a:pt x="247487" y="327087"/>
                  </a:lnTo>
                  <a:lnTo>
                    <a:pt x="246548" y="327321"/>
                  </a:lnTo>
                  <a:lnTo>
                    <a:pt x="245843" y="327321"/>
                  </a:lnTo>
                  <a:lnTo>
                    <a:pt x="243965" y="326852"/>
                  </a:lnTo>
                  <a:lnTo>
                    <a:pt x="243026" y="326852"/>
                  </a:lnTo>
                  <a:lnTo>
                    <a:pt x="242556" y="326852"/>
                  </a:lnTo>
                  <a:lnTo>
                    <a:pt x="242321" y="326852"/>
                  </a:lnTo>
                  <a:lnTo>
                    <a:pt x="242087" y="327087"/>
                  </a:lnTo>
                  <a:lnTo>
                    <a:pt x="241852" y="327321"/>
                  </a:lnTo>
                  <a:lnTo>
                    <a:pt x="241617" y="327556"/>
                  </a:lnTo>
                  <a:lnTo>
                    <a:pt x="241147" y="328495"/>
                  </a:lnTo>
                  <a:lnTo>
                    <a:pt x="238799" y="333427"/>
                  </a:lnTo>
                  <a:lnTo>
                    <a:pt x="238330" y="334131"/>
                  </a:lnTo>
                  <a:lnTo>
                    <a:pt x="237860" y="334601"/>
                  </a:lnTo>
                  <a:lnTo>
                    <a:pt x="237625" y="334835"/>
                  </a:lnTo>
                  <a:lnTo>
                    <a:pt x="237390" y="335070"/>
                  </a:lnTo>
                  <a:lnTo>
                    <a:pt x="237390" y="335305"/>
                  </a:lnTo>
                  <a:lnTo>
                    <a:pt x="237625" y="336010"/>
                  </a:lnTo>
                  <a:lnTo>
                    <a:pt x="239738" y="339532"/>
                  </a:lnTo>
                  <a:lnTo>
                    <a:pt x="242321" y="345167"/>
                  </a:lnTo>
                  <a:lnTo>
                    <a:pt x="242321" y="346341"/>
                  </a:lnTo>
                  <a:lnTo>
                    <a:pt x="241852" y="347515"/>
                  </a:lnTo>
                  <a:lnTo>
                    <a:pt x="240443" y="348454"/>
                  </a:lnTo>
                  <a:lnTo>
                    <a:pt x="239269" y="348689"/>
                  </a:lnTo>
                  <a:lnTo>
                    <a:pt x="238330" y="348689"/>
                  </a:lnTo>
                  <a:lnTo>
                    <a:pt x="237625" y="348454"/>
                  </a:lnTo>
                  <a:lnTo>
                    <a:pt x="237390" y="348454"/>
                  </a:lnTo>
                  <a:lnTo>
                    <a:pt x="237156" y="348454"/>
                  </a:lnTo>
                  <a:lnTo>
                    <a:pt x="236686" y="348689"/>
                  </a:lnTo>
                  <a:lnTo>
                    <a:pt x="235747" y="349393"/>
                  </a:lnTo>
                  <a:lnTo>
                    <a:pt x="236216" y="350567"/>
                  </a:lnTo>
                  <a:lnTo>
                    <a:pt x="239504" y="355264"/>
                  </a:lnTo>
                  <a:lnTo>
                    <a:pt x="239973" y="356203"/>
                  </a:lnTo>
                  <a:lnTo>
                    <a:pt x="239973" y="356438"/>
                  </a:lnTo>
                  <a:lnTo>
                    <a:pt x="239973" y="356672"/>
                  </a:lnTo>
                  <a:lnTo>
                    <a:pt x="239269" y="360195"/>
                  </a:lnTo>
                  <a:lnTo>
                    <a:pt x="239269" y="361838"/>
                  </a:lnTo>
                  <a:lnTo>
                    <a:pt x="239738" y="363012"/>
                  </a:lnTo>
                  <a:lnTo>
                    <a:pt x="239738" y="365595"/>
                  </a:lnTo>
                  <a:lnTo>
                    <a:pt x="239738" y="366065"/>
                  </a:lnTo>
                  <a:lnTo>
                    <a:pt x="239973" y="366534"/>
                  </a:lnTo>
                  <a:lnTo>
                    <a:pt x="241852" y="369822"/>
                  </a:lnTo>
                  <a:lnTo>
                    <a:pt x="241382" y="371465"/>
                  </a:lnTo>
                  <a:lnTo>
                    <a:pt x="240443" y="373109"/>
                  </a:lnTo>
                  <a:lnTo>
                    <a:pt x="231285" y="382266"/>
                  </a:lnTo>
                  <a:lnTo>
                    <a:pt x="230346" y="382971"/>
                  </a:lnTo>
                  <a:lnTo>
                    <a:pt x="229407" y="383441"/>
                  </a:lnTo>
                  <a:lnTo>
                    <a:pt x="227294" y="383910"/>
                  </a:lnTo>
                  <a:lnTo>
                    <a:pt x="226589" y="384145"/>
                  </a:lnTo>
                  <a:lnTo>
                    <a:pt x="226120" y="384380"/>
                  </a:lnTo>
                  <a:lnTo>
                    <a:pt x="225180" y="385084"/>
                  </a:lnTo>
                  <a:lnTo>
                    <a:pt x="222598" y="387432"/>
                  </a:lnTo>
                  <a:lnTo>
                    <a:pt x="221893" y="387902"/>
                  </a:lnTo>
                  <a:lnTo>
                    <a:pt x="219545" y="389311"/>
                  </a:lnTo>
                  <a:lnTo>
                    <a:pt x="219310" y="390015"/>
                  </a:lnTo>
                  <a:lnTo>
                    <a:pt x="221424" y="395885"/>
                  </a:lnTo>
                  <a:lnTo>
                    <a:pt x="213675" y="394477"/>
                  </a:lnTo>
                  <a:lnTo>
                    <a:pt x="207805" y="391424"/>
                  </a:lnTo>
                  <a:lnTo>
                    <a:pt x="199352" y="382736"/>
                  </a:lnTo>
                  <a:lnTo>
                    <a:pt x="198412" y="381327"/>
                  </a:lnTo>
                  <a:lnTo>
                    <a:pt x="197943" y="379214"/>
                  </a:lnTo>
                  <a:lnTo>
                    <a:pt x="198647" y="377336"/>
                  </a:lnTo>
                  <a:lnTo>
                    <a:pt x="198882" y="377101"/>
                  </a:lnTo>
                  <a:lnTo>
                    <a:pt x="198178" y="377101"/>
                  </a:lnTo>
                  <a:lnTo>
                    <a:pt x="196769" y="377805"/>
                  </a:lnTo>
                  <a:lnTo>
                    <a:pt x="194421" y="378510"/>
                  </a:lnTo>
                  <a:lnTo>
                    <a:pt x="189490" y="374987"/>
                  </a:lnTo>
                  <a:lnTo>
                    <a:pt x="189020" y="374987"/>
                  </a:lnTo>
                  <a:lnTo>
                    <a:pt x="185498" y="374753"/>
                  </a:lnTo>
                  <a:lnTo>
                    <a:pt x="184089" y="374987"/>
                  </a:lnTo>
                  <a:lnTo>
                    <a:pt x="182680" y="375692"/>
                  </a:lnTo>
                  <a:lnTo>
                    <a:pt x="181741" y="376631"/>
                  </a:lnTo>
                  <a:lnTo>
                    <a:pt x="179863" y="378744"/>
                  </a:lnTo>
                  <a:lnTo>
                    <a:pt x="170470" y="385084"/>
                  </a:lnTo>
                  <a:lnTo>
                    <a:pt x="168827" y="386728"/>
                  </a:lnTo>
                  <a:lnTo>
                    <a:pt x="167183" y="389076"/>
                  </a:lnTo>
                  <a:lnTo>
                    <a:pt x="151451" y="403869"/>
                  </a:lnTo>
                  <a:lnTo>
                    <a:pt x="150042" y="405982"/>
                  </a:lnTo>
                  <a:lnTo>
                    <a:pt x="149103" y="408095"/>
                  </a:lnTo>
                  <a:lnTo>
                    <a:pt x="147929" y="410443"/>
                  </a:lnTo>
                  <a:lnTo>
                    <a:pt x="136658" y="425236"/>
                  </a:lnTo>
                  <a:lnTo>
                    <a:pt x="124683" y="445195"/>
                  </a:lnTo>
                  <a:lnTo>
                    <a:pt x="120691" y="454118"/>
                  </a:lnTo>
                  <a:lnTo>
                    <a:pt x="119047" y="451769"/>
                  </a:lnTo>
                  <a:close/>
                  <a:moveTo>
                    <a:pt x="201700" y="419131"/>
                  </a:moveTo>
                  <a:lnTo>
                    <a:pt x="197238" y="418192"/>
                  </a:lnTo>
                  <a:lnTo>
                    <a:pt x="193247" y="414670"/>
                  </a:lnTo>
                  <a:lnTo>
                    <a:pt x="189490" y="413261"/>
                  </a:lnTo>
                  <a:lnTo>
                    <a:pt x="186437" y="409974"/>
                  </a:lnTo>
                  <a:lnTo>
                    <a:pt x="183150" y="408565"/>
                  </a:lnTo>
                  <a:lnTo>
                    <a:pt x="178454" y="405278"/>
                  </a:lnTo>
                  <a:lnTo>
                    <a:pt x="177514" y="401521"/>
                  </a:lnTo>
                  <a:lnTo>
                    <a:pt x="180567" y="400582"/>
                  </a:lnTo>
                  <a:lnTo>
                    <a:pt x="186672" y="401756"/>
                  </a:lnTo>
                  <a:lnTo>
                    <a:pt x="190429" y="403634"/>
                  </a:lnTo>
                  <a:lnTo>
                    <a:pt x="192307" y="401521"/>
                  </a:lnTo>
                  <a:lnTo>
                    <a:pt x="203109" y="411383"/>
                  </a:lnTo>
                  <a:lnTo>
                    <a:pt x="208744" y="414905"/>
                  </a:lnTo>
                  <a:lnTo>
                    <a:pt x="216023" y="414435"/>
                  </a:lnTo>
                  <a:lnTo>
                    <a:pt x="220249" y="415374"/>
                  </a:lnTo>
                  <a:lnTo>
                    <a:pt x="223302" y="414905"/>
                  </a:lnTo>
                  <a:lnTo>
                    <a:pt x="224711" y="414905"/>
                  </a:lnTo>
                  <a:lnTo>
                    <a:pt x="225180" y="415609"/>
                  </a:lnTo>
                  <a:lnTo>
                    <a:pt x="225180" y="416079"/>
                  </a:lnTo>
                  <a:lnTo>
                    <a:pt x="225415" y="419366"/>
                  </a:lnTo>
                  <a:lnTo>
                    <a:pt x="221189" y="418662"/>
                  </a:lnTo>
                  <a:lnTo>
                    <a:pt x="207100" y="419366"/>
                  </a:lnTo>
                  <a:lnTo>
                    <a:pt x="201700" y="419131"/>
                  </a:lnTo>
                  <a:close/>
                  <a:moveTo>
                    <a:pt x="48370" y="200291"/>
                  </a:moveTo>
                  <a:lnTo>
                    <a:pt x="29351" y="147929"/>
                  </a:lnTo>
                  <a:lnTo>
                    <a:pt x="33108" y="148868"/>
                  </a:lnTo>
                  <a:lnTo>
                    <a:pt x="34047" y="150277"/>
                  </a:lnTo>
                  <a:lnTo>
                    <a:pt x="33577" y="151920"/>
                  </a:lnTo>
                  <a:lnTo>
                    <a:pt x="39917" y="168122"/>
                  </a:lnTo>
                  <a:lnTo>
                    <a:pt x="45553" y="174697"/>
                  </a:lnTo>
                  <a:lnTo>
                    <a:pt x="47431" y="178454"/>
                  </a:lnTo>
                  <a:lnTo>
                    <a:pt x="46962" y="182915"/>
                  </a:lnTo>
                  <a:lnTo>
                    <a:pt x="50953" y="185967"/>
                  </a:lnTo>
                  <a:lnTo>
                    <a:pt x="53066" y="189020"/>
                  </a:lnTo>
                  <a:lnTo>
                    <a:pt x="51892" y="191603"/>
                  </a:lnTo>
                  <a:lnTo>
                    <a:pt x="51658" y="192542"/>
                  </a:lnTo>
                  <a:lnTo>
                    <a:pt x="54945" y="197473"/>
                  </a:lnTo>
                  <a:lnTo>
                    <a:pt x="53066" y="201465"/>
                  </a:lnTo>
                  <a:lnTo>
                    <a:pt x="48370" y="200291"/>
                  </a:lnTo>
                  <a:close/>
                  <a:moveTo>
                    <a:pt x="15967" y="90166"/>
                  </a:moveTo>
                  <a:lnTo>
                    <a:pt x="15732" y="84296"/>
                  </a:lnTo>
                  <a:lnTo>
                    <a:pt x="2818" y="40152"/>
                  </a:lnTo>
                  <a:lnTo>
                    <a:pt x="0" y="19254"/>
                  </a:lnTo>
                  <a:lnTo>
                    <a:pt x="1174" y="13853"/>
                  </a:lnTo>
                  <a:lnTo>
                    <a:pt x="4461" y="8218"/>
                  </a:lnTo>
                  <a:lnTo>
                    <a:pt x="6575" y="5870"/>
                  </a:lnTo>
                  <a:lnTo>
                    <a:pt x="10097" y="2583"/>
                  </a:lnTo>
                  <a:lnTo>
                    <a:pt x="14558" y="0"/>
                  </a:lnTo>
                  <a:lnTo>
                    <a:pt x="15028" y="4696"/>
                  </a:lnTo>
                  <a:lnTo>
                    <a:pt x="9157" y="10331"/>
                  </a:lnTo>
                  <a:lnTo>
                    <a:pt x="5870" y="14323"/>
                  </a:lnTo>
                  <a:lnTo>
                    <a:pt x="4227" y="18315"/>
                  </a:lnTo>
                  <a:lnTo>
                    <a:pt x="3992" y="23716"/>
                  </a:lnTo>
                  <a:lnTo>
                    <a:pt x="14323" y="63163"/>
                  </a:lnTo>
                  <a:lnTo>
                    <a:pt x="18550" y="79130"/>
                  </a:lnTo>
                  <a:lnTo>
                    <a:pt x="19489" y="90401"/>
                  </a:lnTo>
                  <a:lnTo>
                    <a:pt x="19254" y="92514"/>
                  </a:lnTo>
                  <a:lnTo>
                    <a:pt x="18550" y="98149"/>
                  </a:lnTo>
                  <a:lnTo>
                    <a:pt x="15967" y="90166"/>
                  </a:lnTo>
                  <a:close/>
                </a:path>
              </a:pathLst>
            </a:custGeom>
            <a:solidFill>
              <a:srgbClr val="CBD8E7"/>
            </a:solidFill>
            <a:ln w="2347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38" name="Запорожская область">
              <a:extLst>
                <a:ext uri="{FF2B5EF4-FFF2-40B4-BE49-F238E27FC236}">
                  <a16:creationId xmlns:a16="http://schemas.microsoft.com/office/drawing/2014/main" id="{00000000-0008-0000-0100-0000BA000000}"/>
                </a:ext>
              </a:extLst>
            </p:cNvPr>
            <p:cNvSpPr/>
            <p:nvPr/>
          </p:nvSpPr>
          <p:spPr>
            <a:xfrm>
              <a:off x="1010706" y="3703809"/>
              <a:ext cx="258037" cy="297529"/>
            </a:xfrm>
            <a:custGeom>
              <a:avLst/>
              <a:gdLst>
                <a:gd name="connsiteX0" fmla="*/ 211796 w 326852"/>
                <a:gd name="connsiteY0" fmla="*/ 350567 h 351037"/>
                <a:gd name="connsiteX1" fmla="*/ 210622 w 326852"/>
                <a:gd name="connsiteY1" fmla="*/ 349863 h 351037"/>
                <a:gd name="connsiteX2" fmla="*/ 205926 w 326852"/>
                <a:gd name="connsiteY2" fmla="*/ 348219 h 351037"/>
                <a:gd name="connsiteX3" fmla="*/ 204283 w 326852"/>
                <a:gd name="connsiteY3" fmla="*/ 347280 h 351037"/>
                <a:gd name="connsiteX4" fmla="*/ 200760 w 326852"/>
                <a:gd name="connsiteY4" fmla="*/ 344463 h 351037"/>
                <a:gd name="connsiteX5" fmla="*/ 192073 w 326852"/>
                <a:gd name="connsiteY5" fmla="*/ 342349 h 351037"/>
                <a:gd name="connsiteX6" fmla="*/ 189959 w 326852"/>
                <a:gd name="connsiteY6" fmla="*/ 340001 h 351037"/>
                <a:gd name="connsiteX7" fmla="*/ 187611 w 326852"/>
                <a:gd name="connsiteY7" fmla="*/ 342349 h 351037"/>
                <a:gd name="connsiteX8" fmla="*/ 183150 w 326852"/>
                <a:gd name="connsiteY8" fmla="*/ 343054 h 351037"/>
                <a:gd name="connsiteX9" fmla="*/ 178454 w 326852"/>
                <a:gd name="connsiteY9" fmla="*/ 343054 h 351037"/>
                <a:gd name="connsiteX10" fmla="*/ 174462 w 326852"/>
                <a:gd name="connsiteY10" fmla="*/ 344228 h 351037"/>
                <a:gd name="connsiteX11" fmla="*/ 170001 w 326852"/>
                <a:gd name="connsiteY11" fmla="*/ 346106 h 351037"/>
                <a:gd name="connsiteX12" fmla="*/ 164600 w 326852"/>
                <a:gd name="connsiteY12" fmla="*/ 346811 h 351037"/>
                <a:gd name="connsiteX13" fmla="*/ 159904 w 326852"/>
                <a:gd name="connsiteY13" fmla="*/ 345637 h 351037"/>
                <a:gd name="connsiteX14" fmla="*/ 158495 w 326852"/>
                <a:gd name="connsiteY14" fmla="*/ 341175 h 351037"/>
                <a:gd name="connsiteX15" fmla="*/ 161313 w 326852"/>
                <a:gd name="connsiteY15" fmla="*/ 339297 h 351037"/>
                <a:gd name="connsiteX16" fmla="*/ 162487 w 326852"/>
                <a:gd name="connsiteY16" fmla="*/ 341175 h 351037"/>
                <a:gd name="connsiteX17" fmla="*/ 162722 w 326852"/>
                <a:gd name="connsiteY17" fmla="*/ 343054 h 351037"/>
                <a:gd name="connsiteX18" fmla="*/ 166713 w 326852"/>
                <a:gd name="connsiteY18" fmla="*/ 342584 h 351037"/>
                <a:gd name="connsiteX19" fmla="*/ 172349 w 326852"/>
                <a:gd name="connsiteY19" fmla="*/ 340471 h 351037"/>
                <a:gd name="connsiteX20" fmla="*/ 174462 w 326852"/>
                <a:gd name="connsiteY20" fmla="*/ 339297 h 351037"/>
                <a:gd name="connsiteX21" fmla="*/ 174462 w 326852"/>
                <a:gd name="connsiteY21" fmla="*/ 338592 h 351037"/>
                <a:gd name="connsiteX22" fmla="*/ 176340 w 326852"/>
                <a:gd name="connsiteY22" fmla="*/ 332253 h 351037"/>
                <a:gd name="connsiteX23" fmla="*/ 176106 w 326852"/>
                <a:gd name="connsiteY23" fmla="*/ 330374 h 351037"/>
                <a:gd name="connsiteX24" fmla="*/ 175166 w 326852"/>
                <a:gd name="connsiteY24" fmla="*/ 326148 h 351037"/>
                <a:gd name="connsiteX25" fmla="*/ 175166 w 326852"/>
                <a:gd name="connsiteY25" fmla="*/ 324504 h 351037"/>
                <a:gd name="connsiteX26" fmla="*/ 173523 w 326852"/>
                <a:gd name="connsiteY26" fmla="*/ 323565 h 351037"/>
                <a:gd name="connsiteX27" fmla="*/ 172349 w 326852"/>
                <a:gd name="connsiteY27" fmla="*/ 321217 h 351037"/>
                <a:gd name="connsiteX28" fmla="*/ 171410 w 326852"/>
                <a:gd name="connsiteY28" fmla="*/ 317929 h 351037"/>
                <a:gd name="connsiteX29" fmla="*/ 170235 w 326852"/>
                <a:gd name="connsiteY29" fmla="*/ 316990 h 351037"/>
                <a:gd name="connsiteX30" fmla="*/ 168827 w 326852"/>
                <a:gd name="connsiteY30" fmla="*/ 316520 h 351037"/>
                <a:gd name="connsiteX31" fmla="*/ 167183 w 326852"/>
                <a:gd name="connsiteY31" fmla="*/ 316286 h 351037"/>
                <a:gd name="connsiteX32" fmla="*/ 165774 w 326852"/>
                <a:gd name="connsiteY32" fmla="*/ 315581 h 351037"/>
                <a:gd name="connsiteX33" fmla="*/ 161548 w 326852"/>
                <a:gd name="connsiteY33" fmla="*/ 308772 h 351037"/>
                <a:gd name="connsiteX34" fmla="*/ 156382 w 326852"/>
                <a:gd name="connsiteY34" fmla="*/ 306189 h 351037"/>
                <a:gd name="connsiteX35" fmla="*/ 152155 w 326852"/>
                <a:gd name="connsiteY35" fmla="*/ 301493 h 351037"/>
                <a:gd name="connsiteX36" fmla="*/ 148633 w 326852"/>
                <a:gd name="connsiteY36" fmla="*/ 299380 h 351037"/>
                <a:gd name="connsiteX37" fmla="*/ 144641 w 326852"/>
                <a:gd name="connsiteY37" fmla="*/ 297736 h 351037"/>
                <a:gd name="connsiteX38" fmla="*/ 133371 w 326852"/>
                <a:gd name="connsiteY38" fmla="*/ 295388 h 351037"/>
                <a:gd name="connsiteX39" fmla="*/ 129144 w 326852"/>
                <a:gd name="connsiteY39" fmla="*/ 295388 h 351037"/>
                <a:gd name="connsiteX40" fmla="*/ 123744 w 326852"/>
                <a:gd name="connsiteY40" fmla="*/ 297736 h 351037"/>
                <a:gd name="connsiteX41" fmla="*/ 122100 w 326852"/>
                <a:gd name="connsiteY41" fmla="*/ 295153 h 351037"/>
                <a:gd name="connsiteX42" fmla="*/ 124213 w 326852"/>
                <a:gd name="connsiteY42" fmla="*/ 293744 h 351037"/>
                <a:gd name="connsiteX43" fmla="*/ 123744 w 326852"/>
                <a:gd name="connsiteY43" fmla="*/ 293275 h 351037"/>
                <a:gd name="connsiteX44" fmla="*/ 123274 w 326852"/>
                <a:gd name="connsiteY44" fmla="*/ 293509 h 351037"/>
                <a:gd name="connsiteX45" fmla="*/ 119752 w 326852"/>
                <a:gd name="connsiteY45" fmla="*/ 294214 h 351037"/>
                <a:gd name="connsiteX46" fmla="*/ 122804 w 326852"/>
                <a:gd name="connsiteY46" fmla="*/ 289987 h 351037"/>
                <a:gd name="connsiteX47" fmla="*/ 123978 w 326852"/>
                <a:gd name="connsiteY47" fmla="*/ 289753 h 351037"/>
                <a:gd name="connsiteX48" fmla="*/ 124918 w 326852"/>
                <a:gd name="connsiteY48" fmla="*/ 289283 h 351037"/>
                <a:gd name="connsiteX49" fmla="*/ 124918 w 326852"/>
                <a:gd name="connsiteY49" fmla="*/ 288109 h 351037"/>
                <a:gd name="connsiteX50" fmla="*/ 125152 w 326852"/>
                <a:gd name="connsiteY50" fmla="*/ 287404 h 351037"/>
                <a:gd name="connsiteX51" fmla="*/ 126326 w 326852"/>
                <a:gd name="connsiteY51" fmla="*/ 285291 h 351037"/>
                <a:gd name="connsiteX52" fmla="*/ 126561 w 326852"/>
                <a:gd name="connsiteY52" fmla="*/ 284587 h 351037"/>
                <a:gd name="connsiteX53" fmla="*/ 126561 w 326852"/>
                <a:gd name="connsiteY53" fmla="*/ 283882 h 351037"/>
                <a:gd name="connsiteX54" fmla="*/ 126326 w 326852"/>
                <a:gd name="connsiteY54" fmla="*/ 281534 h 351037"/>
                <a:gd name="connsiteX55" fmla="*/ 125387 w 326852"/>
                <a:gd name="connsiteY55" fmla="*/ 279890 h 351037"/>
                <a:gd name="connsiteX56" fmla="*/ 122100 w 326852"/>
                <a:gd name="connsiteY56" fmla="*/ 276603 h 351037"/>
                <a:gd name="connsiteX57" fmla="*/ 118578 w 326852"/>
                <a:gd name="connsiteY57" fmla="*/ 268385 h 351037"/>
                <a:gd name="connsiteX58" fmla="*/ 107307 w 326852"/>
                <a:gd name="connsiteY58" fmla="*/ 255940 h 351037"/>
                <a:gd name="connsiteX59" fmla="*/ 105898 w 326852"/>
                <a:gd name="connsiteY59" fmla="*/ 253592 h 351037"/>
                <a:gd name="connsiteX60" fmla="*/ 90166 w 326852"/>
                <a:gd name="connsiteY60" fmla="*/ 244904 h 351037"/>
                <a:gd name="connsiteX61" fmla="*/ 85940 w 326852"/>
                <a:gd name="connsiteY61" fmla="*/ 243495 h 351037"/>
                <a:gd name="connsiteX62" fmla="*/ 71381 w 326852"/>
                <a:gd name="connsiteY62" fmla="*/ 241147 h 351037"/>
                <a:gd name="connsiteX63" fmla="*/ 65981 w 326852"/>
                <a:gd name="connsiteY63" fmla="*/ 239504 h 351037"/>
                <a:gd name="connsiteX64" fmla="*/ 52127 w 326852"/>
                <a:gd name="connsiteY64" fmla="*/ 230816 h 351037"/>
                <a:gd name="connsiteX65" fmla="*/ 49779 w 326852"/>
                <a:gd name="connsiteY65" fmla="*/ 229877 h 351037"/>
                <a:gd name="connsiteX66" fmla="*/ 47196 w 326852"/>
                <a:gd name="connsiteY66" fmla="*/ 229407 h 351037"/>
                <a:gd name="connsiteX67" fmla="*/ 41091 w 326852"/>
                <a:gd name="connsiteY67" fmla="*/ 228937 h 351037"/>
                <a:gd name="connsiteX68" fmla="*/ 38274 w 326852"/>
                <a:gd name="connsiteY68" fmla="*/ 228233 h 351037"/>
                <a:gd name="connsiteX69" fmla="*/ 33343 w 326852"/>
                <a:gd name="connsiteY69" fmla="*/ 226119 h 351037"/>
                <a:gd name="connsiteX70" fmla="*/ 31229 w 326852"/>
                <a:gd name="connsiteY70" fmla="*/ 225650 h 351037"/>
                <a:gd name="connsiteX71" fmla="*/ 9158 w 326852"/>
                <a:gd name="connsiteY71" fmla="*/ 225415 h 351037"/>
                <a:gd name="connsiteX72" fmla="*/ 7044 w 326852"/>
                <a:gd name="connsiteY72" fmla="*/ 225180 h 351037"/>
                <a:gd name="connsiteX73" fmla="*/ 6809 w 326852"/>
                <a:gd name="connsiteY73" fmla="*/ 222597 h 351037"/>
                <a:gd name="connsiteX74" fmla="*/ 6105 w 326852"/>
                <a:gd name="connsiteY74" fmla="*/ 220954 h 351037"/>
                <a:gd name="connsiteX75" fmla="*/ 14558 w 326852"/>
                <a:gd name="connsiteY75" fmla="*/ 220719 h 351037"/>
                <a:gd name="connsiteX76" fmla="*/ 20663 w 326852"/>
                <a:gd name="connsiteY76" fmla="*/ 222128 h 351037"/>
                <a:gd name="connsiteX77" fmla="*/ 23716 w 326852"/>
                <a:gd name="connsiteY77" fmla="*/ 222128 h 351037"/>
                <a:gd name="connsiteX78" fmla="*/ 24420 w 326852"/>
                <a:gd name="connsiteY78" fmla="*/ 221893 h 351037"/>
                <a:gd name="connsiteX79" fmla="*/ 21602 w 326852"/>
                <a:gd name="connsiteY79" fmla="*/ 220954 h 351037"/>
                <a:gd name="connsiteX80" fmla="*/ 19724 w 326852"/>
                <a:gd name="connsiteY80" fmla="*/ 218371 h 351037"/>
                <a:gd name="connsiteX81" fmla="*/ 20428 w 326852"/>
                <a:gd name="connsiteY81" fmla="*/ 213675 h 351037"/>
                <a:gd name="connsiteX82" fmla="*/ 23481 w 326852"/>
                <a:gd name="connsiteY82" fmla="*/ 210153 h 351037"/>
                <a:gd name="connsiteX83" fmla="*/ 28177 w 326852"/>
                <a:gd name="connsiteY83" fmla="*/ 208274 h 351037"/>
                <a:gd name="connsiteX84" fmla="*/ 34047 w 326852"/>
                <a:gd name="connsiteY84" fmla="*/ 207100 h 351037"/>
                <a:gd name="connsiteX85" fmla="*/ 33343 w 326852"/>
                <a:gd name="connsiteY85" fmla="*/ 205691 h 351037"/>
                <a:gd name="connsiteX86" fmla="*/ 32873 w 326852"/>
                <a:gd name="connsiteY86" fmla="*/ 204048 h 351037"/>
                <a:gd name="connsiteX87" fmla="*/ 32873 w 326852"/>
                <a:gd name="connsiteY87" fmla="*/ 202874 h 351037"/>
                <a:gd name="connsiteX88" fmla="*/ 33343 w 326852"/>
                <a:gd name="connsiteY88" fmla="*/ 200526 h 351037"/>
                <a:gd name="connsiteX89" fmla="*/ 33343 w 326852"/>
                <a:gd name="connsiteY89" fmla="*/ 198178 h 351037"/>
                <a:gd name="connsiteX90" fmla="*/ 34752 w 326852"/>
                <a:gd name="connsiteY90" fmla="*/ 195360 h 351037"/>
                <a:gd name="connsiteX91" fmla="*/ 36865 w 326852"/>
                <a:gd name="connsiteY91" fmla="*/ 192542 h 351037"/>
                <a:gd name="connsiteX92" fmla="*/ 37334 w 326852"/>
                <a:gd name="connsiteY92" fmla="*/ 192307 h 351037"/>
                <a:gd name="connsiteX93" fmla="*/ 36395 w 326852"/>
                <a:gd name="connsiteY93" fmla="*/ 192307 h 351037"/>
                <a:gd name="connsiteX94" fmla="*/ 34517 w 326852"/>
                <a:gd name="connsiteY94" fmla="*/ 194186 h 351037"/>
                <a:gd name="connsiteX95" fmla="*/ 33108 w 326852"/>
                <a:gd name="connsiteY95" fmla="*/ 197473 h 351037"/>
                <a:gd name="connsiteX96" fmla="*/ 31464 w 326852"/>
                <a:gd name="connsiteY96" fmla="*/ 200056 h 351037"/>
                <a:gd name="connsiteX97" fmla="*/ 29821 w 326852"/>
                <a:gd name="connsiteY97" fmla="*/ 201465 h 351037"/>
                <a:gd name="connsiteX98" fmla="*/ 29116 w 326852"/>
                <a:gd name="connsiteY98" fmla="*/ 202639 h 351037"/>
                <a:gd name="connsiteX99" fmla="*/ 27707 w 326852"/>
                <a:gd name="connsiteY99" fmla="*/ 204048 h 351037"/>
                <a:gd name="connsiteX100" fmla="*/ 24655 w 326852"/>
                <a:gd name="connsiteY100" fmla="*/ 205222 h 351037"/>
                <a:gd name="connsiteX101" fmla="*/ 22072 w 326852"/>
                <a:gd name="connsiteY101" fmla="*/ 205457 h 351037"/>
                <a:gd name="connsiteX102" fmla="*/ 16202 w 326852"/>
                <a:gd name="connsiteY102" fmla="*/ 204048 h 351037"/>
                <a:gd name="connsiteX103" fmla="*/ 3287 w 326852"/>
                <a:gd name="connsiteY103" fmla="*/ 203578 h 351037"/>
                <a:gd name="connsiteX104" fmla="*/ 1878 w 326852"/>
                <a:gd name="connsiteY104" fmla="*/ 203343 h 351037"/>
                <a:gd name="connsiteX105" fmla="*/ 0 w 326852"/>
                <a:gd name="connsiteY105" fmla="*/ 198178 h 351037"/>
                <a:gd name="connsiteX106" fmla="*/ 470 w 326852"/>
                <a:gd name="connsiteY106" fmla="*/ 195830 h 351037"/>
                <a:gd name="connsiteX107" fmla="*/ 3522 w 326852"/>
                <a:gd name="connsiteY107" fmla="*/ 193951 h 351037"/>
                <a:gd name="connsiteX108" fmla="*/ 3992 w 326852"/>
                <a:gd name="connsiteY108" fmla="*/ 193716 h 351037"/>
                <a:gd name="connsiteX109" fmla="*/ 6575 w 326852"/>
                <a:gd name="connsiteY109" fmla="*/ 191368 h 351037"/>
                <a:gd name="connsiteX110" fmla="*/ 7749 w 326852"/>
                <a:gd name="connsiteY110" fmla="*/ 190429 h 351037"/>
                <a:gd name="connsiteX111" fmla="*/ 8453 w 326852"/>
                <a:gd name="connsiteY111" fmla="*/ 189959 h 351037"/>
                <a:gd name="connsiteX112" fmla="*/ 9392 w 326852"/>
                <a:gd name="connsiteY112" fmla="*/ 189724 h 351037"/>
                <a:gd name="connsiteX113" fmla="*/ 11506 w 326852"/>
                <a:gd name="connsiteY113" fmla="*/ 189255 h 351037"/>
                <a:gd name="connsiteX114" fmla="*/ 11975 w 326852"/>
                <a:gd name="connsiteY114" fmla="*/ 189020 h 351037"/>
                <a:gd name="connsiteX115" fmla="*/ 12680 w 326852"/>
                <a:gd name="connsiteY115" fmla="*/ 188550 h 351037"/>
                <a:gd name="connsiteX116" fmla="*/ 21602 w 326852"/>
                <a:gd name="connsiteY116" fmla="*/ 179628 h 351037"/>
                <a:gd name="connsiteX117" fmla="*/ 22307 w 326852"/>
                <a:gd name="connsiteY117" fmla="*/ 178454 h 351037"/>
                <a:gd name="connsiteX118" fmla="*/ 22307 w 326852"/>
                <a:gd name="connsiteY118" fmla="*/ 177984 h 351037"/>
                <a:gd name="connsiteX119" fmla="*/ 20898 w 326852"/>
                <a:gd name="connsiteY119" fmla="*/ 175401 h 351037"/>
                <a:gd name="connsiteX120" fmla="*/ 20663 w 326852"/>
                <a:gd name="connsiteY120" fmla="*/ 174462 h 351037"/>
                <a:gd name="connsiteX121" fmla="*/ 20428 w 326852"/>
                <a:gd name="connsiteY121" fmla="*/ 173523 h 351037"/>
                <a:gd name="connsiteX122" fmla="*/ 20428 w 326852"/>
                <a:gd name="connsiteY122" fmla="*/ 171409 h 351037"/>
                <a:gd name="connsiteX123" fmla="*/ 20193 w 326852"/>
                <a:gd name="connsiteY123" fmla="*/ 170470 h 351037"/>
                <a:gd name="connsiteX124" fmla="*/ 20193 w 326852"/>
                <a:gd name="connsiteY124" fmla="*/ 168122 h 351037"/>
                <a:gd name="connsiteX125" fmla="*/ 20898 w 326852"/>
                <a:gd name="connsiteY125" fmla="*/ 164600 h 351037"/>
                <a:gd name="connsiteX126" fmla="*/ 20898 w 326852"/>
                <a:gd name="connsiteY126" fmla="*/ 164365 h 351037"/>
                <a:gd name="connsiteX127" fmla="*/ 17611 w 326852"/>
                <a:gd name="connsiteY127" fmla="*/ 159904 h 351037"/>
                <a:gd name="connsiteX128" fmla="*/ 16671 w 326852"/>
                <a:gd name="connsiteY128" fmla="*/ 158025 h 351037"/>
                <a:gd name="connsiteX129" fmla="*/ 16671 w 326852"/>
                <a:gd name="connsiteY129" fmla="*/ 156617 h 351037"/>
                <a:gd name="connsiteX130" fmla="*/ 17141 w 326852"/>
                <a:gd name="connsiteY130" fmla="*/ 156147 h 351037"/>
                <a:gd name="connsiteX131" fmla="*/ 17376 w 326852"/>
                <a:gd name="connsiteY131" fmla="*/ 155912 h 351037"/>
                <a:gd name="connsiteX132" fmla="*/ 19019 w 326852"/>
                <a:gd name="connsiteY132" fmla="*/ 154973 h 351037"/>
                <a:gd name="connsiteX133" fmla="*/ 19724 w 326852"/>
                <a:gd name="connsiteY133" fmla="*/ 154503 h 351037"/>
                <a:gd name="connsiteX134" fmla="*/ 20663 w 326852"/>
                <a:gd name="connsiteY134" fmla="*/ 154268 h 351037"/>
                <a:gd name="connsiteX135" fmla="*/ 21368 w 326852"/>
                <a:gd name="connsiteY135" fmla="*/ 154503 h 351037"/>
                <a:gd name="connsiteX136" fmla="*/ 21837 w 326852"/>
                <a:gd name="connsiteY136" fmla="*/ 154738 h 351037"/>
                <a:gd name="connsiteX137" fmla="*/ 22072 w 326852"/>
                <a:gd name="connsiteY137" fmla="*/ 154738 h 351037"/>
                <a:gd name="connsiteX138" fmla="*/ 22307 w 326852"/>
                <a:gd name="connsiteY138" fmla="*/ 154738 h 351037"/>
                <a:gd name="connsiteX139" fmla="*/ 22776 w 326852"/>
                <a:gd name="connsiteY139" fmla="*/ 154503 h 351037"/>
                <a:gd name="connsiteX140" fmla="*/ 22776 w 326852"/>
                <a:gd name="connsiteY140" fmla="*/ 154503 h 351037"/>
                <a:gd name="connsiteX141" fmla="*/ 22776 w 326852"/>
                <a:gd name="connsiteY141" fmla="*/ 154268 h 351037"/>
                <a:gd name="connsiteX142" fmla="*/ 20428 w 326852"/>
                <a:gd name="connsiteY142" fmla="*/ 149338 h 351037"/>
                <a:gd name="connsiteX143" fmla="*/ 18080 w 326852"/>
                <a:gd name="connsiteY143" fmla="*/ 145815 h 351037"/>
                <a:gd name="connsiteX144" fmla="*/ 17611 w 326852"/>
                <a:gd name="connsiteY144" fmla="*/ 144407 h 351037"/>
                <a:gd name="connsiteX145" fmla="*/ 17611 w 326852"/>
                <a:gd name="connsiteY145" fmla="*/ 143233 h 351037"/>
                <a:gd name="connsiteX146" fmla="*/ 18080 w 326852"/>
                <a:gd name="connsiteY146" fmla="*/ 142293 h 351037"/>
                <a:gd name="connsiteX147" fmla="*/ 18550 w 326852"/>
                <a:gd name="connsiteY147" fmla="*/ 141824 h 351037"/>
                <a:gd name="connsiteX148" fmla="*/ 19019 w 326852"/>
                <a:gd name="connsiteY148" fmla="*/ 141354 h 351037"/>
                <a:gd name="connsiteX149" fmla="*/ 19254 w 326852"/>
                <a:gd name="connsiteY149" fmla="*/ 140885 h 351037"/>
                <a:gd name="connsiteX150" fmla="*/ 21602 w 326852"/>
                <a:gd name="connsiteY150" fmla="*/ 136188 h 351037"/>
                <a:gd name="connsiteX151" fmla="*/ 22307 w 326852"/>
                <a:gd name="connsiteY151" fmla="*/ 135249 h 351037"/>
                <a:gd name="connsiteX152" fmla="*/ 22776 w 326852"/>
                <a:gd name="connsiteY152" fmla="*/ 134780 h 351037"/>
                <a:gd name="connsiteX153" fmla="*/ 23481 w 326852"/>
                <a:gd name="connsiteY153" fmla="*/ 134075 h 351037"/>
                <a:gd name="connsiteX154" fmla="*/ 24185 w 326852"/>
                <a:gd name="connsiteY154" fmla="*/ 133606 h 351037"/>
                <a:gd name="connsiteX155" fmla="*/ 24890 w 326852"/>
                <a:gd name="connsiteY155" fmla="*/ 133371 h 351037"/>
                <a:gd name="connsiteX156" fmla="*/ 25829 w 326852"/>
                <a:gd name="connsiteY156" fmla="*/ 133136 h 351037"/>
                <a:gd name="connsiteX157" fmla="*/ 27238 w 326852"/>
                <a:gd name="connsiteY157" fmla="*/ 133136 h 351037"/>
                <a:gd name="connsiteX158" fmla="*/ 29116 w 326852"/>
                <a:gd name="connsiteY158" fmla="*/ 133606 h 351037"/>
                <a:gd name="connsiteX159" fmla="*/ 29351 w 326852"/>
                <a:gd name="connsiteY159" fmla="*/ 133606 h 351037"/>
                <a:gd name="connsiteX160" fmla="*/ 29821 w 326852"/>
                <a:gd name="connsiteY160" fmla="*/ 133606 h 351037"/>
                <a:gd name="connsiteX161" fmla="*/ 30290 w 326852"/>
                <a:gd name="connsiteY161" fmla="*/ 133371 h 351037"/>
                <a:gd name="connsiteX162" fmla="*/ 30760 w 326852"/>
                <a:gd name="connsiteY162" fmla="*/ 133136 h 351037"/>
                <a:gd name="connsiteX163" fmla="*/ 31464 w 326852"/>
                <a:gd name="connsiteY163" fmla="*/ 132432 h 351037"/>
                <a:gd name="connsiteX164" fmla="*/ 32403 w 326852"/>
                <a:gd name="connsiteY164" fmla="*/ 131257 h 351037"/>
                <a:gd name="connsiteX165" fmla="*/ 33108 w 326852"/>
                <a:gd name="connsiteY165" fmla="*/ 130083 h 351037"/>
                <a:gd name="connsiteX166" fmla="*/ 33343 w 326852"/>
                <a:gd name="connsiteY166" fmla="*/ 129614 h 351037"/>
                <a:gd name="connsiteX167" fmla="*/ 33343 w 326852"/>
                <a:gd name="connsiteY167" fmla="*/ 129144 h 351037"/>
                <a:gd name="connsiteX168" fmla="*/ 32403 w 326852"/>
                <a:gd name="connsiteY168" fmla="*/ 126796 h 351037"/>
                <a:gd name="connsiteX169" fmla="*/ 32169 w 326852"/>
                <a:gd name="connsiteY169" fmla="*/ 125622 h 351037"/>
                <a:gd name="connsiteX170" fmla="*/ 31934 w 326852"/>
                <a:gd name="connsiteY170" fmla="*/ 124448 h 351037"/>
                <a:gd name="connsiteX171" fmla="*/ 32169 w 326852"/>
                <a:gd name="connsiteY171" fmla="*/ 121865 h 351037"/>
                <a:gd name="connsiteX172" fmla="*/ 32169 w 326852"/>
                <a:gd name="connsiteY172" fmla="*/ 121865 h 351037"/>
                <a:gd name="connsiteX173" fmla="*/ 32169 w 326852"/>
                <a:gd name="connsiteY173" fmla="*/ 121865 h 351037"/>
                <a:gd name="connsiteX174" fmla="*/ 31464 w 326852"/>
                <a:gd name="connsiteY174" fmla="*/ 121161 h 351037"/>
                <a:gd name="connsiteX175" fmla="*/ 30760 w 326852"/>
                <a:gd name="connsiteY175" fmla="*/ 120221 h 351037"/>
                <a:gd name="connsiteX176" fmla="*/ 30525 w 326852"/>
                <a:gd name="connsiteY176" fmla="*/ 118343 h 351037"/>
                <a:gd name="connsiteX177" fmla="*/ 30995 w 326852"/>
                <a:gd name="connsiteY177" fmla="*/ 117169 h 351037"/>
                <a:gd name="connsiteX178" fmla="*/ 31699 w 326852"/>
                <a:gd name="connsiteY178" fmla="*/ 116230 h 351037"/>
                <a:gd name="connsiteX179" fmla="*/ 33343 w 326852"/>
                <a:gd name="connsiteY179" fmla="*/ 115056 h 351037"/>
                <a:gd name="connsiteX180" fmla="*/ 34047 w 326852"/>
                <a:gd name="connsiteY180" fmla="*/ 114586 h 351037"/>
                <a:gd name="connsiteX181" fmla="*/ 34986 w 326852"/>
                <a:gd name="connsiteY181" fmla="*/ 114116 h 351037"/>
                <a:gd name="connsiteX182" fmla="*/ 35926 w 326852"/>
                <a:gd name="connsiteY182" fmla="*/ 114116 h 351037"/>
                <a:gd name="connsiteX183" fmla="*/ 36630 w 326852"/>
                <a:gd name="connsiteY183" fmla="*/ 114351 h 351037"/>
                <a:gd name="connsiteX184" fmla="*/ 37334 w 326852"/>
                <a:gd name="connsiteY184" fmla="*/ 114586 h 351037"/>
                <a:gd name="connsiteX185" fmla="*/ 37804 w 326852"/>
                <a:gd name="connsiteY185" fmla="*/ 115056 h 351037"/>
                <a:gd name="connsiteX186" fmla="*/ 38274 w 326852"/>
                <a:gd name="connsiteY186" fmla="*/ 115760 h 351037"/>
                <a:gd name="connsiteX187" fmla="*/ 40152 w 326852"/>
                <a:gd name="connsiteY187" fmla="*/ 118813 h 351037"/>
                <a:gd name="connsiteX188" fmla="*/ 40387 w 326852"/>
                <a:gd name="connsiteY188" fmla="*/ 119047 h 351037"/>
                <a:gd name="connsiteX189" fmla="*/ 40622 w 326852"/>
                <a:gd name="connsiteY189" fmla="*/ 119282 h 351037"/>
                <a:gd name="connsiteX190" fmla="*/ 40857 w 326852"/>
                <a:gd name="connsiteY190" fmla="*/ 119282 h 351037"/>
                <a:gd name="connsiteX191" fmla="*/ 41326 w 326852"/>
                <a:gd name="connsiteY191" fmla="*/ 119282 h 351037"/>
                <a:gd name="connsiteX192" fmla="*/ 41796 w 326852"/>
                <a:gd name="connsiteY192" fmla="*/ 119282 h 351037"/>
                <a:gd name="connsiteX193" fmla="*/ 43439 w 326852"/>
                <a:gd name="connsiteY193" fmla="*/ 119517 h 351037"/>
                <a:gd name="connsiteX194" fmla="*/ 44848 w 326852"/>
                <a:gd name="connsiteY194" fmla="*/ 119987 h 351037"/>
                <a:gd name="connsiteX195" fmla="*/ 45787 w 326852"/>
                <a:gd name="connsiteY195" fmla="*/ 120691 h 351037"/>
                <a:gd name="connsiteX196" fmla="*/ 46022 w 326852"/>
                <a:gd name="connsiteY196" fmla="*/ 120691 h 351037"/>
                <a:gd name="connsiteX197" fmla="*/ 46257 w 326852"/>
                <a:gd name="connsiteY197" fmla="*/ 120691 h 351037"/>
                <a:gd name="connsiteX198" fmla="*/ 46727 w 326852"/>
                <a:gd name="connsiteY198" fmla="*/ 120691 h 351037"/>
                <a:gd name="connsiteX199" fmla="*/ 48605 w 326852"/>
                <a:gd name="connsiteY199" fmla="*/ 120221 h 351037"/>
                <a:gd name="connsiteX200" fmla="*/ 49310 w 326852"/>
                <a:gd name="connsiteY200" fmla="*/ 120221 h 351037"/>
                <a:gd name="connsiteX201" fmla="*/ 50014 w 326852"/>
                <a:gd name="connsiteY201" fmla="*/ 120221 h 351037"/>
                <a:gd name="connsiteX202" fmla="*/ 51423 w 326852"/>
                <a:gd name="connsiteY202" fmla="*/ 120456 h 351037"/>
                <a:gd name="connsiteX203" fmla="*/ 51892 w 326852"/>
                <a:gd name="connsiteY203" fmla="*/ 120456 h 351037"/>
                <a:gd name="connsiteX204" fmla="*/ 52127 w 326852"/>
                <a:gd name="connsiteY204" fmla="*/ 120456 h 351037"/>
                <a:gd name="connsiteX205" fmla="*/ 55415 w 326852"/>
                <a:gd name="connsiteY205" fmla="*/ 118578 h 351037"/>
                <a:gd name="connsiteX206" fmla="*/ 56119 w 326852"/>
                <a:gd name="connsiteY206" fmla="*/ 118343 h 351037"/>
                <a:gd name="connsiteX207" fmla="*/ 57058 w 326852"/>
                <a:gd name="connsiteY207" fmla="*/ 118108 h 351037"/>
                <a:gd name="connsiteX208" fmla="*/ 57997 w 326852"/>
                <a:gd name="connsiteY208" fmla="*/ 118343 h 351037"/>
                <a:gd name="connsiteX209" fmla="*/ 58702 w 326852"/>
                <a:gd name="connsiteY209" fmla="*/ 118813 h 351037"/>
                <a:gd name="connsiteX210" fmla="*/ 59641 w 326852"/>
                <a:gd name="connsiteY210" fmla="*/ 119752 h 351037"/>
                <a:gd name="connsiteX211" fmla="*/ 62224 w 326852"/>
                <a:gd name="connsiteY211" fmla="*/ 121630 h 351037"/>
                <a:gd name="connsiteX212" fmla="*/ 62459 w 326852"/>
                <a:gd name="connsiteY212" fmla="*/ 121630 h 351037"/>
                <a:gd name="connsiteX213" fmla="*/ 63398 w 326852"/>
                <a:gd name="connsiteY213" fmla="*/ 120926 h 351037"/>
                <a:gd name="connsiteX214" fmla="*/ 65277 w 326852"/>
                <a:gd name="connsiteY214" fmla="*/ 119282 h 351037"/>
                <a:gd name="connsiteX215" fmla="*/ 65981 w 326852"/>
                <a:gd name="connsiteY215" fmla="*/ 118343 h 351037"/>
                <a:gd name="connsiteX216" fmla="*/ 66216 w 326852"/>
                <a:gd name="connsiteY216" fmla="*/ 117873 h 351037"/>
                <a:gd name="connsiteX217" fmla="*/ 66216 w 326852"/>
                <a:gd name="connsiteY217" fmla="*/ 117404 h 351037"/>
                <a:gd name="connsiteX218" fmla="*/ 66216 w 326852"/>
                <a:gd name="connsiteY218" fmla="*/ 117169 h 351037"/>
                <a:gd name="connsiteX219" fmla="*/ 66216 w 326852"/>
                <a:gd name="connsiteY219" fmla="*/ 116699 h 351037"/>
                <a:gd name="connsiteX220" fmla="*/ 65746 w 326852"/>
                <a:gd name="connsiteY220" fmla="*/ 115525 h 351037"/>
                <a:gd name="connsiteX221" fmla="*/ 65511 w 326852"/>
                <a:gd name="connsiteY221" fmla="*/ 114351 h 351037"/>
                <a:gd name="connsiteX222" fmla="*/ 65746 w 326852"/>
                <a:gd name="connsiteY222" fmla="*/ 112942 h 351037"/>
                <a:gd name="connsiteX223" fmla="*/ 65981 w 326852"/>
                <a:gd name="connsiteY223" fmla="*/ 112003 h 351037"/>
                <a:gd name="connsiteX224" fmla="*/ 66451 w 326852"/>
                <a:gd name="connsiteY224" fmla="*/ 111064 h 351037"/>
                <a:gd name="connsiteX225" fmla="*/ 70677 w 326852"/>
                <a:gd name="connsiteY225" fmla="*/ 107072 h 351037"/>
                <a:gd name="connsiteX226" fmla="*/ 71147 w 326852"/>
                <a:gd name="connsiteY226" fmla="*/ 106368 h 351037"/>
                <a:gd name="connsiteX227" fmla="*/ 71381 w 326852"/>
                <a:gd name="connsiteY227" fmla="*/ 106133 h 351037"/>
                <a:gd name="connsiteX228" fmla="*/ 71381 w 326852"/>
                <a:gd name="connsiteY228" fmla="*/ 105898 h 351037"/>
                <a:gd name="connsiteX229" fmla="*/ 69973 w 326852"/>
                <a:gd name="connsiteY229" fmla="*/ 99793 h 351037"/>
                <a:gd name="connsiteX230" fmla="*/ 69973 w 326852"/>
                <a:gd name="connsiteY230" fmla="*/ 98384 h 351037"/>
                <a:gd name="connsiteX231" fmla="*/ 70207 w 326852"/>
                <a:gd name="connsiteY231" fmla="*/ 96271 h 351037"/>
                <a:gd name="connsiteX232" fmla="*/ 70207 w 326852"/>
                <a:gd name="connsiteY232" fmla="*/ 95801 h 351037"/>
                <a:gd name="connsiteX233" fmla="*/ 70207 w 326852"/>
                <a:gd name="connsiteY233" fmla="*/ 95332 h 351037"/>
                <a:gd name="connsiteX234" fmla="*/ 69268 w 326852"/>
                <a:gd name="connsiteY234" fmla="*/ 92279 h 351037"/>
                <a:gd name="connsiteX235" fmla="*/ 69268 w 326852"/>
                <a:gd name="connsiteY235" fmla="*/ 90870 h 351037"/>
                <a:gd name="connsiteX236" fmla="*/ 69738 w 326852"/>
                <a:gd name="connsiteY236" fmla="*/ 89931 h 351037"/>
                <a:gd name="connsiteX237" fmla="*/ 70207 w 326852"/>
                <a:gd name="connsiteY237" fmla="*/ 89227 h 351037"/>
                <a:gd name="connsiteX238" fmla="*/ 72321 w 326852"/>
                <a:gd name="connsiteY238" fmla="*/ 87583 h 351037"/>
                <a:gd name="connsiteX239" fmla="*/ 73495 w 326852"/>
                <a:gd name="connsiteY239" fmla="*/ 86409 h 351037"/>
                <a:gd name="connsiteX240" fmla="*/ 73964 w 326852"/>
                <a:gd name="connsiteY240" fmla="*/ 85705 h 351037"/>
                <a:gd name="connsiteX241" fmla="*/ 74199 w 326852"/>
                <a:gd name="connsiteY241" fmla="*/ 85470 h 351037"/>
                <a:gd name="connsiteX242" fmla="*/ 74199 w 326852"/>
                <a:gd name="connsiteY242" fmla="*/ 85235 h 351037"/>
                <a:gd name="connsiteX243" fmla="*/ 73730 w 326852"/>
                <a:gd name="connsiteY243" fmla="*/ 83591 h 351037"/>
                <a:gd name="connsiteX244" fmla="*/ 73495 w 326852"/>
                <a:gd name="connsiteY244" fmla="*/ 82183 h 351037"/>
                <a:gd name="connsiteX245" fmla="*/ 73730 w 326852"/>
                <a:gd name="connsiteY245" fmla="*/ 81009 h 351037"/>
                <a:gd name="connsiteX246" fmla="*/ 74199 w 326852"/>
                <a:gd name="connsiteY246" fmla="*/ 80069 h 351037"/>
                <a:gd name="connsiteX247" fmla="*/ 75138 w 326852"/>
                <a:gd name="connsiteY247" fmla="*/ 79130 h 351037"/>
                <a:gd name="connsiteX248" fmla="*/ 80069 w 326852"/>
                <a:gd name="connsiteY248" fmla="*/ 75843 h 351037"/>
                <a:gd name="connsiteX249" fmla="*/ 85940 w 326852"/>
                <a:gd name="connsiteY249" fmla="*/ 70208 h 351037"/>
                <a:gd name="connsiteX250" fmla="*/ 86174 w 326852"/>
                <a:gd name="connsiteY250" fmla="*/ 69738 h 351037"/>
                <a:gd name="connsiteX251" fmla="*/ 86174 w 326852"/>
                <a:gd name="connsiteY251" fmla="*/ 69503 h 351037"/>
                <a:gd name="connsiteX252" fmla="*/ 85940 w 326852"/>
                <a:gd name="connsiteY252" fmla="*/ 67859 h 351037"/>
                <a:gd name="connsiteX253" fmla="*/ 85940 w 326852"/>
                <a:gd name="connsiteY253" fmla="*/ 66216 h 351037"/>
                <a:gd name="connsiteX254" fmla="*/ 86409 w 326852"/>
                <a:gd name="connsiteY254" fmla="*/ 65042 h 351037"/>
                <a:gd name="connsiteX255" fmla="*/ 86879 w 326852"/>
                <a:gd name="connsiteY255" fmla="*/ 64337 h 351037"/>
                <a:gd name="connsiteX256" fmla="*/ 88053 w 326852"/>
                <a:gd name="connsiteY256" fmla="*/ 63398 h 351037"/>
                <a:gd name="connsiteX257" fmla="*/ 89697 w 326852"/>
                <a:gd name="connsiteY257" fmla="*/ 61754 h 351037"/>
                <a:gd name="connsiteX258" fmla="*/ 90871 w 326852"/>
                <a:gd name="connsiteY258" fmla="*/ 60815 h 351037"/>
                <a:gd name="connsiteX259" fmla="*/ 92045 w 326852"/>
                <a:gd name="connsiteY259" fmla="*/ 60111 h 351037"/>
                <a:gd name="connsiteX260" fmla="*/ 92749 w 326852"/>
                <a:gd name="connsiteY260" fmla="*/ 59641 h 351037"/>
                <a:gd name="connsiteX261" fmla="*/ 96036 w 326852"/>
                <a:gd name="connsiteY261" fmla="*/ 57997 h 351037"/>
                <a:gd name="connsiteX262" fmla="*/ 96506 w 326852"/>
                <a:gd name="connsiteY262" fmla="*/ 57763 h 351037"/>
                <a:gd name="connsiteX263" fmla="*/ 96976 w 326852"/>
                <a:gd name="connsiteY263" fmla="*/ 57528 h 351037"/>
                <a:gd name="connsiteX264" fmla="*/ 100498 w 326852"/>
                <a:gd name="connsiteY264" fmla="*/ 54240 h 351037"/>
                <a:gd name="connsiteX265" fmla="*/ 100967 w 326852"/>
                <a:gd name="connsiteY265" fmla="*/ 53771 h 351037"/>
                <a:gd name="connsiteX266" fmla="*/ 101672 w 326852"/>
                <a:gd name="connsiteY266" fmla="*/ 53301 h 351037"/>
                <a:gd name="connsiteX267" fmla="*/ 102611 w 326852"/>
                <a:gd name="connsiteY267" fmla="*/ 53066 h 351037"/>
                <a:gd name="connsiteX268" fmla="*/ 103550 w 326852"/>
                <a:gd name="connsiteY268" fmla="*/ 53066 h 351037"/>
                <a:gd name="connsiteX269" fmla="*/ 104255 w 326852"/>
                <a:gd name="connsiteY269" fmla="*/ 53301 h 351037"/>
                <a:gd name="connsiteX270" fmla="*/ 104489 w 326852"/>
                <a:gd name="connsiteY270" fmla="*/ 53301 h 351037"/>
                <a:gd name="connsiteX271" fmla="*/ 104959 w 326852"/>
                <a:gd name="connsiteY271" fmla="*/ 53301 h 351037"/>
                <a:gd name="connsiteX272" fmla="*/ 105898 w 326852"/>
                <a:gd name="connsiteY272" fmla="*/ 52832 h 351037"/>
                <a:gd name="connsiteX273" fmla="*/ 106133 w 326852"/>
                <a:gd name="connsiteY273" fmla="*/ 52597 h 351037"/>
                <a:gd name="connsiteX274" fmla="*/ 106133 w 326852"/>
                <a:gd name="connsiteY274" fmla="*/ 52362 h 351037"/>
                <a:gd name="connsiteX275" fmla="*/ 106368 w 326852"/>
                <a:gd name="connsiteY275" fmla="*/ 50484 h 351037"/>
                <a:gd name="connsiteX276" fmla="*/ 106603 w 326852"/>
                <a:gd name="connsiteY276" fmla="*/ 49075 h 351037"/>
                <a:gd name="connsiteX277" fmla="*/ 107072 w 326852"/>
                <a:gd name="connsiteY277" fmla="*/ 48136 h 351037"/>
                <a:gd name="connsiteX278" fmla="*/ 107777 w 326852"/>
                <a:gd name="connsiteY278" fmla="*/ 47431 h 351037"/>
                <a:gd name="connsiteX279" fmla="*/ 108481 w 326852"/>
                <a:gd name="connsiteY279" fmla="*/ 46962 h 351037"/>
                <a:gd name="connsiteX280" fmla="*/ 109890 w 326852"/>
                <a:gd name="connsiteY280" fmla="*/ 46257 h 351037"/>
                <a:gd name="connsiteX281" fmla="*/ 110829 w 326852"/>
                <a:gd name="connsiteY281" fmla="*/ 46022 h 351037"/>
                <a:gd name="connsiteX282" fmla="*/ 111768 w 326852"/>
                <a:gd name="connsiteY282" fmla="*/ 45787 h 351037"/>
                <a:gd name="connsiteX283" fmla="*/ 112708 w 326852"/>
                <a:gd name="connsiteY283" fmla="*/ 45787 h 351037"/>
                <a:gd name="connsiteX284" fmla="*/ 113647 w 326852"/>
                <a:gd name="connsiteY284" fmla="*/ 46022 h 351037"/>
                <a:gd name="connsiteX285" fmla="*/ 115291 w 326852"/>
                <a:gd name="connsiteY285" fmla="*/ 47196 h 351037"/>
                <a:gd name="connsiteX286" fmla="*/ 115525 w 326852"/>
                <a:gd name="connsiteY286" fmla="*/ 47196 h 351037"/>
                <a:gd name="connsiteX287" fmla="*/ 115525 w 326852"/>
                <a:gd name="connsiteY287" fmla="*/ 47196 h 351037"/>
                <a:gd name="connsiteX288" fmla="*/ 115525 w 326852"/>
                <a:gd name="connsiteY288" fmla="*/ 47196 h 351037"/>
                <a:gd name="connsiteX289" fmla="*/ 115525 w 326852"/>
                <a:gd name="connsiteY289" fmla="*/ 46962 h 351037"/>
                <a:gd name="connsiteX290" fmla="*/ 115525 w 326852"/>
                <a:gd name="connsiteY290" fmla="*/ 46727 h 351037"/>
                <a:gd name="connsiteX291" fmla="*/ 110829 w 326852"/>
                <a:gd name="connsiteY291" fmla="*/ 40387 h 351037"/>
                <a:gd name="connsiteX292" fmla="*/ 110125 w 326852"/>
                <a:gd name="connsiteY292" fmla="*/ 39917 h 351037"/>
                <a:gd name="connsiteX293" fmla="*/ 109890 w 326852"/>
                <a:gd name="connsiteY293" fmla="*/ 39917 h 351037"/>
                <a:gd name="connsiteX294" fmla="*/ 109420 w 326852"/>
                <a:gd name="connsiteY294" fmla="*/ 39917 h 351037"/>
                <a:gd name="connsiteX295" fmla="*/ 108951 w 326852"/>
                <a:gd name="connsiteY295" fmla="*/ 40152 h 351037"/>
                <a:gd name="connsiteX296" fmla="*/ 108246 w 326852"/>
                <a:gd name="connsiteY296" fmla="*/ 40387 h 351037"/>
                <a:gd name="connsiteX297" fmla="*/ 107307 w 326852"/>
                <a:gd name="connsiteY297" fmla="*/ 40622 h 351037"/>
                <a:gd name="connsiteX298" fmla="*/ 105898 w 326852"/>
                <a:gd name="connsiteY298" fmla="*/ 40387 h 351037"/>
                <a:gd name="connsiteX299" fmla="*/ 105429 w 326852"/>
                <a:gd name="connsiteY299" fmla="*/ 40387 h 351037"/>
                <a:gd name="connsiteX300" fmla="*/ 104020 w 326852"/>
                <a:gd name="connsiteY300" fmla="*/ 40622 h 351037"/>
                <a:gd name="connsiteX301" fmla="*/ 103080 w 326852"/>
                <a:gd name="connsiteY301" fmla="*/ 40387 h 351037"/>
                <a:gd name="connsiteX302" fmla="*/ 102376 w 326852"/>
                <a:gd name="connsiteY302" fmla="*/ 39917 h 351037"/>
                <a:gd name="connsiteX303" fmla="*/ 101672 w 326852"/>
                <a:gd name="connsiteY303" fmla="*/ 39213 h 351037"/>
                <a:gd name="connsiteX304" fmla="*/ 101437 w 326852"/>
                <a:gd name="connsiteY304" fmla="*/ 38508 h 351037"/>
                <a:gd name="connsiteX305" fmla="*/ 101202 w 326852"/>
                <a:gd name="connsiteY305" fmla="*/ 37569 h 351037"/>
                <a:gd name="connsiteX306" fmla="*/ 101202 w 326852"/>
                <a:gd name="connsiteY306" fmla="*/ 35456 h 351037"/>
                <a:gd name="connsiteX307" fmla="*/ 101202 w 326852"/>
                <a:gd name="connsiteY307" fmla="*/ 34986 h 351037"/>
                <a:gd name="connsiteX308" fmla="*/ 100498 w 326852"/>
                <a:gd name="connsiteY308" fmla="*/ 34047 h 351037"/>
                <a:gd name="connsiteX309" fmla="*/ 100263 w 326852"/>
                <a:gd name="connsiteY309" fmla="*/ 33812 h 351037"/>
                <a:gd name="connsiteX310" fmla="*/ 98854 w 326852"/>
                <a:gd name="connsiteY310" fmla="*/ 33108 h 351037"/>
                <a:gd name="connsiteX311" fmla="*/ 97680 w 326852"/>
                <a:gd name="connsiteY311" fmla="*/ 32169 h 351037"/>
                <a:gd name="connsiteX312" fmla="*/ 97210 w 326852"/>
                <a:gd name="connsiteY312" fmla="*/ 31464 h 351037"/>
                <a:gd name="connsiteX313" fmla="*/ 96741 w 326852"/>
                <a:gd name="connsiteY313" fmla="*/ 30525 h 351037"/>
                <a:gd name="connsiteX314" fmla="*/ 96741 w 326852"/>
                <a:gd name="connsiteY314" fmla="*/ 29116 h 351037"/>
                <a:gd name="connsiteX315" fmla="*/ 97210 w 326852"/>
                <a:gd name="connsiteY315" fmla="*/ 28177 h 351037"/>
                <a:gd name="connsiteX316" fmla="*/ 97915 w 326852"/>
                <a:gd name="connsiteY316" fmla="*/ 27472 h 351037"/>
                <a:gd name="connsiteX317" fmla="*/ 100263 w 326852"/>
                <a:gd name="connsiteY317" fmla="*/ 26064 h 351037"/>
                <a:gd name="connsiteX318" fmla="*/ 100498 w 326852"/>
                <a:gd name="connsiteY318" fmla="*/ 25829 h 351037"/>
                <a:gd name="connsiteX319" fmla="*/ 100967 w 326852"/>
                <a:gd name="connsiteY319" fmla="*/ 25359 h 351037"/>
                <a:gd name="connsiteX320" fmla="*/ 102846 w 326852"/>
                <a:gd name="connsiteY320" fmla="*/ 23011 h 351037"/>
                <a:gd name="connsiteX321" fmla="*/ 116699 w 326852"/>
                <a:gd name="connsiteY321" fmla="*/ 7748 h 351037"/>
                <a:gd name="connsiteX322" fmla="*/ 122804 w 326852"/>
                <a:gd name="connsiteY322" fmla="*/ 0 h 351037"/>
                <a:gd name="connsiteX323" fmla="*/ 134780 w 326852"/>
                <a:gd name="connsiteY323" fmla="*/ 10566 h 351037"/>
                <a:gd name="connsiteX324" fmla="*/ 145111 w 326852"/>
                <a:gd name="connsiteY324" fmla="*/ 22072 h 351037"/>
                <a:gd name="connsiteX325" fmla="*/ 160139 w 326852"/>
                <a:gd name="connsiteY325" fmla="*/ 32403 h 351037"/>
                <a:gd name="connsiteX326" fmla="*/ 161313 w 326852"/>
                <a:gd name="connsiteY326" fmla="*/ 33577 h 351037"/>
                <a:gd name="connsiteX327" fmla="*/ 163661 w 326852"/>
                <a:gd name="connsiteY327" fmla="*/ 39447 h 351037"/>
                <a:gd name="connsiteX328" fmla="*/ 165304 w 326852"/>
                <a:gd name="connsiteY328" fmla="*/ 50484 h 351037"/>
                <a:gd name="connsiteX329" fmla="*/ 169531 w 326852"/>
                <a:gd name="connsiteY329" fmla="*/ 62224 h 351037"/>
                <a:gd name="connsiteX330" fmla="*/ 173053 w 326852"/>
                <a:gd name="connsiteY330" fmla="*/ 69033 h 351037"/>
                <a:gd name="connsiteX331" fmla="*/ 173523 w 326852"/>
                <a:gd name="connsiteY331" fmla="*/ 69503 h 351037"/>
                <a:gd name="connsiteX332" fmla="*/ 173758 w 326852"/>
                <a:gd name="connsiteY332" fmla="*/ 69503 h 351037"/>
                <a:gd name="connsiteX333" fmla="*/ 174462 w 326852"/>
                <a:gd name="connsiteY333" fmla="*/ 69503 h 351037"/>
                <a:gd name="connsiteX334" fmla="*/ 175871 w 326852"/>
                <a:gd name="connsiteY334" fmla="*/ 69503 h 351037"/>
                <a:gd name="connsiteX335" fmla="*/ 176340 w 326852"/>
                <a:gd name="connsiteY335" fmla="*/ 69503 h 351037"/>
                <a:gd name="connsiteX336" fmla="*/ 179863 w 326852"/>
                <a:gd name="connsiteY336" fmla="*/ 68329 h 351037"/>
                <a:gd name="connsiteX337" fmla="*/ 180332 w 326852"/>
                <a:gd name="connsiteY337" fmla="*/ 68094 h 351037"/>
                <a:gd name="connsiteX338" fmla="*/ 180567 w 326852"/>
                <a:gd name="connsiteY338" fmla="*/ 67859 h 351037"/>
                <a:gd name="connsiteX339" fmla="*/ 180802 w 326852"/>
                <a:gd name="connsiteY339" fmla="*/ 67624 h 351037"/>
                <a:gd name="connsiteX340" fmla="*/ 181037 w 326852"/>
                <a:gd name="connsiteY340" fmla="*/ 67155 h 351037"/>
                <a:gd name="connsiteX341" fmla="*/ 181271 w 326852"/>
                <a:gd name="connsiteY341" fmla="*/ 66216 h 351037"/>
                <a:gd name="connsiteX342" fmla="*/ 181506 w 326852"/>
                <a:gd name="connsiteY342" fmla="*/ 63398 h 351037"/>
                <a:gd name="connsiteX343" fmla="*/ 181741 w 326852"/>
                <a:gd name="connsiteY343" fmla="*/ 62459 h 351037"/>
                <a:gd name="connsiteX344" fmla="*/ 182445 w 326852"/>
                <a:gd name="connsiteY344" fmla="*/ 61754 h 351037"/>
                <a:gd name="connsiteX345" fmla="*/ 183385 w 326852"/>
                <a:gd name="connsiteY345" fmla="*/ 61285 h 351037"/>
                <a:gd name="connsiteX346" fmla="*/ 184089 w 326852"/>
                <a:gd name="connsiteY346" fmla="*/ 61050 h 351037"/>
                <a:gd name="connsiteX347" fmla="*/ 189020 w 326852"/>
                <a:gd name="connsiteY347" fmla="*/ 60345 h 351037"/>
                <a:gd name="connsiteX348" fmla="*/ 191838 w 326852"/>
                <a:gd name="connsiteY348" fmla="*/ 59406 h 351037"/>
                <a:gd name="connsiteX349" fmla="*/ 196534 w 326852"/>
                <a:gd name="connsiteY349" fmla="*/ 57528 h 351037"/>
                <a:gd name="connsiteX350" fmla="*/ 199352 w 326852"/>
                <a:gd name="connsiteY350" fmla="*/ 56823 h 351037"/>
                <a:gd name="connsiteX351" fmla="*/ 206865 w 326852"/>
                <a:gd name="connsiteY351" fmla="*/ 53771 h 351037"/>
                <a:gd name="connsiteX352" fmla="*/ 207335 w 326852"/>
                <a:gd name="connsiteY352" fmla="*/ 53536 h 351037"/>
                <a:gd name="connsiteX353" fmla="*/ 207335 w 326852"/>
                <a:gd name="connsiteY353" fmla="*/ 53536 h 351037"/>
                <a:gd name="connsiteX354" fmla="*/ 207335 w 326852"/>
                <a:gd name="connsiteY354" fmla="*/ 53301 h 351037"/>
                <a:gd name="connsiteX355" fmla="*/ 206161 w 326852"/>
                <a:gd name="connsiteY355" fmla="*/ 50718 h 351037"/>
                <a:gd name="connsiteX356" fmla="*/ 205457 w 326852"/>
                <a:gd name="connsiteY356" fmla="*/ 48370 h 351037"/>
                <a:gd name="connsiteX357" fmla="*/ 205457 w 326852"/>
                <a:gd name="connsiteY357" fmla="*/ 47196 h 351037"/>
                <a:gd name="connsiteX358" fmla="*/ 205926 w 326852"/>
                <a:gd name="connsiteY358" fmla="*/ 46022 h 351037"/>
                <a:gd name="connsiteX359" fmla="*/ 206865 w 326852"/>
                <a:gd name="connsiteY359" fmla="*/ 45553 h 351037"/>
                <a:gd name="connsiteX360" fmla="*/ 209214 w 326852"/>
                <a:gd name="connsiteY360" fmla="*/ 44613 h 351037"/>
                <a:gd name="connsiteX361" fmla="*/ 209448 w 326852"/>
                <a:gd name="connsiteY361" fmla="*/ 44379 h 351037"/>
                <a:gd name="connsiteX362" fmla="*/ 209918 w 326852"/>
                <a:gd name="connsiteY362" fmla="*/ 44144 h 351037"/>
                <a:gd name="connsiteX363" fmla="*/ 210153 w 326852"/>
                <a:gd name="connsiteY363" fmla="*/ 43674 h 351037"/>
                <a:gd name="connsiteX364" fmla="*/ 210622 w 326852"/>
                <a:gd name="connsiteY364" fmla="*/ 43205 h 351037"/>
                <a:gd name="connsiteX365" fmla="*/ 211327 w 326852"/>
                <a:gd name="connsiteY365" fmla="*/ 42735 h 351037"/>
                <a:gd name="connsiteX366" fmla="*/ 212266 w 326852"/>
                <a:gd name="connsiteY366" fmla="*/ 42265 h 351037"/>
                <a:gd name="connsiteX367" fmla="*/ 213440 w 326852"/>
                <a:gd name="connsiteY367" fmla="*/ 42031 h 351037"/>
                <a:gd name="connsiteX368" fmla="*/ 215788 w 326852"/>
                <a:gd name="connsiteY368" fmla="*/ 41796 h 351037"/>
                <a:gd name="connsiteX369" fmla="*/ 216493 w 326852"/>
                <a:gd name="connsiteY369" fmla="*/ 41796 h 351037"/>
                <a:gd name="connsiteX370" fmla="*/ 216962 w 326852"/>
                <a:gd name="connsiteY370" fmla="*/ 41561 h 351037"/>
                <a:gd name="connsiteX371" fmla="*/ 216962 w 326852"/>
                <a:gd name="connsiteY371" fmla="*/ 41561 h 351037"/>
                <a:gd name="connsiteX372" fmla="*/ 216962 w 326852"/>
                <a:gd name="connsiteY372" fmla="*/ 41561 h 351037"/>
                <a:gd name="connsiteX373" fmla="*/ 217197 w 326852"/>
                <a:gd name="connsiteY373" fmla="*/ 40857 h 351037"/>
                <a:gd name="connsiteX374" fmla="*/ 217197 w 326852"/>
                <a:gd name="connsiteY374" fmla="*/ 30055 h 351037"/>
                <a:gd name="connsiteX375" fmla="*/ 217667 w 326852"/>
                <a:gd name="connsiteY375" fmla="*/ 28646 h 351037"/>
                <a:gd name="connsiteX376" fmla="*/ 218136 w 326852"/>
                <a:gd name="connsiteY376" fmla="*/ 27942 h 351037"/>
                <a:gd name="connsiteX377" fmla="*/ 218841 w 326852"/>
                <a:gd name="connsiteY377" fmla="*/ 27238 h 351037"/>
                <a:gd name="connsiteX378" fmla="*/ 219545 w 326852"/>
                <a:gd name="connsiteY378" fmla="*/ 26768 h 351037"/>
                <a:gd name="connsiteX379" fmla="*/ 220015 w 326852"/>
                <a:gd name="connsiteY379" fmla="*/ 26298 h 351037"/>
                <a:gd name="connsiteX380" fmla="*/ 220954 w 326852"/>
                <a:gd name="connsiteY380" fmla="*/ 25829 h 351037"/>
                <a:gd name="connsiteX381" fmla="*/ 221893 w 326852"/>
                <a:gd name="connsiteY381" fmla="*/ 25594 h 351037"/>
                <a:gd name="connsiteX382" fmla="*/ 223537 w 326852"/>
                <a:gd name="connsiteY382" fmla="*/ 25359 h 351037"/>
                <a:gd name="connsiteX383" fmla="*/ 224946 w 326852"/>
                <a:gd name="connsiteY383" fmla="*/ 25594 h 351037"/>
                <a:gd name="connsiteX384" fmla="*/ 228937 w 326852"/>
                <a:gd name="connsiteY384" fmla="*/ 27003 h 351037"/>
                <a:gd name="connsiteX385" fmla="*/ 230111 w 326852"/>
                <a:gd name="connsiteY385" fmla="*/ 27707 h 351037"/>
                <a:gd name="connsiteX386" fmla="*/ 233868 w 326852"/>
                <a:gd name="connsiteY386" fmla="*/ 31699 h 351037"/>
                <a:gd name="connsiteX387" fmla="*/ 234573 w 326852"/>
                <a:gd name="connsiteY387" fmla="*/ 32169 h 351037"/>
                <a:gd name="connsiteX388" fmla="*/ 235042 w 326852"/>
                <a:gd name="connsiteY388" fmla="*/ 32169 h 351037"/>
                <a:gd name="connsiteX389" fmla="*/ 235512 w 326852"/>
                <a:gd name="connsiteY389" fmla="*/ 32169 h 351037"/>
                <a:gd name="connsiteX390" fmla="*/ 235982 w 326852"/>
                <a:gd name="connsiteY390" fmla="*/ 31934 h 351037"/>
                <a:gd name="connsiteX391" fmla="*/ 236451 w 326852"/>
                <a:gd name="connsiteY391" fmla="*/ 31699 h 351037"/>
                <a:gd name="connsiteX392" fmla="*/ 236921 w 326852"/>
                <a:gd name="connsiteY392" fmla="*/ 31464 h 351037"/>
                <a:gd name="connsiteX393" fmla="*/ 237390 w 326852"/>
                <a:gd name="connsiteY393" fmla="*/ 30994 h 351037"/>
                <a:gd name="connsiteX394" fmla="*/ 237625 w 326852"/>
                <a:gd name="connsiteY394" fmla="*/ 30760 h 351037"/>
                <a:gd name="connsiteX395" fmla="*/ 237625 w 326852"/>
                <a:gd name="connsiteY395" fmla="*/ 30525 h 351037"/>
                <a:gd name="connsiteX396" fmla="*/ 237625 w 326852"/>
                <a:gd name="connsiteY396" fmla="*/ 30290 h 351037"/>
                <a:gd name="connsiteX397" fmla="*/ 236451 w 326852"/>
                <a:gd name="connsiteY397" fmla="*/ 25829 h 351037"/>
                <a:gd name="connsiteX398" fmla="*/ 236451 w 326852"/>
                <a:gd name="connsiteY398" fmla="*/ 24185 h 351037"/>
                <a:gd name="connsiteX399" fmla="*/ 236686 w 326852"/>
                <a:gd name="connsiteY399" fmla="*/ 23481 h 351037"/>
                <a:gd name="connsiteX400" fmla="*/ 236921 w 326852"/>
                <a:gd name="connsiteY400" fmla="*/ 22776 h 351037"/>
                <a:gd name="connsiteX401" fmla="*/ 237390 w 326852"/>
                <a:gd name="connsiteY401" fmla="*/ 22072 h 351037"/>
                <a:gd name="connsiteX402" fmla="*/ 237860 w 326852"/>
                <a:gd name="connsiteY402" fmla="*/ 21602 h 351037"/>
                <a:gd name="connsiteX403" fmla="*/ 238564 w 326852"/>
                <a:gd name="connsiteY403" fmla="*/ 21133 h 351037"/>
                <a:gd name="connsiteX404" fmla="*/ 239034 w 326852"/>
                <a:gd name="connsiteY404" fmla="*/ 20663 h 351037"/>
                <a:gd name="connsiteX405" fmla="*/ 239973 w 326852"/>
                <a:gd name="connsiteY405" fmla="*/ 20193 h 351037"/>
                <a:gd name="connsiteX406" fmla="*/ 239973 w 326852"/>
                <a:gd name="connsiteY406" fmla="*/ 20193 h 351037"/>
                <a:gd name="connsiteX407" fmla="*/ 239973 w 326852"/>
                <a:gd name="connsiteY407" fmla="*/ 19959 h 351037"/>
                <a:gd name="connsiteX408" fmla="*/ 239269 w 326852"/>
                <a:gd name="connsiteY408" fmla="*/ 18785 h 351037"/>
                <a:gd name="connsiteX409" fmla="*/ 239034 w 326852"/>
                <a:gd name="connsiteY409" fmla="*/ 17845 h 351037"/>
                <a:gd name="connsiteX410" fmla="*/ 239269 w 326852"/>
                <a:gd name="connsiteY410" fmla="*/ 16671 h 351037"/>
                <a:gd name="connsiteX411" fmla="*/ 239973 w 326852"/>
                <a:gd name="connsiteY411" fmla="*/ 15732 h 351037"/>
                <a:gd name="connsiteX412" fmla="*/ 240913 w 326852"/>
                <a:gd name="connsiteY412" fmla="*/ 15262 h 351037"/>
                <a:gd name="connsiteX413" fmla="*/ 242321 w 326852"/>
                <a:gd name="connsiteY413" fmla="*/ 14793 h 351037"/>
                <a:gd name="connsiteX414" fmla="*/ 243495 w 326852"/>
                <a:gd name="connsiteY414" fmla="*/ 15262 h 351037"/>
                <a:gd name="connsiteX415" fmla="*/ 245139 w 326852"/>
                <a:gd name="connsiteY415" fmla="*/ 16202 h 351037"/>
                <a:gd name="connsiteX416" fmla="*/ 245609 w 326852"/>
                <a:gd name="connsiteY416" fmla="*/ 16202 h 351037"/>
                <a:gd name="connsiteX417" fmla="*/ 245844 w 326852"/>
                <a:gd name="connsiteY417" fmla="*/ 16202 h 351037"/>
                <a:gd name="connsiteX418" fmla="*/ 249366 w 326852"/>
                <a:gd name="connsiteY418" fmla="*/ 14323 h 351037"/>
                <a:gd name="connsiteX419" fmla="*/ 250305 w 326852"/>
                <a:gd name="connsiteY419" fmla="*/ 13854 h 351037"/>
                <a:gd name="connsiteX420" fmla="*/ 251009 w 326852"/>
                <a:gd name="connsiteY420" fmla="*/ 13619 h 351037"/>
                <a:gd name="connsiteX421" fmla="*/ 251479 w 326852"/>
                <a:gd name="connsiteY421" fmla="*/ 13619 h 351037"/>
                <a:gd name="connsiteX422" fmla="*/ 251479 w 326852"/>
                <a:gd name="connsiteY422" fmla="*/ 13619 h 351037"/>
                <a:gd name="connsiteX423" fmla="*/ 252418 w 326852"/>
                <a:gd name="connsiteY423" fmla="*/ 12445 h 351037"/>
                <a:gd name="connsiteX424" fmla="*/ 253592 w 326852"/>
                <a:gd name="connsiteY424" fmla="*/ 11036 h 351037"/>
                <a:gd name="connsiteX425" fmla="*/ 254297 w 326852"/>
                <a:gd name="connsiteY425" fmla="*/ 10332 h 351037"/>
                <a:gd name="connsiteX426" fmla="*/ 255471 w 326852"/>
                <a:gd name="connsiteY426" fmla="*/ 9627 h 351037"/>
                <a:gd name="connsiteX427" fmla="*/ 257584 w 326852"/>
                <a:gd name="connsiteY427" fmla="*/ 9158 h 351037"/>
                <a:gd name="connsiteX428" fmla="*/ 258758 w 326852"/>
                <a:gd name="connsiteY428" fmla="*/ 9627 h 351037"/>
                <a:gd name="connsiteX429" fmla="*/ 259697 w 326852"/>
                <a:gd name="connsiteY429" fmla="*/ 10332 h 351037"/>
                <a:gd name="connsiteX430" fmla="*/ 260167 w 326852"/>
                <a:gd name="connsiteY430" fmla="*/ 11036 h 351037"/>
                <a:gd name="connsiteX431" fmla="*/ 260402 w 326852"/>
                <a:gd name="connsiteY431" fmla="*/ 11740 h 351037"/>
                <a:gd name="connsiteX432" fmla="*/ 260636 w 326852"/>
                <a:gd name="connsiteY432" fmla="*/ 12914 h 351037"/>
                <a:gd name="connsiteX433" fmla="*/ 260167 w 326852"/>
                <a:gd name="connsiteY433" fmla="*/ 14088 h 351037"/>
                <a:gd name="connsiteX434" fmla="*/ 259462 w 326852"/>
                <a:gd name="connsiteY434" fmla="*/ 14558 h 351037"/>
                <a:gd name="connsiteX435" fmla="*/ 258523 w 326852"/>
                <a:gd name="connsiteY435" fmla="*/ 15028 h 351037"/>
                <a:gd name="connsiteX436" fmla="*/ 257584 w 326852"/>
                <a:gd name="connsiteY436" fmla="*/ 15732 h 351037"/>
                <a:gd name="connsiteX437" fmla="*/ 256645 w 326852"/>
                <a:gd name="connsiteY437" fmla="*/ 16437 h 351037"/>
                <a:gd name="connsiteX438" fmla="*/ 255705 w 326852"/>
                <a:gd name="connsiteY438" fmla="*/ 17141 h 351037"/>
                <a:gd name="connsiteX439" fmla="*/ 255471 w 326852"/>
                <a:gd name="connsiteY439" fmla="*/ 17611 h 351037"/>
                <a:gd name="connsiteX440" fmla="*/ 255471 w 326852"/>
                <a:gd name="connsiteY440" fmla="*/ 17611 h 351037"/>
                <a:gd name="connsiteX441" fmla="*/ 255471 w 326852"/>
                <a:gd name="connsiteY441" fmla="*/ 17845 h 351037"/>
                <a:gd name="connsiteX442" fmla="*/ 255471 w 326852"/>
                <a:gd name="connsiteY442" fmla="*/ 18080 h 351037"/>
                <a:gd name="connsiteX443" fmla="*/ 258758 w 326852"/>
                <a:gd name="connsiteY443" fmla="*/ 23481 h 351037"/>
                <a:gd name="connsiteX444" fmla="*/ 261576 w 326852"/>
                <a:gd name="connsiteY444" fmla="*/ 24890 h 351037"/>
                <a:gd name="connsiteX445" fmla="*/ 266272 w 326852"/>
                <a:gd name="connsiteY445" fmla="*/ 26533 h 351037"/>
                <a:gd name="connsiteX446" fmla="*/ 268385 w 326852"/>
                <a:gd name="connsiteY446" fmla="*/ 27707 h 351037"/>
                <a:gd name="connsiteX447" fmla="*/ 269794 w 326852"/>
                <a:gd name="connsiteY447" fmla="*/ 28881 h 351037"/>
                <a:gd name="connsiteX448" fmla="*/ 270263 w 326852"/>
                <a:gd name="connsiteY448" fmla="*/ 30290 h 351037"/>
                <a:gd name="connsiteX449" fmla="*/ 270733 w 326852"/>
                <a:gd name="connsiteY449" fmla="*/ 30994 h 351037"/>
                <a:gd name="connsiteX450" fmla="*/ 271907 w 326852"/>
                <a:gd name="connsiteY450" fmla="*/ 32403 h 351037"/>
                <a:gd name="connsiteX451" fmla="*/ 272846 w 326852"/>
                <a:gd name="connsiteY451" fmla="*/ 32873 h 351037"/>
                <a:gd name="connsiteX452" fmla="*/ 273786 w 326852"/>
                <a:gd name="connsiteY452" fmla="*/ 33343 h 351037"/>
                <a:gd name="connsiteX453" fmla="*/ 275664 w 326852"/>
                <a:gd name="connsiteY453" fmla="*/ 35221 h 351037"/>
                <a:gd name="connsiteX454" fmla="*/ 276838 w 326852"/>
                <a:gd name="connsiteY454" fmla="*/ 37099 h 351037"/>
                <a:gd name="connsiteX455" fmla="*/ 277543 w 326852"/>
                <a:gd name="connsiteY455" fmla="*/ 38508 h 351037"/>
                <a:gd name="connsiteX456" fmla="*/ 278012 w 326852"/>
                <a:gd name="connsiteY456" fmla="*/ 42031 h 351037"/>
                <a:gd name="connsiteX457" fmla="*/ 278247 w 326852"/>
                <a:gd name="connsiteY457" fmla="*/ 42500 h 351037"/>
                <a:gd name="connsiteX458" fmla="*/ 278951 w 326852"/>
                <a:gd name="connsiteY458" fmla="*/ 43205 h 351037"/>
                <a:gd name="connsiteX459" fmla="*/ 280360 w 326852"/>
                <a:gd name="connsiteY459" fmla="*/ 44848 h 351037"/>
                <a:gd name="connsiteX460" fmla="*/ 284822 w 326852"/>
                <a:gd name="connsiteY460" fmla="*/ 50014 h 351037"/>
                <a:gd name="connsiteX461" fmla="*/ 285291 w 326852"/>
                <a:gd name="connsiteY461" fmla="*/ 51188 h 351037"/>
                <a:gd name="connsiteX462" fmla="*/ 285996 w 326852"/>
                <a:gd name="connsiteY462" fmla="*/ 53771 h 351037"/>
                <a:gd name="connsiteX463" fmla="*/ 286700 w 326852"/>
                <a:gd name="connsiteY463" fmla="*/ 62459 h 351037"/>
                <a:gd name="connsiteX464" fmla="*/ 293509 w 326852"/>
                <a:gd name="connsiteY464" fmla="*/ 80069 h 351037"/>
                <a:gd name="connsiteX465" fmla="*/ 293744 w 326852"/>
                <a:gd name="connsiteY465" fmla="*/ 82183 h 351037"/>
                <a:gd name="connsiteX466" fmla="*/ 293979 w 326852"/>
                <a:gd name="connsiteY466" fmla="*/ 82652 h 351037"/>
                <a:gd name="connsiteX467" fmla="*/ 294683 w 326852"/>
                <a:gd name="connsiteY467" fmla="*/ 83357 h 351037"/>
                <a:gd name="connsiteX468" fmla="*/ 296092 w 326852"/>
                <a:gd name="connsiteY468" fmla="*/ 84531 h 351037"/>
                <a:gd name="connsiteX469" fmla="*/ 297032 w 326852"/>
                <a:gd name="connsiteY469" fmla="*/ 85000 h 351037"/>
                <a:gd name="connsiteX470" fmla="*/ 300554 w 326852"/>
                <a:gd name="connsiteY470" fmla="*/ 85939 h 351037"/>
                <a:gd name="connsiteX471" fmla="*/ 303137 w 326852"/>
                <a:gd name="connsiteY471" fmla="*/ 86879 h 351037"/>
                <a:gd name="connsiteX472" fmla="*/ 304311 w 326852"/>
                <a:gd name="connsiteY472" fmla="*/ 87583 h 351037"/>
                <a:gd name="connsiteX473" fmla="*/ 308302 w 326852"/>
                <a:gd name="connsiteY473" fmla="*/ 91340 h 351037"/>
                <a:gd name="connsiteX474" fmla="*/ 310650 w 326852"/>
                <a:gd name="connsiteY474" fmla="*/ 94158 h 351037"/>
                <a:gd name="connsiteX475" fmla="*/ 311355 w 326852"/>
                <a:gd name="connsiteY475" fmla="*/ 95801 h 351037"/>
                <a:gd name="connsiteX476" fmla="*/ 311590 w 326852"/>
                <a:gd name="connsiteY476" fmla="*/ 96741 h 351037"/>
                <a:gd name="connsiteX477" fmla="*/ 311590 w 326852"/>
                <a:gd name="connsiteY477" fmla="*/ 97680 h 351037"/>
                <a:gd name="connsiteX478" fmla="*/ 311355 w 326852"/>
                <a:gd name="connsiteY478" fmla="*/ 98384 h 351037"/>
                <a:gd name="connsiteX479" fmla="*/ 311120 w 326852"/>
                <a:gd name="connsiteY479" fmla="*/ 99089 h 351037"/>
                <a:gd name="connsiteX480" fmla="*/ 310416 w 326852"/>
                <a:gd name="connsiteY480" fmla="*/ 100732 h 351037"/>
                <a:gd name="connsiteX481" fmla="*/ 309711 w 326852"/>
                <a:gd name="connsiteY481" fmla="*/ 102846 h 351037"/>
                <a:gd name="connsiteX482" fmla="*/ 309711 w 326852"/>
                <a:gd name="connsiteY482" fmla="*/ 103081 h 351037"/>
                <a:gd name="connsiteX483" fmla="*/ 309711 w 326852"/>
                <a:gd name="connsiteY483" fmla="*/ 103550 h 351037"/>
                <a:gd name="connsiteX484" fmla="*/ 311824 w 326852"/>
                <a:gd name="connsiteY484" fmla="*/ 108951 h 351037"/>
                <a:gd name="connsiteX485" fmla="*/ 311824 w 326852"/>
                <a:gd name="connsiteY485" fmla="*/ 109655 h 351037"/>
                <a:gd name="connsiteX486" fmla="*/ 311824 w 326852"/>
                <a:gd name="connsiteY486" fmla="*/ 110594 h 351037"/>
                <a:gd name="connsiteX487" fmla="*/ 311590 w 326852"/>
                <a:gd name="connsiteY487" fmla="*/ 111534 h 351037"/>
                <a:gd name="connsiteX488" fmla="*/ 310181 w 326852"/>
                <a:gd name="connsiteY488" fmla="*/ 114116 h 351037"/>
                <a:gd name="connsiteX489" fmla="*/ 310181 w 326852"/>
                <a:gd name="connsiteY489" fmla="*/ 114351 h 351037"/>
                <a:gd name="connsiteX490" fmla="*/ 310885 w 326852"/>
                <a:gd name="connsiteY490" fmla="*/ 115290 h 351037"/>
                <a:gd name="connsiteX491" fmla="*/ 316286 w 326852"/>
                <a:gd name="connsiteY491" fmla="*/ 119282 h 351037"/>
                <a:gd name="connsiteX492" fmla="*/ 321686 w 326852"/>
                <a:gd name="connsiteY492" fmla="*/ 124683 h 351037"/>
                <a:gd name="connsiteX493" fmla="*/ 322391 w 326852"/>
                <a:gd name="connsiteY493" fmla="*/ 126092 h 351037"/>
                <a:gd name="connsiteX494" fmla="*/ 322860 w 326852"/>
                <a:gd name="connsiteY494" fmla="*/ 127031 h 351037"/>
                <a:gd name="connsiteX495" fmla="*/ 322860 w 326852"/>
                <a:gd name="connsiteY495" fmla="*/ 127970 h 351037"/>
                <a:gd name="connsiteX496" fmla="*/ 322626 w 326852"/>
                <a:gd name="connsiteY496" fmla="*/ 128909 h 351037"/>
                <a:gd name="connsiteX497" fmla="*/ 322156 w 326852"/>
                <a:gd name="connsiteY497" fmla="*/ 129848 h 351037"/>
                <a:gd name="connsiteX498" fmla="*/ 321452 w 326852"/>
                <a:gd name="connsiteY498" fmla="*/ 130553 h 351037"/>
                <a:gd name="connsiteX499" fmla="*/ 320747 w 326852"/>
                <a:gd name="connsiteY499" fmla="*/ 131022 h 351037"/>
                <a:gd name="connsiteX500" fmla="*/ 318399 w 326852"/>
                <a:gd name="connsiteY500" fmla="*/ 131962 h 351037"/>
                <a:gd name="connsiteX501" fmla="*/ 317695 w 326852"/>
                <a:gd name="connsiteY501" fmla="*/ 132196 h 351037"/>
                <a:gd name="connsiteX502" fmla="*/ 317225 w 326852"/>
                <a:gd name="connsiteY502" fmla="*/ 132432 h 351037"/>
                <a:gd name="connsiteX503" fmla="*/ 316990 w 326852"/>
                <a:gd name="connsiteY503" fmla="*/ 132666 h 351037"/>
                <a:gd name="connsiteX504" fmla="*/ 316051 w 326852"/>
                <a:gd name="connsiteY504" fmla="*/ 134075 h 351037"/>
                <a:gd name="connsiteX505" fmla="*/ 315347 w 326852"/>
                <a:gd name="connsiteY505" fmla="*/ 134545 h 351037"/>
                <a:gd name="connsiteX506" fmla="*/ 314407 w 326852"/>
                <a:gd name="connsiteY506" fmla="*/ 135249 h 351037"/>
                <a:gd name="connsiteX507" fmla="*/ 314407 w 326852"/>
                <a:gd name="connsiteY507" fmla="*/ 135249 h 351037"/>
                <a:gd name="connsiteX508" fmla="*/ 314877 w 326852"/>
                <a:gd name="connsiteY508" fmla="*/ 135954 h 351037"/>
                <a:gd name="connsiteX509" fmla="*/ 315347 w 326852"/>
                <a:gd name="connsiteY509" fmla="*/ 136423 h 351037"/>
                <a:gd name="connsiteX510" fmla="*/ 315581 w 326852"/>
                <a:gd name="connsiteY510" fmla="*/ 136658 h 351037"/>
                <a:gd name="connsiteX511" fmla="*/ 319808 w 326852"/>
                <a:gd name="connsiteY511" fmla="*/ 138536 h 351037"/>
                <a:gd name="connsiteX512" fmla="*/ 320747 w 326852"/>
                <a:gd name="connsiteY512" fmla="*/ 139476 h 351037"/>
                <a:gd name="connsiteX513" fmla="*/ 321217 w 326852"/>
                <a:gd name="connsiteY513" fmla="*/ 140885 h 351037"/>
                <a:gd name="connsiteX514" fmla="*/ 320512 w 326852"/>
                <a:gd name="connsiteY514" fmla="*/ 141824 h 351037"/>
                <a:gd name="connsiteX515" fmla="*/ 319808 w 326852"/>
                <a:gd name="connsiteY515" fmla="*/ 142528 h 351037"/>
                <a:gd name="connsiteX516" fmla="*/ 318869 w 326852"/>
                <a:gd name="connsiteY516" fmla="*/ 142998 h 351037"/>
                <a:gd name="connsiteX517" fmla="*/ 318164 w 326852"/>
                <a:gd name="connsiteY517" fmla="*/ 142998 h 351037"/>
                <a:gd name="connsiteX518" fmla="*/ 317225 w 326852"/>
                <a:gd name="connsiteY518" fmla="*/ 142998 h 351037"/>
                <a:gd name="connsiteX519" fmla="*/ 314877 w 326852"/>
                <a:gd name="connsiteY519" fmla="*/ 142528 h 351037"/>
                <a:gd name="connsiteX520" fmla="*/ 314407 w 326852"/>
                <a:gd name="connsiteY520" fmla="*/ 142528 h 351037"/>
                <a:gd name="connsiteX521" fmla="*/ 313938 w 326852"/>
                <a:gd name="connsiteY521" fmla="*/ 142528 h 351037"/>
                <a:gd name="connsiteX522" fmla="*/ 313703 w 326852"/>
                <a:gd name="connsiteY522" fmla="*/ 142528 h 351037"/>
                <a:gd name="connsiteX523" fmla="*/ 314173 w 326852"/>
                <a:gd name="connsiteY523" fmla="*/ 143937 h 351037"/>
                <a:gd name="connsiteX524" fmla="*/ 314407 w 326852"/>
                <a:gd name="connsiteY524" fmla="*/ 144876 h 351037"/>
                <a:gd name="connsiteX525" fmla="*/ 314407 w 326852"/>
                <a:gd name="connsiteY525" fmla="*/ 145815 h 351037"/>
                <a:gd name="connsiteX526" fmla="*/ 313938 w 326852"/>
                <a:gd name="connsiteY526" fmla="*/ 146520 h 351037"/>
                <a:gd name="connsiteX527" fmla="*/ 313468 w 326852"/>
                <a:gd name="connsiteY527" fmla="*/ 147224 h 351037"/>
                <a:gd name="connsiteX528" fmla="*/ 312529 w 326852"/>
                <a:gd name="connsiteY528" fmla="*/ 148163 h 351037"/>
                <a:gd name="connsiteX529" fmla="*/ 310650 w 326852"/>
                <a:gd name="connsiteY529" fmla="*/ 149807 h 351037"/>
                <a:gd name="connsiteX530" fmla="*/ 309946 w 326852"/>
                <a:gd name="connsiteY530" fmla="*/ 150277 h 351037"/>
                <a:gd name="connsiteX531" fmla="*/ 308537 w 326852"/>
                <a:gd name="connsiteY531" fmla="*/ 150981 h 351037"/>
                <a:gd name="connsiteX532" fmla="*/ 308537 w 326852"/>
                <a:gd name="connsiteY532" fmla="*/ 151216 h 351037"/>
                <a:gd name="connsiteX533" fmla="*/ 308772 w 326852"/>
                <a:gd name="connsiteY533" fmla="*/ 152155 h 351037"/>
                <a:gd name="connsiteX534" fmla="*/ 308772 w 326852"/>
                <a:gd name="connsiteY534" fmla="*/ 152860 h 351037"/>
                <a:gd name="connsiteX535" fmla="*/ 308537 w 326852"/>
                <a:gd name="connsiteY535" fmla="*/ 153564 h 351037"/>
                <a:gd name="connsiteX536" fmla="*/ 308302 w 326852"/>
                <a:gd name="connsiteY536" fmla="*/ 153799 h 351037"/>
                <a:gd name="connsiteX537" fmla="*/ 308302 w 326852"/>
                <a:gd name="connsiteY537" fmla="*/ 153799 h 351037"/>
                <a:gd name="connsiteX538" fmla="*/ 308302 w 326852"/>
                <a:gd name="connsiteY538" fmla="*/ 154034 h 351037"/>
                <a:gd name="connsiteX539" fmla="*/ 309946 w 326852"/>
                <a:gd name="connsiteY539" fmla="*/ 156382 h 351037"/>
                <a:gd name="connsiteX540" fmla="*/ 310181 w 326852"/>
                <a:gd name="connsiteY540" fmla="*/ 156851 h 351037"/>
                <a:gd name="connsiteX541" fmla="*/ 310416 w 326852"/>
                <a:gd name="connsiteY541" fmla="*/ 157556 h 351037"/>
                <a:gd name="connsiteX542" fmla="*/ 309946 w 326852"/>
                <a:gd name="connsiteY542" fmla="*/ 158260 h 351037"/>
                <a:gd name="connsiteX543" fmla="*/ 309711 w 326852"/>
                <a:gd name="connsiteY543" fmla="*/ 158495 h 351037"/>
                <a:gd name="connsiteX544" fmla="*/ 309242 w 326852"/>
                <a:gd name="connsiteY544" fmla="*/ 158730 h 351037"/>
                <a:gd name="connsiteX545" fmla="*/ 307833 w 326852"/>
                <a:gd name="connsiteY545" fmla="*/ 159199 h 351037"/>
                <a:gd name="connsiteX546" fmla="*/ 307363 w 326852"/>
                <a:gd name="connsiteY546" fmla="*/ 159434 h 351037"/>
                <a:gd name="connsiteX547" fmla="*/ 307128 w 326852"/>
                <a:gd name="connsiteY547" fmla="*/ 159434 h 351037"/>
                <a:gd name="connsiteX548" fmla="*/ 306893 w 326852"/>
                <a:gd name="connsiteY548" fmla="*/ 159669 h 351037"/>
                <a:gd name="connsiteX549" fmla="*/ 306659 w 326852"/>
                <a:gd name="connsiteY549" fmla="*/ 160139 h 351037"/>
                <a:gd name="connsiteX550" fmla="*/ 305954 w 326852"/>
                <a:gd name="connsiteY550" fmla="*/ 160843 h 351037"/>
                <a:gd name="connsiteX551" fmla="*/ 305250 w 326852"/>
                <a:gd name="connsiteY551" fmla="*/ 161313 h 351037"/>
                <a:gd name="connsiteX552" fmla="*/ 304545 w 326852"/>
                <a:gd name="connsiteY552" fmla="*/ 161547 h 351037"/>
                <a:gd name="connsiteX553" fmla="*/ 302432 w 326852"/>
                <a:gd name="connsiteY553" fmla="*/ 161782 h 351037"/>
                <a:gd name="connsiteX554" fmla="*/ 299614 w 326852"/>
                <a:gd name="connsiteY554" fmla="*/ 162487 h 351037"/>
                <a:gd name="connsiteX555" fmla="*/ 298440 w 326852"/>
                <a:gd name="connsiteY555" fmla="*/ 162721 h 351037"/>
                <a:gd name="connsiteX556" fmla="*/ 296797 w 326852"/>
                <a:gd name="connsiteY556" fmla="*/ 162487 h 351037"/>
                <a:gd name="connsiteX557" fmla="*/ 295857 w 326852"/>
                <a:gd name="connsiteY557" fmla="*/ 161547 h 351037"/>
                <a:gd name="connsiteX558" fmla="*/ 295388 w 326852"/>
                <a:gd name="connsiteY558" fmla="*/ 160608 h 351037"/>
                <a:gd name="connsiteX559" fmla="*/ 294918 w 326852"/>
                <a:gd name="connsiteY559" fmla="*/ 161547 h 351037"/>
                <a:gd name="connsiteX560" fmla="*/ 294214 w 326852"/>
                <a:gd name="connsiteY560" fmla="*/ 162017 h 351037"/>
                <a:gd name="connsiteX561" fmla="*/ 293979 w 326852"/>
                <a:gd name="connsiteY561" fmla="*/ 162252 h 351037"/>
                <a:gd name="connsiteX562" fmla="*/ 294214 w 326852"/>
                <a:gd name="connsiteY562" fmla="*/ 163191 h 351037"/>
                <a:gd name="connsiteX563" fmla="*/ 294214 w 326852"/>
                <a:gd name="connsiteY563" fmla="*/ 164365 h 351037"/>
                <a:gd name="connsiteX564" fmla="*/ 293979 w 326852"/>
                <a:gd name="connsiteY564" fmla="*/ 165070 h 351037"/>
                <a:gd name="connsiteX565" fmla="*/ 294214 w 326852"/>
                <a:gd name="connsiteY565" fmla="*/ 165539 h 351037"/>
                <a:gd name="connsiteX566" fmla="*/ 297266 w 326852"/>
                <a:gd name="connsiteY566" fmla="*/ 169766 h 351037"/>
                <a:gd name="connsiteX567" fmla="*/ 297736 w 326852"/>
                <a:gd name="connsiteY567" fmla="*/ 170001 h 351037"/>
                <a:gd name="connsiteX568" fmla="*/ 297971 w 326852"/>
                <a:gd name="connsiteY568" fmla="*/ 170001 h 351037"/>
                <a:gd name="connsiteX569" fmla="*/ 299380 w 326852"/>
                <a:gd name="connsiteY569" fmla="*/ 169766 h 351037"/>
                <a:gd name="connsiteX570" fmla="*/ 300554 w 326852"/>
                <a:gd name="connsiteY570" fmla="*/ 169766 h 351037"/>
                <a:gd name="connsiteX571" fmla="*/ 302197 w 326852"/>
                <a:gd name="connsiteY571" fmla="*/ 170235 h 351037"/>
                <a:gd name="connsiteX572" fmla="*/ 303137 w 326852"/>
                <a:gd name="connsiteY572" fmla="*/ 170705 h 351037"/>
                <a:gd name="connsiteX573" fmla="*/ 304076 w 326852"/>
                <a:gd name="connsiteY573" fmla="*/ 171409 h 351037"/>
                <a:gd name="connsiteX574" fmla="*/ 304545 w 326852"/>
                <a:gd name="connsiteY574" fmla="*/ 172114 h 351037"/>
                <a:gd name="connsiteX575" fmla="*/ 305015 w 326852"/>
                <a:gd name="connsiteY575" fmla="*/ 173053 h 351037"/>
                <a:gd name="connsiteX576" fmla="*/ 304780 w 326852"/>
                <a:gd name="connsiteY576" fmla="*/ 174227 h 351037"/>
                <a:gd name="connsiteX577" fmla="*/ 304311 w 326852"/>
                <a:gd name="connsiteY577" fmla="*/ 174932 h 351037"/>
                <a:gd name="connsiteX578" fmla="*/ 303841 w 326852"/>
                <a:gd name="connsiteY578" fmla="*/ 175401 h 351037"/>
                <a:gd name="connsiteX579" fmla="*/ 301728 w 326852"/>
                <a:gd name="connsiteY579" fmla="*/ 177045 h 351037"/>
                <a:gd name="connsiteX580" fmla="*/ 301258 w 326852"/>
                <a:gd name="connsiteY580" fmla="*/ 177514 h 351037"/>
                <a:gd name="connsiteX581" fmla="*/ 301023 w 326852"/>
                <a:gd name="connsiteY581" fmla="*/ 177749 h 351037"/>
                <a:gd name="connsiteX582" fmla="*/ 301023 w 326852"/>
                <a:gd name="connsiteY582" fmla="*/ 177749 h 351037"/>
                <a:gd name="connsiteX583" fmla="*/ 301258 w 326852"/>
                <a:gd name="connsiteY583" fmla="*/ 178219 h 351037"/>
                <a:gd name="connsiteX584" fmla="*/ 302432 w 326852"/>
                <a:gd name="connsiteY584" fmla="*/ 180567 h 351037"/>
                <a:gd name="connsiteX585" fmla="*/ 302667 w 326852"/>
                <a:gd name="connsiteY585" fmla="*/ 181506 h 351037"/>
                <a:gd name="connsiteX586" fmla="*/ 302667 w 326852"/>
                <a:gd name="connsiteY586" fmla="*/ 182211 h 351037"/>
                <a:gd name="connsiteX587" fmla="*/ 302432 w 326852"/>
                <a:gd name="connsiteY587" fmla="*/ 183854 h 351037"/>
                <a:gd name="connsiteX588" fmla="*/ 302667 w 326852"/>
                <a:gd name="connsiteY588" fmla="*/ 184559 h 351037"/>
                <a:gd name="connsiteX589" fmla="*/ 303137 w 326852"/>
                <a:gd name="connsiteY589" fmla="*/ 185498 h 351037"/>
                <a:gd name="connsiteX590" fmla="*/ 304545 w 326852"/>
                <a:gd name="connsiteY590" fmla="*/ 187376 h 351037"/>
                <a:gd name="connsiteX591" fmla="*/ 305250 w 326852"/>
                <a:gd name="connsiteY591" fmla="*/ 188081 h 351037"/>
                <a:gd name="connsiteX592" fmla="*/ 305485 w 326852"/>
                <a:gd name="connsiteY592" fmla="*/ 188316 h 351037"/>
                <a:gd name="connsiteX593" fmla="*/ 306659 w 326852"/>
                <a:gd name="connsiteY593" fmla="*/ 188316 h 351037"/>
                <a:gd name="connsiteX594" fmla="*/ 308068 w 326852"/>
                <a:gd name="connsiteY594" fmla="*/ 188316 h 351037"/>
                <a:gd name="connsiteX595" fmla="*/ 309946 w 326852"/>
                <a:gd name="connsiteY595" fmla="*/ 189020 h 351037"/>
                <a:gd name="connsiteX596" fmla="*/ 310885 w 326852"/>
                <a:gd name="connsiteY596" fmla="*/ 189724 h 351037"/>
                <a:gd name="connsiteX597" fmla="*/ 311824 w 326852"/>
                <a:gd name="connsiteY597" fmla="*/ 190429 h 351037"/>
                <a:gd name="connsiteX598" fmla="*/ 312294 w 326852"/>
                <a:gd name="connsiteY598" fmla="*/ 191133 h 351037"/>
                <a:gd name="connsiteX599" fmla="*/ 312529 w 326852"/>
                <a:gd name="connsiteY599" fmla="*/ 192072 h 351037"/>
                <a:gd name="connsiteX600" fmla="*/ 312529 w 326852"/>
                <a:gd name="connsiteY600" fmla="*/ 193012 h 351037"/>
                <a:gd name="connsiteX601" fmla="*/ 312294 w 326852"/>
                <a:gd name="connsiteY601" fmla="*/ 193716 h 351037"/>
                <a:gd name="connsiteX602" fmla="*/ 311824 w 326852"/>
                <a:gd name="connsiteY602" fmla="*/ 194890 h 351037"/>
                <a:gd name="connsiteX603" fmla="*/ 311824 w 326852"/>
                <a:gd name="connsiteY603" fmla="*/ 195125 h 351037"/>
                <a:gd name="connsiteX604" fmla="*/ 326852 w 326852"/>
                <a:gd name="connsiteY604" fmla="*/ 212736 h 351037"/>
                <a:gd name="connsiteX605" fmla="*/ 320043 w 326852"/>
                <a:gd name="connsiteY605" fmla="*/ 217197 h 351037"/>
                <a:gd name="connsiteX606" fmla="*/ 319103 w 326852"/>
                <a:gd name="connsiteY606" fmla="*/ 218371 h 351037"/>
                <a:gd name="connsiteX607" fmla="*/ 319338 w 326852"/>
                <a:gd name="connsiteY607" fmla="*/ 219310 h 351037"/>
                <a:gd name="connsiteX608" fmla="*/ 319808 w 326852"/>
                <a:gd name="connsiteY608" fmla="*/ 220484 h 351037"/>
                <a:gd name="connsiteX609" fmla="*/ 320277 w 326852"/>
                <a:gd name="connsiteY609" fmla="*/ 221189 h 351037"/>
                <a:gd name="connsiteX610" fmla="*/ 322391 w 326852"/>
                <a:gd name="connsiteY610" fmla="*/ 223537 h 351037"/>
                <a:gd name="connsiteX611" fmla="*/ 323095 w 326852"/>
                <a:gd name="connsiteY611" fmla="*/ 224711 h 351037"/>
                <a:gd name="connsiteX612" fmla="*/ 322860 w 326852"/>
                <a:gd name="connsiteY612" fmla="*/ 225885 h 351037"/>
                <a:gd name="connsiteX613" fmla="*/ 322391 w 326852"/>
                <a:gd name="connsiteY613" fmla="*/ 226824 h 351037"/>
                <a:gd name="connsiteX614" fmla="*/ 321452 w 326852"/>
                <a:gd name="connsiteY614" fmla="*/ 227763 h 351037"/>
                <a:gd name="connsiteX615" fmla="*/ 319338 w 326852"/>
                <a:gd name="connsiteY615" fmla="*/ 229407 h 351037"/>
                <a:gd name="connsiteX616" fmla="*/ 318634 w 326852"/>
                <a:gd name="connsiteY616" fmla="*/ 230111 h 351037"/>
                <a:gd name="connsiteX617" fmla="*/ 314407 w 326852"/>
                <a:gd name="connsiteY617" fmla="*/ 236686 h 351037"/>
                <a:gd name="connsiteX618" fmla="*/ 311590 w 326852"/>
                <a:gd name="connsiteY618" fmla="*/ 240443 h 351037"/>
                <a:gd name="connsiteX619" fmla="*/ 311120 w 326852"/>
                <a:gd name="connsiteY619" fmla="*/ 241382 h 351037"/>
                <a:gd name="connsiteX620" fmla="*/ 311120 w 326852"/>
                <a:gd name="connsiteY620" fmla="*/ 241852 h 351037"/>
                <a:gd name="connsiteX621" fmla="*/ 312059 w 326852"/>
                <a:gd name="connsiteY621" fmla="*/ 244669 h 351037"/>
                <a:gd name="connsiteX622" fmla="*/ 312294 w 326852"/>
                <a:gd name="connsiteY622" fmla="*/ 246078 h 351037"/>
                <a:gd name="connsiteX623" fmla="*/ 311590 w 326852"/>
                <a:gd name="connsiteY623" fmla="*/ 247252 h 351037"/>
                <a:gd name="connsiteX624" fmla="*/ 310416 w 326852"/>
                <a:gd name="connsiteY624" fmla="*/ 247722 h 351037"/>
                <a:gd name="connsiteX625" fmla="*/ 309476 w 326852"/>
                <a:gd name="connsiteY625" fmla="*/ 247487 h 351037"/>
                <a:gd name="connsiteX626" fmla="*/ 308302 w 326852"/>
                <a:gd name="connsiteY626" fmla="*/ 246783 h 351037"/>
                <a:gd name="connsiteX627" fmla="*/ 307363 w 326852"/>
                <a:gd name="connsiteY627" fmla="*/ 246078 h 351037"/>
                <a:gd name="connsiteX628" fmla="*/ 307128 w 326852"/>
                <a:gd name="connsiteY628" fmla="*/ 246078 h 351037"/>
                <a:gd name="connsiteX629" fmla="*/ 307128 w 326852"/>
                <a:gd name="connsiteY629" fmla="*/ 246078 h 351037"/>
                <a:gd name="connsiteX630" fmla="*/ 306424 w 326852"/>
                <a:gd name="connsiteY630" fmla="*/ 246783 h 351037"/>
                <a:gd name="connsiteX631" fmla="*/ 305954 w 326852"/>
                <a:gd name="connsiteY631" fmla="*/ 247252 h 351037"/>
                <a:gd name="connsiteX632" fmla="*/ 305719 w 326852"/>
                <a:gd name="connsiteY632" fmla="*/ 247487 h 351037"/>
                <a:gd name="connsiteX633" fmla="*/ 305719 w 326852"/>
                <a:gd name="connsiteY633" fmla="*/ 247722 h 351037"/>
                <a:gd name="connsiteX634" fmla="*/ 306659 w 326852"/>
                <a:gd name="connsiteY634" fmla="*/ 250070 h 351037"/>
                <a:gd name="connsiteX635" fmla="*/ 306189 w 326852"/>
                <a:gd name="connsiteY635" fmla="*/ 251244 h 351037"/>
                <a:gd name="connsiteX636" fmla="*/ 305250 w 326852"/>
                <a:gd name="connsiteY636" fmla="*/ 251948 h 351037"/>
                <a:gd name="connsiteX637" fmla="*/ 304311 w 326852"/>
                <a:gd name="connsiteY637" fmla="*/ 252183 h 351037"/>
                <a:gd name="connsiteX638" fmla="*/ 302667 w 326852"/>
                <a:gd name="connsiteY638" fmla="*/ 252653 h 351037"/>
                <a:gd name="connsiteX639" fmla="*/ 301963 w 326852"/>
                <a:gd name="connsiteY639" fmla="*/ 252888 h 351037"/>
                <a:gd name="connsiteX640" fmla="*/ 301493 w 326852"/>
                <a:gd name="connsiteY640" fmla="*/ 253357 h 351037"/>
                <a:gd name="connsiteX641" fmla="*/ 301493 w 326852"/>
                <a:gd name="connsiteY641" fmla="*/ 253357 h 351037"/>
                <a:gd name="connsiteX642" fmla="*/ 301963 w 326852"/>
                <a:gd name="connsiteY642" fmla="*/ 253827 h 351037"/>
                <a:gd name="connsiteX643" fmla="*/ 305485 w 326852"/>
                <a:gd name="connsiteY643" fmla="*/ 256410 h 351037"/>
                <a:gd name="connsiteX644" fmla="*/ 305485 w 326852"/>
                <a:gd name="connsiteY644" fmla="*/ 258523 h 351037"/>
                <a:gd name="connsiteX645" fmla="*/ 305015 w 326852"/>
                <a:gd name="connsiteY645" fmla="*/ 261341 h 351037"/>
                <a:gd name="connsiteX646" fmla="*/ 303137 w 326852"/>
                <a:gd name="connsiteY646" fmla="*/ 268150 h 351037"/>
                <a:gd name="connsiteX647" fmla="*/ 302667 w 326852"/>
                <a:gd name="connsiteY647" fmla="*/ 270733 h 351037"/>
                <a:gd name="connsiteX648" fmla="*/ 302667 w 326852"/>
                <a:gd name="connsiteY648" fmla="*/ 271437 h 351037"/>
                <a:gd name="connsiteX649" fmla="*/ 303371 w 326852"/>
                <a:gd name="connsiteY649" fmla="*/ 271672 h 351037"/>
                <a:gd name="connsiteX650" fmla="*/ 307598 w 326852"/>
                <a:gd name="connsiteY650" fmla="*/ 273316 h 351037"/>
                <a:gd name="connsiteX651" fmla="*/ 308302 w 326852"/>
                <a:gd name="connsiteY651" fmla="*/ 274255 h 351037"/>
                <a:gd name="connsiteX652" fmla="*/ 308772 w 326852"/>
                <a:gd name="connsiteY652" fmla="*/ 275429 h 351037"/>
                <a:gd name="connsiteX653" fmla="*/ 309007 w 326852"/>
                <a:gd name="connsiteY653" fmla="*/ 281769 h 351037"/>
                <a:gd name="connsiteX654" fmla="*/ 308772 w 326852"/>
                <a:gd name="connsiteY654" fmla="*/ 283178 h 351037"/>
                <a:gd name="connsiteX655" fmla="*/ 307128 w 326852"/>
                <a:gd name="connsiteY655" fmla="*/ 288109 h 351037"/>
                <a:gd name="connsiteX656" fmla="*/ 305485 w 326852"/>
                <a:gd name="connsiteY656" fmla="*/ 300319 h 351037"/>
                <a:gd name="connsiteX657" fmla="*/ 305250 w 326852"/>
                <a:gd name="connsiteY657" fmla="*/ 301023 h 351037"/>
                <a:gd name="connsiteX658" fmla="*/ 303606 w 326852"/>
                <a:gd name="connsiteY658" fmla="*/ 304780 h 351037"/>
                <a:gd name="connsiteX659" fmla="*/ 303606 w 326852"/>
                <a:gd name="connsiteY659" fmla="*/ 305250 h 351037"/>
                <a:gd name="connsiteX660" fmla="*/ 304780 w 326852"/>
                <a:gd name="connsiteY660" fmla="*/ 305015 h 351037"/>
                <a:gd name="connsiteX661" fmla="*/ 305954 w 326852"/>
                <a:gd name="connsiteY661" fmla="*/ 305250 h 351037"/>
                <a:gd name="connsiteX662" fmla="*/ 306659 w 326852"/>
                <a:gd name="connsiteY662" fmla="*/ 305954 h 351037"/>
                <a:gd name="connsiteX663" fmla="*/ 308772 w 326852"/>
                <a:gd name="connsiteY663" fmla="*/ 310885 h 351037"/>
                <a:gd name="connsiteX664" fmla="*/ 309946 w 326852"/>
                <a:gd name="connsiteY664" fmla="*/ 312529 h 351037"/>
                <a:gd name="connsiteX665" fmla="*/ 310416 w 326852"/>
                <a:gd name="connsiteY665" fmla="*/ 314172 h 351037"/>
                <a:gd name="connsiteX666" fmla="*/ 309711 w 326852"/>
                <a:gd name="connsiteY666" fmla="*/ 315346 h 351037"/>
                <a:gd name="connsiteX667" fmla="*/ 308772 w 326852"/>
                <a:gd name="connsiteY667" fmla="*/ 315816 h 351037"/>
                <a:gd name="connsiteX668" fmla="*/ 307833 w 326852"/>
                <a:gd name="connsiteY668" fmla="*/ 315816 h 351037"/>
                <a:gd name="connsiteX669" fmla="*/ 303841 w 326852"/>
                <a:gd name="connsiteY669" fmla="*/ 316051 h 351037"/>
                <a:gd name="connsiteX670" fmla="*/ 303606 w 326852"/>
                <a:gd name="connsiteY670" fmla="*/ 316051 h 351037"/>
                <a:gd name="connsiteX671" fmla="*/ 303137 w 326852"/>
                <a:gd name="connsiteY671" fmla="*/ 316286 h 351037"/>
                <a:gd name="connsiteX672" fmla="*/ 301963 w 326852"/>
                <a:gd name="connsiteY672" fmla="*/ 316990 h 351037"/>
                <a:gd name="connsiteX673" fmla="*/ 301023 w 326852"/>
                <a:gd name="connsiteY673" fmla="*/ 317460 h 351037"/>
                <a:gd name="connsiteX674" fmla="*/ 298206 w 326852"/>
                <a:gd name="connsiteY674" fmla="*/ 317694 h 351037"/>
                <a:gd name="connsiteX675" fmla="*/ 297032 w 326852"/>
                <a:gd name="connsiteY675" fmla="*/ 317929 h 351037"/>
                <a:gd name="connsiteX676" fmla="*/ 296562 w 326852"/>
                <a:gd name="connsiteY676" fmla="*/ 318164 h 351037"/>
                <a:gd name="connsiteX677" fmla="*/ 296092 w 326852"/>
                <a:gd name="connsiteY677" fmla="*/ 318399 h 351037"/>
                <a:gd name="connsiteX678" fmla="*/ 295623 w 326852"/>
                <a:gd name="connsiteY678" fmla="*/ 318634 h 351037"/>
                <a:gd name="connsiteX679" fmla="*/ 294683 w 326852"/>
                <a:gd name="connsiteY679" fmla="*/ 319338 h 351037"/>
                <a:gd name="connsiteX680" fmla="*/ 294214 w 326852"/>
                <a:gd name="connsiteY680" fmla="*/ 319808 h 351037"/>
                <a:gd name="connsiteX681" fmla="*/ 293509 w 326852"/>
                <a:gd name="connsiteY681" fmla="*/ 320278 h 351037"/>
                <a:gd name="connsiteX682" fmla="*/ 292570 w 326852"/>
                <a:gd name="connsiteY682" fmla="*/ 320747 h 351037"/>
                <a:gd name="connsiteX683" fmla="*/ 291631 w 326852"/>
                <a:gd name="connsiteY683" fmla="*/ 320747 h 351037"/>
                <a:gd name="connsiteX684" fmla="*/ 290692 w 326852"/>
                <a:gd name="connsiteY684" fmla="*/ 320512 h 351037"/>
                <a:gd name="connsiteX685" fmla="*/ 289518 w 326852"/>
                <a:gd name="connsiteY685" fmla="*/ 320042 h 351037"/>
                <a:gd name="connsiteX686" fmla="*/ 288813 w 326852"/>
                <a:gd name="connsiteY686" fmla="*/ 319573 h 351037"/>
                <a:gd name="connsiteX687" fmla="*/ 288109 w 326852"/>
                <a:gd name="connsiteY687" fmla="*/ 318634 h 351037"/>
                <a:gd name="connsiteX688" fmla="*/ 288344 w 326852"/>
                <a:gd name="connsiteY688" fmla="*/ 317460 h 351037"/>
                <a:gd name="connsiteX689" fmla="*/ 288578 w 326852"/>
                <a:gd name="connsiteY689" fmla="*/ 316755 h 351037"/>
                <a:gd name="connsiteX690" fmla="*/ 289048 w 326852"/>
                <a:gd name="connsiteY690" fmla="*/ 316286 h 351037"/>
                <a:gd name="connsiteX691" fmla="*/ 289518 w 326852"/>
                <a:gd name="connsiteY691" fmla="*/ 315346 h 351037"/>
                <a:gd name="connsiteX692" fmla="*/ 289752 w 326852"/>
                <a:gd name="connsiteY692" fmla="*/ 314877 h 351037"/>
                <a:gd name="connsiteX693" fmla="*/ 289987 w 326852"/>
                <a:gd name="connsiteY693" fmla="*/ 313938 h 351037"/>
                <a:gd name="connsiteX694" fmla="*/ 289987 w 326852"/>
                <a:gd name="connsiteY694" fmla="*/ 313468 h 351037"/>
                <a:gd name="connsiteX695" fmla="*/ 289987 w 326852"/>
                <a:gd name="connsiteY695" fmla="*/ 312998 h 351037"/>
                <a:gd name="connsiteX696" fmla="*/ 289987 w 326852"/>
                <a:gd name="connsiteY696" fmla="*/ 312529 h 351037"/>
                <a:gd name="connsiteX697" fmla="*/ 289752 w 326852"/>
                <a:gd name="connsiteY697" fmla="*/ 312059 h 351037"/>
                <a:gd name="connsiteX698" fmla="*/ 289752 w 326852"/>
                <a:gd name="connsiteY698" fmla="*/ 311824 h 351037"/>
                <a:gd name="connsiteX699" fmla="*/ 289518 w 326852"/>
                <a:gd name="connsiteY699" fmla="*/ 311589 h 351037"/>
                <a:gd name="connsiteX700" fmla="*/ 289518 w 326852"/>
                <a:gd name="connsiteY700" fmla="*/ 311589 h 351037"/>
                <a:gd name="connsiteX701" fmla="*/ 288813 w 326852"/>
                <a:gd name="connsiteY701" fmla="*/ 311120 h 351037"/>
                <a:gd name="connsiteX702" fmla="*/ 288344 w 326852"/>
                <a:gd name="connsiteY702" fmla="*/ 311120 h 351037"/>
                <a:gd name="connsiteX703" fmla="*/ 288109 w 326852"/>
                <a:gd name="connsiteY703" fmla="*/ 311120 h 351037"/>
                <a:gd name="connsiteX704" fmla="*/ 286935 w 326852"/>
                <a:gd name="connsiteY704" fmla="*/ 311355 h 351037"/>
                <a:gd name="connsiteX705" fmla="*/ 285526 w 326852"/>
                <a:gd name="connsiteY705" fmla="*/ 311824 h 351037"/>
                <a:gd name="connsiteX706" fmla="*/ 284822 w 326852"/>
                <a:gd name="connsiteY706" fmla="*/ 312059 h 351037"/>
                <a:gd name="connsiteX707" fmla="*/ 284117 w 326852"/>
                <a:gd name="connsiteY707" fmla="*/ 312059 h 351037"/>
                <a:gd name="connsiteX708" fmla="*/ 282004 w 326852"/>
                <a:gd name="connsiteY708" fmla="*/ 312059 h 351037"/>
                <a:gd name="connsiteX709" fmla="*/ 281534 w 326852"/>
                <a:gd name="connsiteY709" fmla="*/ 312059 h 351037"/>
                <a:gd name="connsiteX710" fmla="*/ 281065 w 326852"/>
                <a:gd name="connsiteY710" fmla="*/ 312294 h 351037"/>
                <a:gd name="connsiteX711" fmla="*/ 280595 w 326852"/>
                <a:gd name="connsiteY711" fmla="*/ 312529 h 351037"/>
                <a:gd name="connsiteX712" fmla="*/ 279186 w 326852"/>
                <a:gd name="connsiteY712" fmla="*/ 313468 h 351037"/>
                <a:gd name="connsiteX713" fmla="*/ 278247 w 326852"/>
                <a:gd name="connsiteY713" fmla="*/ 313938 h 351037"/>
                <a:gd name="connsiteX714" fmla="*/ 277308 w 326852"/>
                <a:gd name="connsiteY714" fmla="*/ 314172 h 351037"/>
                <a:gd name="connsiteX715" fmla="*/ 276369 w 326852"/>
                <a:gd name="connsiteY715" fmla="*/ 314172 h 351037"/>
                <a:gd name="connsiteX716" fmla="*/ 275429 w 326852"/>
                <a:gd name="connsiteY716" fmla="*/ 313703 h 351037"/>
                <a:gd name="connsiteX717" fmla="*/ 271672 w 326852"/>
                <a:gd name="connsiteY717" fmla="*/ 310650 h 351037"/>
                <a:gd name="connsiteX718" fmla="*/ 270029 w 326852"/>
                <a:gd name="connsiteY718" fmla="*/ 308302 h 351037"/>
                <a:gd name="connsiteX719" fmla="*/ 268855 w 326852"/>
                <a:gd name="connsiteY719" fmla="*/ 305954 h 351037"/>
                <a:gd name="connsiteX720" fmla="*/ 268385 w 326852"/>
                <a:gd name="connsiteY720" fmla="*/ 304076 h 351037"/>
                <a:gd name="connsiteX721" fmla="*/ 268385 w 326852"/>
                <a:gd name="connsiteY721" fmla="*/ 303136 h 351037"/>
                <a:gd name="connsiteX722" fmla="*/ 268620 w 326852"/>
                <a:gd name="connsiteY722" fmla="*/ 302432 h 351037"/>
                <a:gd name="connsiteX723" fmla="*/ 268620 w 326852"/>
                <a:gd name="connsiteY723" fmla="*/ 302432 h 351037"/>
                <a:gd name="connsiteX724" fmla="*/ 268620 w 326852"/>
                <a:gd name="connsiteY724" fmla="*/ 302197 h 351037"/>
                <a:gd name="connsiteX725" fmla="*/ 267915 w 326852"/>
                <a:gd name="connsiteY725" fmla="*/ 301258 h 351037"/>
                <a:gd name="connsiteX726" fmla="*/ 267681 w 326852"/>
                <a:gd name="connsiteY726" fmla="*/ 300319 h 351037"/>
                <a:gd name="connsiteX727" fmla="*/ 267681 w 326852"/>
                <a:gd name="connsiteY727" fmla="*/ 299614 h 351037"/>
                <a:gd name="connsiteX728" fmla="*/ 267681 w 326852"/>
                <a:gd name="connsiteY728" fmla="*/ 298910 h 351037"/>
                <a:gd name="connsiteX729" fmla="*/ 267681 w 326852"/>
                <a:gd name="connsiteY729" fmla="*/ 298910 h 351037"/>
                <a:gd name="connsiteX730" fmla="*/ 267446 w 326852"/>
                <a:gd name="connsiteY730" fmla="*/ 298675 h 351037"/>
                <a:gd name="connsiteX731" fmla="*/ 266741 w 326852"/>
                <a:gd name="connsiteY731" fmla="*/ 298206 h 351037"/>
                <a:gd name="connsiteX732" fmla="*/ 266507 w 326852"/>
                <a:gd name="connsiteY732" fmla="*/ 298206 h 351037"/>
                <a:gd name="connsiteX733" fmla="*/ 266037 w 326852"/>
                <a:gd name="connsiteY733" fmla="*/ 298206 h 351037"/>
                <a:gd name="connsiteX734" fmla="*/ 264863 w 326852"/>
                <a:gd name="connsiteY734" fmla="*/ 298910 h 351037"/>
                <a:gd name="connsiteX735" fmla="*/ 263924 w 326852"/>
                <a:gd name="connsiteY735" fmla="*/ 300084 h 351037"/>
                <a:gd name="connsiteX736" fmla="*/ 261810 w 326852"/>
                <a:gd name="connsiteY736" fmla="*/ 303606 h 351037"/>
                <a:gd name="connsiteX737" fmla="*/ 261106 w 326852"/>
                <a:gd name="connsiteY737" fmla="*/ 304545 h 351037"/>
                <a:gd name="connsiteX738" fmla="*/ 260167 w 326852"/>
                <a:gd name="connsiteY738" fmla="*/ 305485 h 351037"/>
                <a:gd name="connsiteX739" fmla="*/ 256410 w 326852"/>
                <a:gd name="connsiteY739" fmla="*/ 308302 h 351037"/>
                <a:gd name="connsiteX740" fmla="*/ 255705 w 326852"/>
                <a:gd name="connsiteY740" fmla="*/ 308537 h 351037"/>
                <a:gd name="connsiteX741" fmla="*/ 254766 w 326852"/>
                <a:gd name="connsiteY741" fmla="*/ 308772 h 351037"/>
                <a:gd name="connsiteX742" fmla="*/ 253827 w 326852"/>
                <a:gd name="connsiteY742" fmla="*/ 308537 h 351037"/>
                <a:gd name="connsiteX743" fmla="*/ 253123 w 326852"/>
                <a:gd name="connsiteY743" fmla="*/ 308067 h 351037"/>
                <a:gd name="connsiteX744" fmla="*/ 251949 w 326852"/>
                <a:gd name="connsiteY744" fmla="*/ 307128 h 351037"/>
                <a:gd name="connsiteX745" fmla="*/ 247957 w 326852"/>
                <a:gd name="connsiteY745" fmla="*/ 301962 h 351037"/>
                <a:gd name="connsiteX746" fmla="*/ 247722 w 326852"/>
                <a:gd name="connsiteY746" fmla="*/ 301728 h 351037"/>
                <a:gd name="connsiteX747" fmla="*/ 247487 w 326852"/>
                <a:gd name="connsiteY747" fmla="*/ 301728 h 351037"/>
                <a:gd name="connsiteX748" fmla="*/ 247487 w 326852"/>
                <a:gd name="connsiteY748" fmla="*/ 301728 h 351037"/>
                <a:gd name="connsiteX749" fmla="*/ 247487 w 326852"/>
                <a:gd name="connsiteY749" fmla="*/ 301962 h 351037"/>
                <a:gd name="connsiteX750" fmla="*/ 247252 w 326852"/>
                <a:gd name="connsiteY750" fmla="*/ 302902 h 351037"/>
                <a:gd name="connsiteX751" fmla="*/ 246548 w 326852"/>
                <a:gd name="connsiteY751" fmla="*/ 306893 h 351037"/>
                <a:gd name="connsiteX752" fmla="*/ 246548 w 326852"/>
                <a:gd name="connsiteY752" fmla="*/ 307833 h 351037"/>
                <a:gd name="connsiteX753" fmla="*/ 247487 w 326852"/>
                <a:gd name="connsiteY753" fmla="*/ 313233 h 351037"/>
                <a:gd name="connsiteX754" fmla="*/ 247487 w 326852"/>
                <a:gd name="connsiteY754" fmla="*/ 316051 h 351037"/>
                <a:gd name="connsiteX755" fmla="*/ 247487 w 326852"/>
                <a:gd name="connsiteY755" fmla="*/ 316755 h 351037"/>
                <a:gd name="connsiteX756" fmla="*/ 247252 w 326852"/>
                <a:gd name="connsiteY756" fmla="*/ 317929 h 351037"/>
                <a:gd name="connsiteX757" fmla="*/ 245609 w 326852"/>
                <a:gd name="connsiteY757" fmla="*/ 321452 h 351037"/>
                <a:gd name="connsiteX758" fmla="*/ 244435 w 326852"/>
                <a:gd name="connsiteY758" fmla="*/ 323330 h 351037"/>
                <a:gd name="connsiteX759" fmla="*/ 240678 w 326852"/>
                <a:gd name="connsiteY759" fmla="*/ 327556 h 351037"/>
                <a:gd name="connsiteX760" fmla="*/ 240208 w 326852"/>
                <a:gd name="connsiteY760" fmla="*/ 328261 h 351037"/>
                <a:gd name="connsiteX761" fmla="*/ 239973 w 326852"/>
                <a:gd name="connsiteY761" fmla="*/ 328965 h 351037"/>
                <a:gd name="connsiteX762" fmla="*/ 239504 w 326852"/>
                <a:gd name="connsiteY762" fmla="*/ 333661 h 351037"/>
                <a:gd name="connsiteX763" fmla="*/ 240443 w 326852"/>
                <a:gd name="connsiteY763" fmla="*/ 333661 h 351037"/>
                <a:gd name="connsiteX764" fmla="*/ 241382 w 326852"/>
                <a:gd name="connsiteY764" fmla="*/ 333896 h 351037"/>
                <a:gd name="connsiteX765" fmla="*/ 242321 w 326852"/>
                <a:gd name="connsiteY765" fmla="*/ 334366 h 351037"/>
                <a:gd name="connsiteX766" fmla="*/ 242791 w 326852"/>
                <a:gd name="connsiteY766" fmla="*/ 335540 h 351037"/>
                <a:gd name="connsiteX767" fmla="*/ 242791 w 326852"/>
                <a:gd name="connsiteY767" fmla="*/ 336244 h 351037"/>
                <a:gd name="connsiteX768" fmla="*/ 242087 w 326852"/>
                <a:gd name="connsiteY768" fmla="*/ 339062 h 351037"/>
                <a:gd name="connsiteX769" fmla="*/ 242087 w 326852"/>
                <a:gd name="connsiteY769" fmla="*/ 341175 h 351037"/>
                <a:gd name="connsiteX770" fmla="*/ 241852 w 326852"/>
                <a:gd name="connsiteY770" fmla="*/ 342114 h 351037"/>
                <a:gd name="connsiteX771" fmla="*/ 241382 w 326852"/>
                <a:gd name="connsiteY771" fmla="*/ 343758 h 351037"/>
                <a:gd name="connsiteX772" fmla="*/ 240678 w 326852"/>
                <a:gd name="connsiteY772" fmla="*/ 344697 h 351037"/>
                <a:gd name="connsiteX773" fmla="*/ 239504 w 326852"/>
                <a:gd name="connsiteY773" fmla="*/ 345167 h 351037"/>
                <a:gd name="connsiteX774" fmla="*/ 238564 w 326852"/>
                <a:gd name="connsiteY774" fmla="*/ 344932 h 351037"/>
                <a:gd name="connsiteX775" fmla="*/ 236686 w 326852"/>
                <a:gd name="connsiteY775" fmla="*/ 344463 h 351037"/>
                <a:gd name="connsiteX776" fmla="*/ 235512 w 326852"/>
                <a:gd name="connsiteY776" fmla="*/ 344228 h 351037"/>
                <a:gd name="connsiteX777" fmla="*/ 235277 w 326852"/>
                <a:gd name="connsiteY777" fmla="*/ 344228 h 351037"/>
                <a:gd name="connsiteX778" fmla="*/ 233399 w 326852"/>
                <a:gd name="connsiteY778" fmla="*/ 348219 h 351037"/>
                <a:gd name="connsiteX779" fmla="*/ 232225 w 326852"/>
                <a:gd name="connsiteY779" fmla="*/ 349159 h 351037"/>
                <a:gd name="connsiteX780" fmla="*/ 230816 w 326852"/>
                <a:gd name="connsiteY780" fmla="*/ 349628 h 351037"/>
                <a:gd name="connsiteX781" fmla="*/ 228233 w 326852"/>
                <a:gd name="connsiteY781" fmla="*/ 348689 h 351037"/>
                <a:gd name="connsiteX782" fmla="*/ 227528 w 326852"/>
                <a:gd name="connsiteY782" fmla="*/ 348454 h 351037"/>
                <a:gd name="connsiteX783" fmla="*/ 226824 w 326852"/>
                <a:gd name="connsiteY783" fmla="*/ 347750 h 351037"/>
                <a:gd name="connsiteX784" fmla="*/ 226354 w 326852"/>
                <a:gd name="connsiteY784" fmla="*/ 346811 h 351037"/>
                <a:gd name="connsiteX785" fmla="*/ 226120 w 326852"/>
                <a:gd name="connsiteY785" fmla="*/ 346106 h 351037"/>
                <a:gd name="connsiteX786" fmla="*/ 225885 w 326852"/>
                <a:gd name="connsiteY786" fmla="*/ 344697 h 351037"/>
                <a:gd name="connsiteX787" fmla="*/ 225885 w 326852"/>
                <a:gd name="connsiteY787" fmla="*/ 344463 h 351037"/>
                <a:gd name="connsiteX788" fmla="*/ 225885 w 326852"/>
                <a:gd name="connsiteY788" fmla="*/ 344228 h 351037"/>
                <a:gd name="connsiteX789" fmla="*/ 225650 w 326852"/>
                <a:gd name="connsiteY789" fmla="*/ 343993 h 351037"/>
                <a:gd name="connsiteX790" fmla="*/ 225180 w 326852"/>
                <a:gd name="connsiteY790" fmla="*/ 343758 h 351037"/>
                <a:gd name="connsiteX791" fmla="*/ 224711 w 326852"/>
                <a:gd name="connsiteY791" fmla="*/ 343758 h 351037"/>
                <a:gd name="connsiteX792" fmla="*/ 220015 w 326852"/>
                <a:gd name="connsiteY792" fmla="*/ 342584 h 351037"/>
                <a:gd name="connsiteX793" fmla="*/ 219545 w 326852"/>
                <a:gd name="connsiteY793" fmla="*/ 342584 h 351037"/>
                <a:gd name="connsiteX794" fmla="*/ 219075 w 326852"/>
                <a:gd name="connsiteY794" fmla="*/ 342584 h 351037"/>
                <a:gd name="connsiteX795" fmla="*/ 218606 w 326852"/>
                <a:gd name="connsiteY795" fmla="*/ 342584 h 351037"/>
                <a:gd name="connsiteX796" fmla="*/ 218136 w 326852"/>
                <a:gd name="connsiteY796" fmla="*/ 342819 h 351037"/>
                <a:gd name="connsiteX797" fmla="*/ 217901 w 326852"/>
                <a:gd name="connsiteY797" fmla="*/ 343054 h 351037"/>
                <a:gd name="connsiteX798" fmla="*/ 217667 w 326852"/>
                <a:gd name="connsiteY798" fmla="*/ 343288 h 351037"/>
                <a:gd name="connsiteX799" fmla="*/ 213205 w 326852"/>
                <a:gd name="connsiteY799" fmla="*/ 351037 h 351037"/>
                <a:gd name="connsiteX800" fmla="*/ 211796 w 326852"/>
                <a:gd name="connsiteY800" fmla="*/ 350567 h 351037"/>
                <a:gd name="connsiteX801" fmla="*/ 296327 w 326852"/>
                <a:gd name="connsiteY801" fmla="*/ 159669 h 351037"/>
                <a:gd name="connsiteX802" fmla="*/ 296562 w 326852"/>
                <a:gd name="connsiteY802" fmla="*/ 158730 h 351037"/>
                <a:gd name="connsiteX803" fmla="*/ 296327 w 326852"/>
                <a:gd name="connsiteY803" fmla="*/ 158965 h 351037"/>
                <a:gd name="connsiteX804" fmla="*/ 296327 w 326852"/>
                <a:gd name="connsiteY804" fmla="*/ 158965 h 351037"/>
                <a:gd name="connsiteX805" fmla="*/ 296327 w 326852"/>
                <a:gd name="connsiteY805" fmla="*/ 159669 h 351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</a:cxnLst>
              <a:rect l="l" t="t" r="r" b="b"/>
              <a:pathLst>
                <a:path w="326852" h="351037">
                  <a:moveTo>
                    <a:pt x="211796" y="350567"/>
                  </a:moveTo>
                  <a:lnTo>
                    <a:pt x="210622" y="349863"/>
                  </a:lnTo>
                  <a:lnTo>
                    <a:pt x="205926" y="348219"/>
                  </a:lnTo>
                  <a:lnTo>
                    <a:pt x="204283" y="347280"/>
                  </a:lnTo>
                  <a:lnTo>
                    <a:pt x="200760" y="344463"/>
                  </a:lnTo>
                  <a:lnTo>
                    <a:pt x="192073" y="342349"/>
                  </a:lnTo>
                  <a:lnTo>
                    <a:pt x="189959" y="340001"/>
                  </a:lnTo>
                  <a:lnTo>
                    <a:pt x="187611" y="342349"/>
                  </a:lnTo>
                  <a:lnTo>
                    <a:pt x="183150" y="343054"/>
                  </a:lnTo>
                  <a:lnTo>
                    <a:pt x="178454" y="343054"/>
                  </a:lnTo>
                  <a:lnTo>
                    <a:pt x="174462" y="344228"/>
                  </a:lnTo>
                  <a:lnTo>
                    <a:pt x="170001" y="346106"/>
                  </a:lnTo>
                  <a:lnTo>
                    <a:pt x="164600" y="346811"/>
                  </a:lnTo>
                  <a:lnTo>
                    <a:pt x="159904" y="345637"/>
                  </a:lnTo>
                  <a:lnTo>
                    <a:pt x="158495" y="341175"/>
                  </a:lnTo>
                  <a:lnTo>
                    <a:pt x="161313" y="339297"/>
                  </a:lnTo>
                  <a:lnTo>
                    <a:pt x="162487" y="341175"/>
                  </a:lnTo>
                  <a:lnTo>
                    <a:pt x="162722" y="343054"/>
                  </a:lnTo>
                  <a:lnTo>
                    <a:pt x="166713" y="342584"/>
                  </a:lnTo>
                  <a:lnTo>
                    <a:pt x="172349" y="340471"/>
                  </a:lnTo>
                  <a:lnTo>
                    <a:pt x="174462" y="339297"/>
                  </a:lnTo>
                  <a:lnTo>
                    <a:pt x="174462" y="338592"/>
                  </a:lnTo>
                  <a:lnTo>
                    <a:pt x="176340" y="332253"/>
                  </a:lnTo>
                  <a:lnTo>
                    <a:pt x="176106" y="330374"/>
                  </a:lnTo>
                  <a:lnTo>
                    <a:pt x="175166" y="326148"/>
                  </a:lnTo>
                  <a:lnTo>
                    <a:pt x="175166" y="324504"/>
                  </a:lnTo>
                  <a:lnTo>
                    <a:pt x="173523" y="323565"/>
                  </a:lnTo>
                  <a:lnTo>
                    <a:pt x="172349" y="321217"/>
                  </a:lnTo>
                  <a:lnTo>
                    <a:pt x="171410" y="317929"/>
                  </a:lnTo>
                  <a:lnTo>
                    <a:pt x="170235" y="316990"/>
                  </a:lnTo>
                  <a:lnTo>
                    <a:pt x="168827" y="316520"/>
                  </a:lnTo>
                  <a:lnTo>
                    <a:pt x="167183" y="316286"/>
                  </a:lnTo>
                  <a:lnTo>
                    <a:pt x="165774" y="315581"/>
                  </a:lnTo>
                  <a:lnTo>
                    <a:pt x="161548" y="308772"/>
                  </a:lnTo>
                  <a:lnTo>
                    <a:pt x="156382" y="306189"/>
                  </a:lnTo>
                  <a:lnTo>
                    <a:pt x="152155" y="301493"/>
                  </a:lnTo>
                  <a:lnTo>
                    <a:pt x="148633" y="299380"/>
                  </a:lnTo>
                  <a:lnTo>
                    <a:pt x="144641" y="297736"/>
                  </a:lnTo>
                  <a:lnTo>
                    <a:pt x="133371" y="295388"/>
                  </a:lnTo>
                  <a:lnTo>
                    <a:pt x="129144" y="295388"/>
                  </a:lnTo>
                  <a:lnTo>
                    <a:pt x="123744" y="297736"/>
                  </a:lnTo>
                  <a:lnTo>
                    <a:pt x="122100" y="295153"/>
                  </a:lnTo>
                  <a:lnTo>
                    <a:pt x="124213" y="293744"/>
                  </a:lnTo>
                  <a:lnTo>
                    <a:pt x="123744" y="293275"/>
                  </a:lnTo>
                  <a:lnTo>
                    <a:pt x="123274" y="293509"/>
                  </a:lnTo>
                  <a:lnTo>
                    <a:pt x="119752" y="294214"/>
                  </a:lnTo>
                  <a:lnTo>
                    <a:pt x="122804" y="289987"/>
                  </a:lnTo>
                  <a:lnTo>
                    <a:pt x="123978" y="289753"/>
                  </a:lnTo>
                  <a:lnTo>
                    <a:pt x="124918" y="289283"/>
                  </a:lnTo>
                  <a:lnTo>
                    <a:pt x="124918" y="288109"/>
                  </a:lnTo>
                  <a:lnTo>
                    <a:pt x="125152" y="287404"/>
                  </a:lnTo>
                  <a:lnTo>
                    <a:pt x="126326" y="285291"/>
                  </a:lnTo>
                  <a:lnTo>
                    <a:pt x="126561" y="284587"/>
                  </a:lnTo>
                  <a:lnTo>
                    <a:pt x="126561" y="283882"/>
                  </a:lnTo>
                  <a:lnTo>
                    <a:pt x="126326" y="281534"/>
                  </a:lnTo>
                  <a:lnTo>
                    <a:pt x="125387" y="279890"/>
                  </a:lnTo>
                  <a:lnTo>
                    <a:pt x="122100" y="276603"/>
                  </a:lnTo>
                  <a:lnTo>
                    <a:pt x="118578" y="268385"/>
                  </a:lnTo>
                  <a:lnTo>
                    <a:pt x="107307" y="255940"/>
                  </a:lnTo>
                  <a:lnTo>
                    <a:pt x="105898" y="253592"/>
                  </a:lnTo>
                  <a:lnTo>
                    <a:pt x="90166" y="244904"/>
                  </a:lnTo>
                  <a:lnTo>
                    <a:pt x="85940" y="243495"/>
                  </a:lnTo>
                  <a:lnTo>
                    <a:pt x="71381" y="241147"/>
                  </a:lnTo>
                  <a:lnTo>
                    <a:pt x="65981" y="239504"/>
                  </a:lnTo>
                  <a:lnTo>
                    <a:pt x="52127" y="230816"/>
                  </a:lnTo>
                  <a:lnTo>
                    <a:pt x="49779" y="229877"/>
                  </a:lnTo>
                  <a:lnTo>
                    <a:pt x="47196" y="229407"/>
                  </a:lnTo>
                  <a:lnTo>
                    <a:pt x="41091" y="228937"/>
                  </a:lnTo>
                  <a:lnTo>
                    <a:pt x="38274" y="228233"/>
                  </a:lnTo>
                  <a:lnTo>
                    <a:pt x="33343" y="226119"/>
                  </a:lnTo>
                  <a:lnTo>
                    <a:pt x="31229" y="225650"/>
                  </a:lnTo>
                  <a:lnTo>
                    <a:pt x="9158" y="225415"/>
                  </a:lnTo>
                  <a:lnTo>
                    <a:pt x="7044" y="225180"/>
                  </a:lnTo>
                  <a:lnTo>
                    <a:pt x="6809" y="222597"/>
                  </a:lnTo>
                  <a:lnTo>
                    <a:pt x="6105" y="220954"/>
                  </a:lnTo>
                  <a:lnTo>
                    <a:pt x="14558" y="220719"/>
                  </a:lnTo>
                  <a:lnTo>
                    <a:pt x="20663" y="222128"/>
                  </a:lnTo>
                  <a:lnTo>
                    <a:pt x="23716" y="222128"/>
                  </a:lnTo>
                  <a:lnTo>
                    <a:pt x="24420" y="221893"/>
                  </a:lnTo>
                  <a:lnTo>
                    <a:pt x="21602" y="220954"/>
                  </a:lnTo>
                  <a:lnTo>
                    <a:pt x="19724" y="218371"/>
                  </a:lnTo>
                  <a:lnTo>
                    <a:pt x="20428" y="213675"/>
                  </a:lnTo>
                  <a:lnTo>
                    <a:pt x="23481" y="210153"/>
                  </a:lnTo>
                  <a:lnTo>
                    <a:pt x="28177" y="208274"/>
                  </a:lnTo>
                  <a:lnTo>
                    <a:pt x="34047" y="207100"/>
                  </a:lnTo>
                  <a:lnTo>
                    <a:pt x="33343" y="205691"/>
                  </a:lnTo>
                  <a:lnTo>
                    <a:pt x="32873" y="204048"/>
                  </a:lnTo>
                  <a:lnTo>
                    <a:pt x="32873" y="202874"/>
                  </a:lnTo>
                  <a:lnTo>
                    <a:pt x="33343" y="200526"/>
                  </a:lnTo>
                  <a:lnTo>
                    <a:pt x="33343" y="198178"/>
                  </a:lnTo>
                  <a:lnTo>
                    <a:pt x="34752" y="195360"/>
                  </a:lnTo>
                  <a:lnTo>
                    <a:pt x="36865" y="192542"/>
                  </a:lnTo>
                  <a:lnTo>
                    <a:pt x="37334" y="192307"/>
                  </a:lnTo>
                  <a:lnTo>
                    <a:pt x="36395" y="192307"/>
                  </a:lnTo>
                  <a:lnTo>
                    <a:pt x="34517" y="194186"/>
                  </a:lnTo>
                  <a:lnTo>
                    <a:pt x="33108" y="197473"/>
                  </a:lnTo>
                  <a:lnTo>
                    <a:pt x="31464" y="200056"/>
                  </a:lnTo>
                  <a:lnTo>
                    <a:pt x="29821" y="201465"/>
                  </a:lnTo>
                  <a:lnTo>
                    <a:pt x="29116" y="202639"/>
                  </a:lnTo>
                  <a:lnTo>
                    <a:pt x="27707" y="204048"/>
                  </a:lnTo>
                  <a:lnTo>
                    <a:pt x="24655" y="205222"/>
                  </a:lnTo>
                  <a:lnTo>
                    <a:pt x="22072" y="205457"/>
                  </a:lnTo>
                  <a:lnTo>
                    <a:pt x="16202" y="204048"/>
                  </a:lnTo>
                  <a:lnTo>
                    <a:pt x="3287" y="203578"/>
                  </a:lnTo>
                  <a:lnTo>
                    <a:pt x="1878" y="203343"/>
                  </a:lnTo>
                  <a:lnTo>
                    <a:pt x="0" y="198178"/>
                  </a:lnTo>
                  <a:lnTo>
                    <a:pt x="470" y="195830"/>
                  </a:lnTo>
                  <a:lnTo>
                    <a:pt x="3522" y="193951"/>
                  </a:lnTo>
                  <a:lnTo>
                    <a:pt x="3992" y="193716"/>
                  </a:lnTo>
                  <a:lnTo>
                    <a:pt x="6575" y="191368"/>
                  </a:lnTo>
                  <a:lnTo>
                    <a:pt x="7749" y="190429"/>
                  </a:lnTo>
                  <a:lnTo>
                    <a:pt x="8453" y="189959"/>
                  </a:lnTo>
                  <a:lnTo>
                    <a:pt x="9392" y="189724"/>
                  </a:lnTo>
                  <a:lnTo>
                    <a:pt x="11506" y="189255"/>
                  </a:lnTo>
                  <a:lnTo>
                    <a:pt x="11975" y="189020"/>
                  </a:lnTo>
                  <a:lnTo>
                    <a:pt x="12680" y="188550"/>
                  </a:lnTo>
                  <a:lnTo>
                    <a:pt x="21602" y="179628"/>
                  </a:lnTo>
                  <a:lnTo>
                    <a:pt x="22307" y="178454"/>
                  </a:lnTo>
                  <a:lnTo>
                    <a:pt x="22307" y="177984"/>
                  </a:lnTo>
                  <a:lnTo>
                    <a:pt x="20898" y="175401"/>
                  </a:lnTo>
                  <a:lnTo>
                    <a:pt x="20663" y="174462"/>
                  </a:lnTo>
                  <a:lnTo>
                    <a:pt x="20428" y="173523"/>
                  </a:lnTo>
                  <a:lnTo>
                    <a:pt x="20428" y="171409"/>
                  </a:lnTo>
                  <a:lnTo>
                    <a:pt x="20193" y="170470"/>
                  </a:lnTo>
                  <a:lnTo>
                    <a:pt x="20193" y="168122"/>
                  </a:lnTo>
                  <a:lnTo>
                    <a:pt x="20898" y="164600"/>
                  </a:lnTo>
                  <a:lnTo>
                    <a:pt x="20898" y="164365"/>
                  </a:lnTo>
                  <a:lnTo>
                    <a:pt x="17611" y="159904"/>
                  </a:lnTo>
                  <a:lnTo>
                    <a:pt x="16671" y="158025"/>
                  </a:lnTo>
                  <a:lnTo>
                    <a:pt x="16671" y="156617"/>
                  </a:lnTo>
                  <a:lnTo>
                    <a:pt x="17141" y="156147"/>
                  </a:lnTo>
                  <a:lnTo>
                    <a:pt x="17376" y="155912"/>
                  </a:lnTo>
                  <a:lnTo>
                    <a:pt x="19019" y="154973"/>
                  </a:lnTo>
                  <a:lnTo>
                    <a:pt x="19724" y="154503"/>
                  </a:lnTo>
                  <a:lnTo>
                    <a:pt x="20663" y="154268"/>
                  </a:lnTo>
                  <a:lnTo>
                    <a:pt x="21368" y="154503"/>
                  </a:lnTo>
                  <a:lnTo>
                    <a:pt x="21837" y="154738"/>
                  </a:lnTo>
                  <a:lnTo>
                    <a:pt x="22072" y="154738"/>
                  </a:lnTo>
                  <a:lnTo>
                    <a:pt x="22307" y="154738"/>
                  </a:lnTo>
                  <a:lnTo>
                    <a:pt x="22776" y="154503"/>
                  </a:lnTo>
                  <a:lnTo>
                    <a:pt x="22776" y="154503"/>
                  </a:lnTo>
                  <a:lnTo>
                    <a:pt x="22776" y="154268"/>
                  </a:lnTo>
                  <a:lnTo>
                    <a:pt x="20428" y="149338"/>
                  </a:lnTo>
                  <a:lnTo>
                    <a:pt x="18080" y="145815"/>
                  </a:lnTo>
                  <a:lnTo>
                    <a:pt x="17611" y="144407"/>
                  </a:lnTo>
                  <a:lnTo>
                    <a:pt x="17611" y="143233"/>
                  </a:lnTo>
                  <a:lnTo>
                    <a:pt x="18080" y="142293"/>
                  </a:lnTo>
                  <a:lnTo>
                    <a:pt x="18550" y="141824"/>
                  </a:lnTo>
                  <a:lnTo>
                    <a:pt x="19019" y="141354"/>
                  </a:lnTo>
                  <a:lnTo>
                    <a:pt x="19254" y="140885"/>
                  </a:lnTo>
                  <a:lnTo>
                    <a:pt x="21602" y="136188"/>
                  </a:lnTo>
                  <a:lnTo>
                    <a:pt x="22307" y="135249"/>
                  </a:lnTo>
                  <a:lnTo>
                    <a:pt x="22776" y="134780"/>
                  </a:lnTo>
                  <a:lnTo>
                    <a:pt x="23481" y="134075"/>
                  </a:lnTo>
                  <a:lnTo>
                    <a:pt x="24185" y="133606"/>
                  </a:lnTo>
                  <a:lnTo>
                    <a:pt x="24890" y="133371"/>
                  </a:lnTo>
                  <a:lnTo>
                    <a:pt x="25829" y="133136"/>
                  </a:lnTo>
                  <a:lnTo>
                    <a:pt x="27238" y="133136"/>
                  </a:lnTo>
                  <a:lnTo>
                    <a:pt x="29116" y="133606"/>
                  </a:lnTo>
                  <a:lnTo>
                    <a:pt x="29351" y="133606"/>
                  </a:lnTo>
                  <a:lnTo>
                    <a:pt x="29821" y="133606"/>
                  </a:lnTo>
                  <a:lnTo>
                    <a:pt x="30290" y="133371"/>
                  </a:lnTo>
                  <a:lnTo>
                    <a:pt x="30760" y="133136"/>
                  </a:lnTo>
                  <a:lnTo>
                    <a:pt x="31464" y="132432"/>
                  </a:lnTo>
                  <a:lnTo>
                    <a:pt x="32403" y="131257"/>
                  </a:lnTo>
                  <a:lnTo>
                    <a:pt x="33108" y="130083"/>
                  </a:lnTo>
                  <a:lnTo>
                    <a:pt x="33343" y="129614"/>
                  </a:lnTo>
                  <a:lnTo>
                    <a:pt x="33343" y="129144"/>
                  </a:lnTo>
                  <a:lnTo>
                    <a:pt x="32403" y="126796"/>
                  </a:lnTo>
                  <a:lnTo>
                    <a:pt x="32169" y="125622"/>
                  </a:lnTo>
                  <a:lnTo>
                    <a:pt x="31934" y="124448"/>
                  </a:lnTo>
                  <a:lnTo>
                    <a:pt x="32169" y="121865"/>
                  </a:lnTo>
                  <a:lnTo>
                    <a:pt x="32169" y="121865"/>
                  </a:lnTo>
                  <a:lnTo>
                    <a:pt x="32169" y="121865"/>
                  </a:lnTo>
                  <a:lnTo>
                    <a:pt x="31464" y="121161"/>
                  </a:lnTo>
                  <a:lnTo>
                    <a:pt x="30760" y="120221"/>
                  </a:lnTo>
                  <a:lnTo>
                    <a:pt x="30525" y="118343"/>
                  </a:lnTo>
                  <a:lnTo>
                    <a:pt x="30995" y="117169"/>
                  </a:lnTo>
                  <a:lnTo>
                    <a:pt x="31699" y="116230"/>
                  </a:lnTo>
                  <a:lnTo>
                    <a:pt x="33343" y="115056"/>
                  </a:lnTo>
                  <a:lnTo>
                    <a:pt x="34047" y="114586"/>
                  </a:lnTo>
                  <a:lnTo>
                    <a:pt x="34986" y="114116"/>
                  </a:lnTo>
                  <a:lnTo>
                    <a:pt x="35926" y="114116"/>
                  </a:lnTo>
                  <a:lnTo>
                    <a:pt x="36630" y="114351"/>
                  </a:lnTo>
                  <a:lnTo>
                    <a:pt x="37334" y="114586"/>
                  </a:lnTo>
                  <a:lnTo>
                    <a:pt x="37804" y="115056"/>
                  </a:lnTo>
                  <a:lnTo>
                    <a:pt x="38274" y="115760"/>
                  </a:lnTo>
                  <a:lnTo>
                    <a:pt x="40152" y="118813"/>
                  </a:lnTo>
                  <a:lnTo>
                    <a:pt x="40387" y="119047"/>
                  </a:lnTo>
                  <a:lnTo>
                    <a:pt x="40622" y="119282"/>
                  </a:lnTo>
                  <a:lnTo>
                    <a:pt x="40857" y="119282"/>
                  </a:lnTo>
                  <a:lnTo>
                    <a:pt x="41326" y="119282"/>
                  </a:lnTo>
                  <a:lnTo>
                    <a:pt x="41796" y="119282"/>
                  </a:lnTo>
                  <a:lnTo>
                    <a:pt x="43439" y="119517"/>
                  </a:lnTo>
                  <a:lnTo>
                    <a:pt x="44848" y="119987"/>
                  </a:lnTo>
                  <a:lnTo>
                    <a:pt x="45787" y="120691"/>
                  </a:lnTo>
                  <a:lnTo>
                    <a:pt x="46022" y="120691"/>
                  </a:lnTo>
                  <a:lnTo>
                    <a:pt x="46257" y="120691"/>
                  </a:lnTo>
                  <a:lnTo>
                    <a:pt x="46727" y="120691"/>
                  </a:lnTo>
                  <a:lnTo>
                    <a:pt x="48605" y="120221"/>
                  </a:lnTo>
                  <a:lnTo>
                    <a:pt x="49310" y="120221"/>
                  </a:lnTo>
                  <a:lnTo>
                    <a:pt x="50014" y="120221"/>
                  </a:lnTo>
                  <a:lnTo>
                    <a:pt x="51423" y="120456"/>
                  </a:lnTo>
                  <a:lnTo>
                    <a:pt x="51892" y="120456"/>
                  </a:lnTo>
                  <a:lnTo>
                    <a:pt x="52127" y="120456"/>
                  </a:lnTo>
                  <a:lnTo>
                    <a:pt x="55415" y="118578"/>
                  </a:lnTo>
                  <a:lnTo>
                    <a:pt x="56119" y="118343"/>
                  </a:lnTo>
                  <a:lnTo>
                    <a:pt x="57058" y="118108"/>
                  </a:lnTo>
                  <a:lnTo>
                    <a:pt x="57997" y="118343"/>
                  </a:lnTo>
                  <a:lnTo>
                    <a:pt x="58702" y="118813"/>
                  </a:lnTo>
                  <a:lnTo>
                    <a:pt x="59641" y="119752"/>
                  </a:lnTo>
                  <a:lnTo>
                    <a:pt x="62224" y="121630"/>
                  </a:lnTo>
                  <a:lnTo>
                    <a:pt x="62459" y="121630"/>
                  </a:lnTo>
                  <a:lnTo>
                    <a:pt x="63398" y="120926"/>
                  </a:lnTo>
                  <a:lnTo>
                    <a:pt x="65277" y="119282"/>
                  </a:lnTo>
                  <a:lnTo>
                    <a:pt x="65981" y="118343"/>
                  </a:lnTo>
                  <a:lnTo>
                    <a:pt x="66216" y="117873"/>
                  </a:lnTo>
                  <a:lnTo>
                    <a:pt x="66216" y="117404"/>
                  </a:lnTo>
                  <a:lnTo>
                    <a:pt x="66216" y="117169"/>
                  </a:lnTo>
                  <a:lnTo>
                    <a:pt x="66216" y="116699"/>
                  </a:lnTo>
                  <a:lnTo>
                    <a:pt x="65746" y="115525"/>
                  </a:lnTo>
                  <a:lnTo>
                    <a:pt x="65511" y="114351"/>
                  </a:lnTo>
                  <a:lnTo>
                    <a:pt x="65746" y="112942"/>
                  </a:lnTo>
                  <a:lnTo>
                    <a:pt x="65981" y="112003"/>
                  </a:lnTo>
                  <a:lnTo>
                    <a:pt x="66451" y="111064"/>
                  </a:lnTo>
                  <a:lnTo>
                    <a:pt x="70677" y="107072"/>
                  </a:lnTo>
                  <a:lnTo>
                    <a:pt x="71147" y="106368"/>
                  </a:lnTo>
                  <a:lnTo>
                    <a:pt x="71381" y="106133"/>
                  </a:lnTo>
                  <a:lnTo>
                    <a:pt x="71381" y="105898"/>
                  </a:lnTo>
                  <a:lnTo>
                    <a:pt x="69973" y="99793"/>
                  </a:lnTo>
                  <a:lnTo>
                    <a:pt x="69973" y="98384"/>
                  </a:lnTo>
                  <a:lnTo>
                    <a:pt x="70207" y="96271"/>
                  </a:lnTo>
                  <a:lnTo>
                    <a:pt x="70207" y="95801"/>
                  </a:lnTo>
                  <a:lnTo>
                    <a:pt x="70207" y="95332"/>
                  </a:lnTo>
                  <a:lnTo>
                    <a:pt x="69268" y="92279"/>
                  </a:lnTo>
                  <a:lnTo>
                    <a:pt x="69268" y="90870"/>
                  </a:lnTo>
                  <a:lnTo>
                    <a:pt x="69738" y="89931"/>
                  </a:lnTo>
                  <a:lnTo>
                    <a:pt x="70207" y="89227"/>
                  </a:lnTo>
                  <a:lnTo>
                    <a:pt x="72321" y="87583"/>
                  </a:lnTo>
                  <a:lnTo>
                    <a:pt x="73495" y="86409"/>
                  </a:lnTo>
                  <a:lnTo>
                    <a:pt x="73964" y="85705"/>
                  </a:lnTo>
                  <a:lnTo>
                    <a:pt x="74199" y="85470"/>
                  </a:lnTo>
                  <a:lnTo>
                    <a:pt x="74199" y="85235"/>
                  </a:lnTo>
                  <a:lnTo>
                    <a:pt x="73730" y="83591"/>
                  </a:lnTo>
                  <a:lnTo>
                    <a:pt x="73495" y="82183"/>
                  </a:lnTo>
                  <a:lnTo>
                    <a:pt x="73730" y="81009"/>
                  </a:lnTo>
                  <a:lnTo>
                    <a:pt x="74199" y="80069"/>
                  </a:lnTo>
                  <a:lnTo>
                    <a:pt x="75138" y="79130"/>
                  </a:lnTo>
                  <a:lnTo>
                    <a:pt x="80069" y="75843"/>
                  </a:lnTo>
                  <a:lnTo>
                    <a:pt x="85940" y="70208"/>
                  </a:lnTo>
                  <a:lnTo>
                    <a:pt x="86174" y="69738"/>
                  </a:lnTo>
                  <a:lnTo>
                    <a:pt x="86174" y="69503"/>
                  </a:lnTo>
                  <a:lnTo>
                    <a:pt x="85940" y="67859"/>
                  </a:lnTo>
                  <a:lnTo>
                    <a:pt x="85940" y="66216"/>
                  </a:lnTo>
                  <a:lnTo>
                    <a:pt x="86409" y="65042"/>
                  </a:lnTo>
                  <a:lnTo>
                    <a:pt x="86879" y="64337"/>
                  </a:lnTo>
                  <a:lnTo>
                    <a:pt x="88053" y="63398"/>
                  </a:lnTo>
                  <a:lnTo>
                    <a:pt x="89697" y="61754"/>
                  </a:lnTo>
                  <a:lnTo>
                    <a:pt x="90871" y="60815"/>
                  </a:lnTo>
                  <a:lnTo>
                    <a:pt x="92045" y="60111"/>
                  </a:lnTo>
                  <a:lnTo>
                    <a:pt x="92749" y="59641"/>
                  </a:lnTo>
                  <a:lnTo>
                    <a:pt x="96036" y="57997"/>
                  </a:lnTo>
                  <a:lnTo>
                    <a:pt x="96506" y="57763"/>
                  </a:lnTo>
                  <a:lnTo>
                    <a:pt x="96976" y="57528"/>
                  </a:lnTo>
                  <a:lnTo>
                    <a:pt x="100498" y="54240"/>
                  </a:lnTo>
                  <a:lnTo>
                    <a:pt x="100967" y="53771"/>
                  </a:lnTo>
                  <a:lnTo>
                    <a:pt x="101672" y="53301"/>
                  </a:lnTo>
                  <a:lnTo>
                    <a:pt x="102611" y="53066"/>
                  </a:lnTo>
                  <a:lnTo>
                    <a:pt x="103550" y="53066"/>
                  </a:lnTo>
                  <a:lnTo>
                    <a:pt x="104255" y="53301"/>
                  </a:lnTo>
                  <a:lnTo>
                    <a:pt x="104489" y="53301"/>
                  </a:lnTo>
                  <a:lnTo>
                    <a:pt x="104959" y="53301"/>
                  </a:lnTo>
                  <a:lnTo>
                    <a:pt x="105898" y="52832"/>
                  </a:lnTo>
                  <a:lnTo>
                    <a:pt x="106133" y="52597"/>
                  </a:lnTo>
                  <a:lnTo>
                    <a:pt x="106133" y="52362"/>
                  </a:lnTo>
                  <a:lnTo>
                    <a:pt x="106368" y="50484"/>
                  </a:lnTo>
                  <a:lnTo>
                    <a:pt x="106603" y="49075"/>
                  </a:lnTo>
                  <a:lnTo>
                    <a:pt x="107072" y="48136"/>
                  </a:lnTo>
                  <a:lnTo>
                    <a:pt x="107777" y="47431"/>
                  </a:lnTo>
                  <a:lnTo>
                    <a:pt x="108481" y="46962"/>
                  </a:lnTo>
                  <a:lnTo>
                    <a:pt x="109890" y="46257"/>
                  </a:lnTo>
                  <a:lnTo>
                    <a:pt x="110829" y="46022"/>
                  </a:lnTo>
                  <a:lnTo>
                    <a:pt x="111768" y="45787"/>
                  </a:lnTo>
                  <a:lnTo>
                    <a:pt x="112708" y="45787"/>
                  </a:lnTo>
                  <a:lnTo>
                    <a:pt x="113647" y="46022"/>
                  </a:lnTo>
                  <a:lnTo>
                    <a:pt x="115291" y="47196"/>
                  </a:lnTo>
                  <a:lnTo>
                    <a:pt x="115525" y="47196"/>
                  </a:lnTo>
                  <a:lnTo>
                    <a:pt x="115525" y="47196"/>
                  </a:lnTo>
                  <a:lnTo>
                    <a:pt x="115525" y="47196"/>
                  </a:lnTo>
                  <a:lnTo>
                    <a:pt x="115525" y="46962"/>
                  </a:lnTo>
                  <a:lnTo>
                    <a:pt x="115525" y="46727"/>
                  </a:lnTo>
                  <a:lnTo>
                    <a:pt x="110829" y="40387"/>
                  </a:lnTo>
                  <a:lnTo>
                    <a:pt x="110125" y="39917"/>
                  </a:lnTo>
                  <a:lnTo>
                    <a:pt x="109890" y="39917"/>
                  </a:lnTo>
                  <a:lnTo>
                    <a:pt x="109420" y="39917"/>
                  </a:lnTo>
                  <a:lnTo>
                    <a:pt x="108951" y="40152"/>
                  </a:lnTo>
                  <a:lnTo>
                    <a:pt x="108246" y="40387"/>
                  </a:lnTo>
                  <a:lnTo>
                    <a:pt x="107307" y="40622"/>
                  </a:lnTo>
                  <a:lnTo>
                    <a:pt x="105898" y="40387"/>
                  </a:lnTo>
                  <a:lnTo>
                    <a:pt x="105429" y="40387"/>
                  </a:lnTo>
                  <a:lnTo>
                    <a:pt x="104020" y="40622"/>
                  </a:lnTo>
                  <a:lnTo>
                    <a:pt x="103080" y="40387"/>
                  </a:lnTo>
                  <a:lnTo>
                    <a:pt x="102376" y="39917"/>
                  </a:lnTo>
                  <a:lnTo>
                    <a:pt x="101672" y="39213"/>
                  </a:lnTo>
                  <a:lnTo>
                    <a:pt x="101437" y="38508"/>
                  </a:lnTo>
                  <a:lnTo>
                    <a:pt x="101202" y="37569"/>
                  </a:lnTo>
                  <a:lnTo>
                    <a:pt x="101202" y="35456"/>
                  </a:lnTo>
                  <a:lnTo>
                    <a:pt x="101202" y="34986"/>
                  </a:lnTo>
                  <a:lnTo>
                    <a:pt x="100498" y="34047"/>
                  </a:lnTo>
                  <a:lnTo>
                    <a:pt x="100263" y="33812"/>
                  </a:lnTo>
                  <a:lnTo>
                    <a:pt x="98854" y="33108"/>
                  </a:lnTo>
                  <a:lnTo>
                    <a:pt x="97680" y="32169"/>
                  </a:lnTo>
                  <a:lnTo>
                    <a:pt x="97210" y="31464"/>
                  </a:lnTo>
                  <a:lnTo>
                    <a:pt x="96741" y="30525"/>
                  </a:lnTo>
                  <a:lnTo>
                    <a:pt x="96741" y="29116"/>
                  </a:lnTo>
                  <a:lnTo>
                    <a:pt x="97210" y="28177"/>
                  </a:lnTo>
                  <a:lnTo>
                    <a:pt x="97915" y="27472"/>
                  </a:lnTo>
                  <a:lnTo>
                    <a:pt x="100263" y="26064"/>
                  </a:lnTo>
                  <a:lnTo>
                    <a:pt x="100498" y="25829"/>
                  </a:lnTo>
                  <a:lnTo>
                    <a:pt x="100967" y="25359"/>
                  </a:lnTo>
                  <a:lnTo>
                    <a:pt x="102846" y="23011"/>
                  </a:lnTo>
                  <a:lnTo>
                    <a:pt x="116699" y="7748"/>
                  </a:lnTo>
                  <a:lnTo>
                    <a:pt x="122804" y="0"/>
                  </a:lnTo>
                  <a:lnTo>
                    <a:pt x="134780" y="10566"/>
                  </a:lnTo>
                  <a:lnTo>
                    <a:pt x="145111" y="22072"/>
                  </a:lnTo>
                  <a:lnTo>
                    <a:pt x="160139" y="32403"/>
                  </a:lnTo>
                  <a:lnTo>
                    <a:pt x="161313" y="33577"/>
                  </a:lnTo>
                  <a:lnTo>
                    <a:pt x="163661" y="39447"/>
                  </a:lnTo>
                  <a:lnTo>
                    <a:pt x="165304" y="50484"/>
                  </a:lnTo>
                  <a:lnTo>
                    <a:pt x="169531" y="62224"/>
                  </a:lnTo>
                  <a:lnTo>
                    <a:pt x="173053" y="69033"/>
                  </a:lnTo>
                  <a:lnTo>
                    <a:pt x="173523" y="69503"/>
                  </a:lnTo>
                  <a:lnTo>
                    <a:pt x="173758" y="69503"/>
                  </a:lnTo>
                  <a:lnTo>
                    <a:pt x="174462" y="69503"/>
                  </a:lnTo>
                  <a:lnTo>
                    <a:pt x="175871" y="69503"/>
                  </a:lnTo>
                  <a:lnTo>
                    <a:pt x="176340" y="69503"/>
                  </a:lnTo>
                  <a:lnTo>
                    <a:pt x="179863" y="68329"/>
                  </a:lnTo>
                  <a:lnTo>
                    <a:pt x="180332" y="68094"/>
                  </a:lnTo>
                  <a:lnTo>
                    <a:pt x="180567" y="67859"/>
                  </a:lnTo>
                  <a:lnTo>
                    <a:pt x="180802" y="67624"/>
                  </a:lnTo>
                  <a:lnTo>
                    <a:pt x="181037" y="67155"/>
                  </a:lnTo>
                  <a:lnTo>
                    <a:pt x="181271" y="66216"/>
                  </a:lnTo>
                  <a:lnTo>
                    <a:pt x="181506" y="63398"/>
                  </a:lnTo>
                  <a:lnTo>
                    <a:pt x="181741" y="62459"/>
                  </a:lnTo>
                  <a:lnTo>
                    <a:pt x="182445" y="61754"/>
                  </a:lnTo>
                  <a:lnTo>
                    <a:pt x="183385" y="61285"/>
                  </a:lnTo>
                  <a:lnTo>
                    <a:pt x="184089" y="61050"/>
                  </a:lnTo>
                  <a:lnTo>
                    <a:pt x="189020" y="60345"/>
                  </a:lnTo>
                  <a:lnTo>
                    <a:pt x="191838" y="59406"/>
                  </a:lnTo>
                  <a:lnTo>
                    <a:pt x="196534" y="57528"/>
                  </a:lnTo>
                  <a:lnTo>
                    <a:pt x="199352" y="56823"/>
                  </a:lnTo>
                  <a:lnTo>
                    <a:pt x="206865" y="53771"/>
                  </a:lnTo>
                  <a:lnTo>
                    <a:pt x="207335" y="53536"/>
                  </a:lnTo>
                  <a:lnTo>
                    <a:pt x="207335" y="53536"/>
                  </a:lnTo>
                  <a:lnTo>
                    <a:pt x="207335" y="53301"/>
                  </a:lnTo>
                  <a:lnTo>
                    <a:pt x="206161" y="50718"/>
                  </a:lnTo>
                  <a:lnTo>
                    <a:pt x="205457" y="48370"/>
                  </a:lnTo>
                  <a:lnTo>
                    <a:pt x="205457" y="47196"/>
                  </a:lnTo>
                  <a:lnTo>
                    <a:pt x="205926" y="46022"/>
                  </a:lnTo>
                  <a:lnTo>
                    <a:pt x="206865" y="45553"/>
                  </a:lnTo>
                  <a:lnTo>
                    <a:pt x="209214" y="44613"/>
                  </a:lnTo>
                  <a:lnTo>
                    <a:pt x="209448" y="44379"/>
                  </a:lnTo>
                  <a:lnTo>
                    <a:pt x="209918" y="44144"/>
                  </a:lnTo>
                  <a:lnTo>
                    <a:pt x="210153" y="43674"/>
                  </a:lnTo>
                  <a:lnTo>
                    <a:pt x="210622" y="43205"/>
                  </a:lnTo>
                  <a:lnTo>
                    <a:pt x="211327" y="42735"/>
                  </a:lnTo>
                  <a:lnTo>
                    <a:pt x="212266" y="42265"/>
                  </a:lnTo>
                  <a:lnTo>
                    <a:pt x="213440" y="42031"/>
                  </a:lnTo>
                  <a:lnTo>
                    <a:pt x="215788" y="41796"/>
                  </a:lnTo>
                  <a:lnTo>
                    <a:pt x="216493" y="41796"/>
                  </a:lnTo>
                  <a:lnTo>
                    <a:pt x="216962" y="41561"/>
                  </a:lnTo>
                  <a:lnTo>
                    <a:pt x="216962" y="41561"/>
                  </a:lnTo>
                  <a:lnTo>
                    <a:pt x="216962" y="41561"/>
                  </a:lnTo>
                  <a:lnTo>
                    <a:pt x="217197" y="40857"/>
                  </a:lnTo>
                  <a:lnTo>
                    <a:pt x="217197" y="30055"/>
                  </a:lnTo>
                  <a:lnTo>
                    <a:pt x="217667" y="28646"/>
                  </a:lnTo>
                  <a:lnTo>
                    <a:pt x="218136" y="27942"/>
                  </a:lnTo>
                  <a:lnTo>
                    <a:pt x="218841" y="27238"/>
                  </a:lnTo>
                  <a:lnTo>
                    <a:pt x="219545" y="26768"/>
                  </a:lnTo>
                  <a:lnTo>
                    <a:pt x="220015" y="26298"/>
                  </a:lnTo>
                  <a:lnTo>
                    <a:pt x="220954" y="25829"/>
                  </a:lnTo>
                  <a:lnTo>
                    <a:pt x="221893" y="25594"/>
                  </a:lnTo>
                  <a:lnTo>
                    <a:pt x="223537" y="25359"/>
                  </a:lnTo>
                  <a:lnTo>
                    <a:pt x="224946" y="25594"/>
                  </a:lnTo>
                  <a:lnTo>
                    <a:pt x="228937" y="27003"/>
                  </a:lnTo>
                  <a:lnTo>
                    <a:pt x="230111" y="27707"/>
                  </a:lnTo>
                  <a:lnTo>
                    <a:pt x="233868" y="31699"/>
                  </a:lnTo>
                  <a:lnTo>
                    <a:pt x="234573" y="32169"/>
                  </a:lnTo>
                  <a:lnTo>
                    <a:pt x="235042" y="32169"/>
                  </a:lnTo>
                  <a:lnTo>
                    <a:pt x="235512" y="32169"/>
                  </a:lnTo>
                  <a:lnTo>
                    <a:pt x="235982" y="31934"/>
                  </a:lnTo>
                  <a:lnTo>
                    <a:pt x="236451" y="31699"/>
                  </a:lnTo>
                  <a:lnTo>
                    <a:pt x="236921" y="31464"/>
                  </a:lnTo>
                  <a:lnTo>
                    <a:pt x="237390" y="30994"/>
                  </a:lnTo>
                  <a:lnTo>
                    <a:pt x="237625" y="30760"/>
                  </a:lnTo>
                  <a:lnTo>
                    <a:pt x="237625" y="30525"/>
                  </a:lnTo>
                  <a:lnTo>
                    <a:pt x="237625" y="30290"/>
                  </a:lnTo>
                  <a:lnTo>
                    <a:pt x="236451" y="25829"/>
                  </a:lnTo>
                  <a:lnTo>
                    <a:pt x="236451" y="24185"/>
                  </a:lnTo>
                  <a:lnTo>
                    <a:pt x="236686" y="23481"/>
                  </a:lnTo>
                  <a:lnTo>
                    <a:pt x="236921" y="22776"/>
                  </a:lnTo>
                  <a:lnTo>
                    <a:pt x="237390" y="22072"/>
                  </a:lnTo>
                  <a:lnTo>
                    <a:pt x="237860" y="21602"/>
                  </a:lnTo>
                  <a:lnTo>
                    <a:pt x="238564" y="21133"/>
                  </a:lnTo>
                  <a:lnTo>
                    <a:pt x="239034" y="20663"/>
                  </a:lnTo>
                  <a:lnTo>
                    <a:pt x="239973" y="20193"/>
                  </a:lnTo>
                  <a:lnTo>
                    <a:pt x="239973" y="20193"/>
                  </a:lnTo>
                  <a:lnTo>
                    <a:pt x="239973" y="19959"/>
                  </a:lnTo>
                  <a:lnTo>
                    <a:pt x="239269" y="18785"/>
                  </a:lnTo>
                  <a:lnTo>
                    <a:pt x="239034" y="17845"/>
                  </a:lnTo>
                  <a:lnTo>
                    <a:pt x="239269" y="16671"/>
                  </a:lnTo>
                  <a:lnTo>
                    <a:pt x="239973" y="15732"/>
                  </a:lnTo>
                  <a:lnTo>
                    <a:pt x="240913" y="15262"/>
                  </a:lnTo>
                  <a:lnTo>
                    <a:pt x="242321" y="14793"/>
                  </a:lnTo>
                  <a:lnTo>
                    <a:pt x="243495" y="15262"/>
                  </a:lnTo>
                  <a:lnTo>
                    <a:pt x="245139" y="16202"/>
                  </a:lnTo>
                  <a:lnTo>
                    <a:pt x="245609" y="16202"/>
                  </a:lnTo>
                  <a:lnTo>
                    <a:pt x="245844" y="16202"/>
                  </a:lnTo>
                  <a:lnTo>
                    <a:pt x="249366" y="14323"/>
                  </a:lnTo>
                  <a:lnTo>
                    <a:pt x="250305" y="13854"/>
                  </a:lnTo>
                  <a:lnTo>
                    <a:pt x="251009" y="13619"/>
                  </a:lnTo>
                  <a:lnTo>
                    <a:pt x="251479" y="13619"/>
                  </a:lnTo>
                  <a:lnTo>
                    <a:pt x="251479" y="13619"/>
                  </a:lnTo>
                  <a:lnTo>
                    <a:pt x="252418" y="12445"/>
                  </a:lnTo>
                  <a:lnTo>
                    <a:pt x="253592" y="11036"/>
                  </a:lnTo>
                  <a:lnTo>
                    <a:pt x="254297" y="10332"/>
                  </a:lnTo>
                  <a:lnTo>
                    <a:pt x="255471" y="9627"/>
                  </a:lnTo>
                  <a:lnTo>
                    <a:pt x="257584" y="9158"/>
                  </a:lnTo>
                  <a:lnTo>
                    <a:pt x="258758" y="9627"/>
                  </a:lnTo>
                  <a:lnTo>
                    <a:pt x="259697" y="10332"/>
                  </a:lnTo>
                  <a:lnTo>
                    <a:pt x="260167" y="11036"/>
                  </a:lnTo>
                  <a:lnTo>
                    <a:pt x="260402" y="11740"/>
                  </a:lnTo>
                  <a:lnTo>
                    <a:pt x="260636" y="12914"/>
                  </a:lnTo>
                  <a:lnTo>
                    <a:pt x="260167" y="14088"/>
                  </a:lnTo>
                  <a:lnTo>
                    <a:pt x="259462" y="14558"/>
                  </a:lnTo>
                  <a:lnTo>
                    <a:pt x="258523" y="15028"/>
                  </a:lnTo>
                  <a:lnTo>
                    <a:pt x="257584" y="15732"/>
                  </a:lnTo>
                  <a:lnTo>
                    <a:pt x="256645" y="16437"/>
                  </a:lnTo>
                  <a:lnTo>
                    <a:pt x="255705" y="17141"/>
                  </a:lnTo>
                  <a:lnTo>
                    <a:pt x="255471" y="17611"/>
                  </a:lnTo>
                  <a:lnTo>
                    <a:pt x="255471" y="17611"/>
                  </a:lnTo>
                  <a:lnTo>
                    <a:pt x="255471" y="17845"/>
                  </a:lnTo>
                  <a:lnTo>
                    <a:pt x="255471" y="18080"/>
                  </a:lnTo>
                  <a:lnTo>
                    <a:pt x="258758" y="23481"/>
                  </a:lnTo>
                  <a:lnTo>
                    <a:pt x="261576" y="24890"/>
                  </a:lnTo>
                  <a:lnTo>
                    <a:pt x="266272" y="26533"/>
                  </a:lnTo>
                  <a:lnTo>
                    <a:pt x="268385" y="27707"/>
                  </a:lnTo>
                  <a:lnTo>
                    <a:pt x="269794" y="28881"/>
                  </a:lnTo>
                  <a:lnTo>
                    <a:pt x="270263" y="30290"/>
                  </a:lnTo>
                  <a:lnTo>
                    <a:pt x="270733" y="30994"/>
                  </a:lnTo>
                  <a:lnTo>
                    <a:pt x="271907" y="32403"/>
                  </a:lnTo>
                  <a:lnTo>
                    <a:pt x="272846" y="32873"/>
                  </a:lnTo>
                  <a:lnTo>
                    <a:pt x="273786" y="33343"/>
                  </a:lnTo>
                  <a:lnTo>
                    <a:pt x="275664" y="35221"/>
                  </a:lnTo>
                  <a:lnTo>
                    <a:pt x="276838" y="37099"/>
                  </a:lnTo>
                  <a:lnTo>
                    <a:pt x="277543" y="38508"/>
                  </a:lnTo>
                  <a:lnTo>
                    <a:pt x="278012" y="42031"/>
                  </a:lnTo>
                  <a:lnTo>
                    <a:pt x="278247" y="42500"/>
                  </a:lnTo>
                  <a:lnTo>
                    <a:pt x="278951" y="43205"/>
                  </a:lnTo>
                  <a:lnTo>
                    <a:pt x="280360" y="44848"/>
                  </a:lnTo>
                  <a:lnTo>
                    <a:pt x="284822" y="50014"/>
                  </a:lnTo>
                  <a:lnTo>
                    <a:pt x="285291" y="51188"/>
                  </a:lnTo>
                  <a:lnTo>
                    <a:pt x="285996" y="53771"/>
                  </a:lnTo>
                  <a:lnTo>
                    <a:pt x="286700" y="62459"/>
                  </a:lnTo>
                  <a:lnTo>
                    <a:pt x="293509" y="80069"/>
                  </a:lnTo>
                  <a:lnTo>
                    <a:pt x="293744" y="82183"/>
                  </a:lnTo>
                  <a:lnTo>
                    <a:pt x="293979" y="82652"/>
                  </a:lnTo>
                  <a:lnTo>
                    <a:pt x="294683" y="83357"/>
                  </a:lnTo>
                  <a:lnTo>
                    <a:pt x="296092" y="84531"/>
                  </a:lnTo>
                  <a:lnTo>
                    <a:pt x="297032" y="85000"/>
                  </a:lnTo>
                  <a:lnTo>
                    <a:pt x="300554" y="85939"/>
                  </a:lnTo>
                  <a:lnTo>
                    <a:pt x="303137" y="86879"/>
                  </a:lnTo>
                  <a:lnTo>
                    <a:pt x="304311" y="87583"/>
                  </a:lnTo>
                  <a:lnTo>
                    <a:pt x="308302" y="91340"/>
                  </a:lnTo>
                  <a:lnTo>
                    <a:pt x="310650" y="94158"/>
                  </a:lnTo>
                  <a:lnTo>
                    <a:pt x="311355" y="95801"/>
                  </a:lnTo>
                  <a:lnTo>
                    <a:pt x="311590" y="96741"/>
                  </a:lnTo>
                  <a:lnTo>
                    <a:pt x="311590" y="97680"/>
                  </a:lnTo>
                  <a:lnTo>
                    <a:pt x="311355" y="98384"/>
                  </a:lnTo>
                  <a:lnTo>
                    <a:pt x="311120" y="99089"/>
                  </a:lnTo>
                  <a:lnTo>
                    <a:pt x="310416" y="100732"/>
                  </a:lnTo>
                  <a:lnTo>
                    <a:pt x="309711" y="102846"/>
                  </a:lnTo>
                  <a:lnTo>
                    <a:pt x="309711" y="103081"/>
                  </a:lnTo>
                  <a:lnTo>
                    <a:pt x="309711" y="103550"/>
                  </a:lnTo>
                  <a:lnTo>
                    <a:pt x="311824" y="108951"/>
                  </a:lnTo>
                  <a:lnTo>
                    <a:pt x="311824" y="109655"/>
                  </a:lnTo>
                  <a:lnTo>
                    <a:pt x="311824" y="110594"/>
                  </a:lnTo>
                  <a:lnTo>
                    <a:pt x="311590" y="111534"/>
                  </a:lnTo>
                  <a:lnTo>
                    <a:pt x="310181" y="114116"/>
                  </a:lnTo>
                  <a:lnTo>
                    <a:pt x="310181" y="114351"/>
                  </a:lnTo>
                  <a:lnTo>
                    <a:pt x="310885" y="115290"/>
                  </a:lnTo>
                  <a:lnTo>
                    <a:pt x="316286" y="119282"/>
                  </a:lnTo>
                  <a:lnTo>
                    <a:pt x="321686" y="124683"/>
                  </a:lnTo>
                  <a:lnTo>
                    <a:pt x="322391" y="126092"/>
                  </a:lnTo>
                  <a:lnTo>
                    <a:pt x="322860" y="127031"/>
                  </a:lnTo>
                  <a:lnTo>
                    <a:pt x="322860" y="127970"/>
                  </a:lnTo>
                  <a:lnTo>
                    <a:pt x="322626" y="128909"/>
                  </a:lnTo>
                  <a:lnTo>
                    <a:pt x="322156" y="129848"/>
                  </a:lnTo>
                  <a:lnTo>
                    <a:pt x="321452" y="130553"/>
                  </a:lnTo>
                  <a:lnTo>
                    <a:pt x="320747" y="131022"/>
                  </a:lnTo>
                  <a:lnTo>
                    <a:pt x="318399" y="131962"/>
                  </a:lnTo>
                  <a:lnTo>
                    <a:pt x="317695" y="132196"/>
                  </a:lnTo>
                  <a:lnTo>
                    <a:pt x="317225" y="132432"/>
                  </a:lnTo>
                  <a:lnTo>
                    <a:pt x="316990" y="132666"/>
                  </a:lnTo>
                  <a:lnTo>
                    <a:pt x="316051" y="134075"/>
                  </a:lnTo>
                  <a:lnTo>
                    <a:pt x="315347" y="134545"/>
                  </a:lnTo>
                  <a:lnTo>
                    <a:pt x="314407" y="135249"/>
                  </a:lnTo>
                  <a:lnTo>
                    <a:pt x="314407" y="135249"/>
                  </a:lnTo>
                  <a:lnTo>
                    <a:pt x="314877" y="135954"/>
                  </a:lnTo>
                  <a:lnTo>
                    <a:pt x="315347" y="136423"/>
                  </a:lnTo>
                  <a:lnTo>
                    <a:pt x="315581" y="136658"/>
                  </a:lnTo>
                  <a:lnTo>
                    <a:pt x="319808" y="138536"/>
                  </a:lnTo>
                  <a:lnTo>
                    <a:pt x="320747" y="139476"/>
                  </a:lnTo>
                  <a:lnTo>
                    <a:pt x="321217" y="140885"/>
                  </a:lnTo>
                  <a:lnTo>
                    <a:pt x="320512" y="141824"/>
                  </a:lnTo>
                  <a:lnTo>
                    <a:pt x="319808" y="142528"/>
                  </a:lnTo>
                  <a:lnTo>
                    <a:pt x="318869" y="142998"/>
                  </a:lnTo>
                  <a:lnTo>
                    <a:pt x="318164" y="142998"/>
                  </a:lnTo>
                  <a:lnTo>
                    <a:pt x="317225" y="142998"/>
                  </a:lnTo>
                  <a:lnTo>
                    <a:pt x="314877" y="142528"/>
                  </a:lnTo>
                  <a:lnTo>
                    <a:pt x="314407" y="142528"/>
                  </a:lnTo>
                  <a:lnTo>
                    <a:pt x="313938" y="142528"/>
                  </a:lnTo>
                  <a:lnTo>
                    <a:pt x="313703" y="142528"/>
                  </a:lnTo>
                  <a:lnTo>
                    <a:pt x="314173" y="143937"/>
                  </a:lnTo>
                  <a:lnTo>
                    <a:pt x="314407" y="144876"/>
                  </a:lnTo>
                  <a:lnTo>
                    <a:pt x="314407" y="145815"/>
                  </a:lnTo>
                  <a:lnTo>
                    <a:pt x="313938" y="146520"/>
                  </a:lnTo>
                  <a:lnTo>
                    <a:pt x="313468" y="147224"/>
                  </a:lnTo>
                  <a:lnTo>
                    <a:pt x="312529" y="148163"/>
                  </a:lnTo>
                  <a:lnTo>
                    <a:pt x="310650" y="149807"/>
                  </a:lnTo>
                  <a:lnTo>
                    <a:pt x="309946" y="150277"/>
                  </a:lnTo>
                  <a:lnTo>
                    <a:pt x="308537" y="150981"/>
                  </a:lnTo>
                  <a:lnTo>
                    <a:pt x="308537" y="151216"/>
                  </a:lnTo>
                  <a:lnTo>
                    <a:pt x="308772" y="152155"/>
                  </a:lnTo>
                  <a:lnTo>
                    <a:pt x="308772" y="152860"/>
                  </a:lnTo>
                  <a:lnTo>
                    <a:pt x="308537" y="153564"/>
                  </a:lnTo>
                  <a:lnTo>
                    <a:pt x="308302" y="153799"/>
                  </a:lnTo>
                  <a:lnTo>
                    <a:pt x="308302" y="153799"/>
                  </a:lnTo>
                  <a:lnTo>
                    <a:pt x="308302" y="154034"/>
                  </a:lnTo>
                  <a:lnTo>
                    <a:pt x="309946" y="156382"/>
                  </a:lnTo>
                  <a:lnTo>
                    <a:pt x="310181" y="156851"/>
                  </a:lnTo>
                  <a:lnTo>
                    <a:pt x="310416" y="157556"/>
                  </a:lnTo>
                  <a:lnTo>
                    <a:pt x="309946" y="158260"/>
                  </a:lnTo>
                  <a:lnTo>
                    <a:pt x="309711" y="158495"/>
                  </a:lnTo>
                  <a:lnTo>
                    <a:pt x="309242" y="158730"/>
                  </a:lnTo>
                  <a:lnTo>
                    <a:pt x="307833" y="159199"/>
                  </a:lnTo>
                  <a:lnTo>
                    <a:pt x="307363" y="159434"/>
                  </a:lnTo>
                  <a:lnTo>
                    <a:pt x="307128" y="159434"/>
                  </a:lnTo>
                  <a:lnTo>
                    <a:pt x="306893" y="159669"/>
                  </a:lnTo>
                  <a:lnTo>
                    <a:pt x="306659" y="160139"/>
                  </a:lnTo>
                  <a:lnTo>
                    <a:pt x="305954" y="160843"/>
                  </a:lnTo>
                  <a:lnTo>
                    <a:pt x="305250" y="161313"/>
                  </a:lnTo>
                  <a:lnTo>
                    <a:pt x="304545" y="161547"/>
                  </a:lnTo>
                  <a:lnTo>
                    <a:pt x="302432" y="161782"/>
                  </a:lnTo>
                  <a:lnTo>
                    <a:pt x="299614" y="162487"/>
                  </a:lnTo>
                  <a:lnTo>
                    <a:pt x="298440" y="162721"/>
                  </a:lnTo>
                  <a:lnTo>
                    <a:pt x="296797" y="162487"/>
                  </a:lnTo>
                  <a:lnTo>
                    <a:pt x="295857" y="161547"/>
                  </a:lnTo>
                  <a:lnTo>
                    <a:pt x="295388" y="160608"/>
                  </a:lnTo>
                  <a:lnTo>
                    <a:pt x="294918" y="161547"/>
                  </a:lnTo>
                  <a:lnTo>
                    <a:pt x="294214" y="162017"/>
                  </a:lnTo>
                  <a:lnTo>
                    <a:pt x="293979" y="162252"/>
                  </a:lnTo>
                  <a:lnTo>
                    <a:pt x="294214" y="163191"/>
                  </a:lnTo>
                  <a:lnTo>
                    <a:pt x="294214" y="164365"/>
                  </a:lnTo>
                  <a:lnTo>
                    <a:pt x="293979" y="165070"/>
                  </a:lnTo>
                  <a:lnTo>
                    <a:pt x="294214" y="165539"/>
                  </a:lnTo>
                  <a:lnTo>
                    <a:pt x="297266" y="169766"/>
                  </a:lnTo>
                  <a:lnTo>
                    <a:pt x="297736" y="170001"/>
                  </a:lnTo>
                  <a:lnTo>
                    <a:pt x="297971" y="170001"/>
                  </a:lnTo>
                  <a:lnTo>
                    <a:pt x="299380" y="169766"/>
                  </a:lnTo>
                  <a:lnTo>
                    <a:pt x="300554" y="169766"/>
                  </a:lnTo>
                  <a:lnTo>
                    <a:pt x="302197" y="170235"/>
                  </a:lnTo>
                  <a:lnTo>
                    <a:pt x="303137" y="170705"/>
                  </a:lnTo>
                  <a:lnTo>
                    <a:pt x="304076" y="171409"/>
                  </a:lnTo>
                  <a:lnTo>
                    <a:pt x="304545" y="172114"/>
                  </a:lnTo>
                  <a:lnTo>
                    <a:pt x="305015" y="173053"/>
                  </a:lnTo>
                  <a:lnTo>
                    <a:pt x="304780" y="174227"/>
                  </a:lnTo>
                  <a:lnTo>
                    <a:pt x="304311" y="174932"/>
                  </a:lnTo>
                  <a:lnTo>
                    <a:pt x="303841" y="175401"/>
                  </a:lnTo>
                  <a:lnTo>
                    <a:pt x="301728" y="177045"/>
                  </a:lnTo>
                  <a:lnTo>
                    <a:pt x="301258" y="177514"/>
                  </a:lnTo>
                  <a:lnTo>
                    <a:pt x="301023" y="177749"/>
                  </a:lnTo>
                  <a:lnTo>
                    <a:pt x="301023" y="177749"/>
                  </a:lnTo>
                  <a:lnTo>
                    <a:pt x="301258" y="178219"/>
                  </a:lnTo>
                  <a:lnTo>
                    <a:pt x="302432" y="180567"/>
                  </a:lnTo>
                  <a:lnTo>
                    <a:pt x="302667" y="181506"/>
                  </a:lnTo>
                  <a:lnTo>
                    <a:pt x="302667" y="182211"/>
                  </a:lnTo>
                  <a:lnTo>
                    <a:pt x="302432" y="183854"/>
                  </a:lnTo>
                  <a:lnTo>
                    <a:pt x="302667" y="184559"/>
                  </a:lnTo>
                  <a:lnTo>
                    <a:pt x="303137" y="185498"/>
                  </a:lnTo>
                  <a:lnTo>
                    <a:pt x="304545" y="187376"/>
                  </a:lnTo>
                  <a:lnTo>
                    <a:pt x="305250" y="188081"/>
                  </a:lnTo>
                  <a:lnTo>
                    <a:pt x="305485" y="188316"/>
                  </a:lnTo>
                  <a:lnTo>
                    <a:pt x="306659" y="188316"/>
                  </a:lnTo>
                  <a:lnTo>
                    <a:pt x="308068" y="188316"/>
                  </a:lnTo>
                  <a:lnTo>
                    <a:pt x="309946" y="189020"/>
                  </a:lnTo>
                  <a:lnTo>
                    <a:pt x="310885" y="189724"/>
                  </a:lnTo>
                  <a:lnTo>
                    <a:pt x="311824" y="190429"/>
                  </a:lnTo>
                  <a:lnTo>
                    <a:pt x="312294" y="191133"/>
                  </a:lnTo>
                  <a:lnTo>
                    <a:pt x="312529" y="192072"/>
                  </a:lnTo>
                  <a:lnTo>
                    <a:pt x="312529" y="193012"/>
                  </a:lnTo>
                  <a:lnTo>
                    <a:pt x="312294" y="193716"/>
                  </a:lnTo>
                  <a:lnTo>
                    <a:pt x="311824" y="194890"/>
                  </a:lnTo>
                  <a:lnTo>
                    <a:pt x="311824" y="195125"/>
                  </a:lnTo>
                  <a:lnTo>
                    <a:pt x="326852" y="212736"/>
                  </a:lnTo>
                  <a:lnTo>
                    <a:pt x="320043" y="217197"/>
                  </a:lnTo>
                  <a:lnTo>
                    <a:pt x="319103" y="218371"/>
                  </a:lnTo>
                  <a:lnTo>
                    <a:pt x="319338" y="219310"/>
                  </a:lnTo>
                  <a:lnTo>
                    <a:pt x="319808" y="220484"/>
                  </a:lnTo>
                  <a:lnTo>
                    <a:pt x="320277" y="221189"/>
                  </a:lnTo>
                  <a:lnTo>
                    <a:pt x="322391" y="223537"/>
                  </a:lnTo>
                  <a:lnTo>
                    <a:pt x="323095" y="224711"/>
                  </a:lnTo>
                  <a:lnTo>
                    <a:pt x="322860" y="225885"/>
                  </a:lnTo>
                  <a:lnTo>
                    <a:pt x="322391" y="226824"/>
                  </a:lnTo>
                  <a:lnTo>
                    <a:pt x="321452" y="227763"/>
                  </a:lnTo>
                  <a:lnTo>
                    <a:pt x="319338" y="229407"/>
                  </a:lnTo>
                  <a:lnTo>
                    <a:pt x="318634" y="230111"/>
                  </a:lnTo>
                  <a:lnTo>
                    <a:pt x="314407" y="236686"/>
                  </a:lnTo>
                  <a:lnTo>
                    <a:pt x="311590" y="240443"/>
                  </a:lnTo>
                  <a:lnTo>
                    <a:pt x="311120" y="241382"/>
                  </a:lnTo>
                  <a:lnTo>
                    <a:pt x="311120" y="241852"/>
                  </a:lnTo>
                  <a:lnTo>
                    <a:pt x="312059" y="244669"/>
                  </a:lnTo>
                  <a:lnTo>
                    <a:pt x="312294" y="246078"/>
                  </a:lnTo>
                  <a:lnTo>
                    <a:pt x="311590" y="247252"/>
                  </a:lnTo>
                  <a:lnTo>
                    <a:pt x="310416" y="247722"/>
                  </a:lnTo>
                  <a:lnTo>
                    <a:pt x="309476" y="247487"/>
                  </a:lnTo>
                  <a:lnTo>
                    <a:pt x="308302" y="246783"/>
                  </a:lnTo>
                  <a:lnTo>
                    <a:pt x="307363" y="246078"/>
                  </a:lnTo>
                  <a:lnTo>
                    <a:pt x="307128" y="246078"/>
                  </a:lnTo>
                  <a:lnTo>
                    <a:pt x="307128" y="246078"/>
                  </a:lnTo>
                  <a:lnTo>
                    <a:pt x="306424" y="246783"/>
                  </a:lnTo>
                  <a:lnTo>
                    <a:pt x="305954" y="247252"/>
                  </a:lnTo>
                  <a:lnTo>
                    <a:pt x="305719" y="247487"/>
                  </a:lnTo>
                  <a:lnTo>
                    <a:pt x="305719" y="247722"/>
                  </a:lnTo>
                  <a:lnTo>
                    <a:pt x="306659" y="250070"/>
                  </a:lnTo>
                  <a:lnTo>
                    <a:pt x="306189" y="251244"/>
                  </a:lnTo>
                  <a:lnTo>
                    <a:pt x="305250" y="251948"/>
                  </a:lnTo>
                  <a:lnTo>
                    <a:pt x="304311" y="252183"/>
                  </a:lnTo>
                  <a:lnTo>
                    <a:pt x="302667" y="252653"/>
                  </a:lnTo>
                  <a:lnTo>
                    <a:pt x="301963" y="252888"/>
                  </a:lnTo>
                  <a:lnTo>
                    <a:pt x="301493" y="253357"/>
                  </a:lnTo>
                  <a:lnTo>
                    <a:pt x="301493" y="253357"/>
                  </a:lnTo>
                  <a:lnTo>
                    <a:pt x="301963" y="253827"/>
                  </a:lnTo>
                  <a:lnTo>
                    <a:pt x="305485" y="256410"/>
                  </a:lnTo>
                  <a:lnTo>
                    <a:pt x="305485" y="258523"/>
                  </a:lnTo>
                  <a:lnTo>
                    <a:pt x="305015" y="261341"/>
                  </a:lnTo>
                  <a:lnTo>
                    <a:pt x="303137" y="268150"/>
                  </a:lnTo>
                  <a:lnTo>
                    <a:pt x="302667" y="270733"/>
                  </a:lnTo>
                  <a:lnTo>
                    <a:pt x="302667" y="271437"/>
                  </a:lnTo>
                  <a:lnTo>
                    <a:pt x="303371" y="271672"/>
                  </a:lnTo>
                  <a:lnTo>
                    <a:pt x="307598" y="273316"/>
                  </a:lnTo>
                  <a:lnTo>
                    <a:pt x="308302" y="274255"/>
                  </a:lnTo>
                  <a:lnTo>
                    <a:pt x="308772" y="275429"/>
                  </a:lnTo>
                  <a:lnTo>
                    <a:pt x="309007" y="281769"/>
                  </a:lnTo>
                  <a:lnTo>
                    <a:pt x="308772" y="283178"/>
                  </a:lnTo>
                  <a:lnTo>
                    <a:pt x="307128" y="288109"/>
                  </a:lnTo>
                  <a:lnTo>
                    <a:pt x="305485" y="300319"/>
                  </a:lnTo>
                  <a:lnTo>
                    <a:pt x="305250" y="301023"/>
                  </a:lnTo>
                  <a:lnTo>
                    <a:pt x="303606" y="304780"/>
                  </a:lnTo>
                  <a:lnTo>
                    <a:pt x="303606" y="305250"/>
                  </a:lnTo>
                  <a:lnTo>
                    <a:pt x="304780" y="305015"/>
                  </a:lnTo>
                  <a:lnTo>
                    <a:pt x="305954" y="305250"/>
                  </a:lnTo>
                  <a:lnTo>
                    <a:pt x="306659" y="305954"/>
                  </a:lnTo>
                  <a:lnTo>
                    <a:pt x="308772" y="310885"/>
                  </a:lnTo>
                  <a:lnTo>
                    <a:pt x="309946" y="312529"/>
                  </a:lnTo>
                  <a:lnTo>
                    <a:pt x="310416" y="314172"/>
                  </a:lnTo>
                  <a:lnTo>
                    <a:pt x="309711" y="315346"/>
                  </a:lnTo>
                  <a:lnTo>
                    <a:pt x="308772" y="315816"/>
                  </a:lnTo>
                  <a:lnTo>
                    <a:pt x="307833" y="315816"/>
                  </a:lnTo>
                  <a:lnTo>
                    <a:pt x="303841" y="316051"/>
                  </a:lnTo>
                  <a:lnTo>
                    <a:pt x="303606" y="316051"/>
                  </a:lnTo>
                  <a:lnTo>
                    <a:pt x="303137" y="316286"/>
                  </a:lnTo>
                  <a:lnTo>
                    <a:pt x="301963" y="316990"/>
                  </a:lnTo>
                  <a:lnTo>
                    <a:pt x="301023" y="317460"/>
                  </a:lnTo>
                  <a:lnTo>
                    <a:pt x="298206" y="317694"/>
                  </a:lnTo>
                  <a:lnTo>
                    <a:pt x="297032" y="317929"/>
                  </a:lnTo>
                  <a:lnTo>
                    <a:pt x="296562" y="318164"/>
                  </a:lnTo>
                  <a:lnTo>
                    <a:pt x="296092" y="318399"/>
                  </a:lnTo>
                  <a:lnTo>
                    <a:pt x="295623" y="318634"/>
                  </a:lnTo>
                  <a:lnTo>
                    <a:pt x="294683" y="319338"/>
                  </a:lnTo>
                  <a:lnTo>
                    <a:pt x="294214" y="319808"/>
                  </a:lnTo>
                  <a:lnTo>
                    <a:pt x="293509" y="320278"/>
                  </a:lnTo>
                  <a:lnTo>
                    <a:pt x="292570" y="320747"/>
                  </a:lnTo>
                  <a:lnTo>
                    <a:pt x="291631" y="320747"/>
                  </a:lnTo>
                  <a:lnTo>
                    <a:pt x="290692" y="320512"/>
                  </a:lnTo>
                  <a:lnTo>
                    <a:pt x="289518" y="320042"/>
                  </a:lnTo>
                  <a:lnTo>
                    <a:pt x="288813" y="319573"/>
                  </a:lnTo>
                  <a:lnTo>
                    <a:pt x="288109" y="318634"/>
                  </a:lnTo>
                  <a:lnTo>
                    <a:pt x="288344" y="317460"/>
                  </a:lnTo>
                  <a:lnTo>
                    <a:pt x="288578" y="316755"/>
                  </a:lnTo>
                  <a:lnTo>
                    <a:pt x="289048" y="316286"/>
                  </a:lnTo>
                  <a:lnTo>
                    <a:pt x="289518" y="315346"/>
                  </a:lnTo>
                  <a:lnTo>
                    <a:pt x="289752" y="314877"/>
                  </a:lnTo>
                  <a:lnTo>
                    <a:pt x="289987" y="313938"/>
                  </a:lnTo>
                  <a:lnTo>
                    <a:pt x="289987" y="313468"/>
                  </a:lnTo>
                  <a:lnTo>
                    <a:pt x="289987" y="312998"/>
                  </a:lnTo>
                  <a:lnTo>
                    <a:pt x="289987" y="312529"/>
                  </a:lnTo>
                  <a:lnTo>
                    <a:pt x="289752" y="312059"/>
                  </a:lnTo>
                  <a:lnTo>
                    <a:pt x="289752" y="311824"/>
                  </a:lnTo>
                  <a:lnTo>
                    <a:pt x="289518" y="311589"/>
                  </a:lnTo>
                  <a:lnTo>
                    <a:pt x="289518" y="311589"/>
                  </a:lnTo>
                  <a:lnTo>
                    <a:pt x="288813" y="311120"/>
                  </a:lnTo>
                  <a:lnTo>
                    <a:pt x="288344" y="311120"/>
                  </a:lnTo>
                  <a:lnTo>
                    <a:pt x="288109" y="311120"/>
                  </a:lnTo>
                  <a:lnTo>
                    <a:pt x="286935" y="311355"/>
                  </a:lnTo>
                  <a:lnTo>
                    <a:pt x="285526" y="311824"/>
                  </a:lnTo>
                  <a:lnTo>
                    <a:pt x="284822" y="312059"/>
                  </a:lnTo>
                  <a:lnTo>
                    <a:pt x="284117" y="312059"/>
                  </a:lnTo>
                  <a:lnTo>
                    <a:pt x="282004" y="312059"/>
                  </a:lnTo>
                  <a:lnTo>
                    <a:pt x="281534" y="312059"/>
                  </a:lnTo>
                  <a:lnTo>
                    <a:pt x="281065" y="312294"/>
                  </a:lnTo>
                  <a:lnTo>
                    <a:pt x="280595" y="312529"/>
                  </a:lnTo>
                  <a:lnTo>
                    <a:pt x="279186" y="313468"/>
                  </a:lnTo>
                  <a:lnTo>
                    <a:pt x="278247" y="313938"/>
                  </a:lnTo>
                  <a:lnTo>
                    <a:pt x="277308" y="314172"/>
                  </a:lnTo>
                  <a:lnTo>
                    <a:pt x="276369" y="314172"/>
                  </a:lnTo>
                  <a:lnTo>
                    <a:pt x="275429" y="313703"/>
                  </a:lnTo>
                  <a:lnTo>
                    <a:pt x="271672" y="310650"/>
                  </a:lnTo>
                  <a:lnTo>
                    <a:pt x="270029" y="308302"/>
                  </a:lnTo>
                  <a:lnTo>
                    <a:pt x="268855" y="305954"/>
                  </a:lnTo>
                  <a:lnTo>
                    <a:pt x="268385" y="304076"/>
                  </a:lnTo>
                  <a:lnTo>
                    <a:pt x="268385" y="303136"/>
                  </a:lnTo>
                  <a:lnTo>
                    <a:pt x="268620" y="302432"/>
                  </a:lnTo>
                  <a:lnTo>
                    <a:pt x="268620" y="302432"/>
                  </a:lnTo>
                  <a:lnTo>
                    <a:pt x="268620" y="302197"/>
                  </a:lnTo>
                  <a:lnTo>
                    <a:pt x="267915" y="301258"/>
                  </a:lnTo>
                  <a:lnTo>
                    <a:pt x="267681" y="300319"/>
                  </a:lnTo>
                  <a:lnTo>
                    <a:pt x="267681" y="299614"/>
                  </a:lnTo>
                  <a:lnTo>
                    <a:pt x="267681" y="298910"/>
                  </a:lnTo>
                  <a:lnTo>
                    <a:pt x="267681" y="298910"/>
                  </a:lnTo>
                  <a:lnTo>
                    <a:pt x="267446" y="298675"/>
                  </a:lnTo>
                  <a:lnTo>
                    <a:pt x="266741" y="298206"/>
                  </a:lnTo>
                  <a:lnTo>
                    <a:pt x="266507" y="298206"/>
                  </a:lnTo>
                  <a:lnTo>
                    <a:pt x="266037" y="298206"/>
                  </a:lnTo>
                  <a:lnTo>
                    <a:pt x="264863" y="298910"/>
                  </a:lnTo>
                  <a:lnTo>
                    <a:pt x="263924" y="300084"/>
                  </a:lnTo>
                  <a:lnTo>
                    <a:pt x="261810" y="303606"/>
                  </a:lnTo>
                  <a:lnTo>
                    <a:pt x="261106" y="304545"/>
                  </a:lnTo>
                  <a:lnTo>
                    <a:pt x="260167" y="305485"/>
                  </a:lnTo>
                  <a:lnTo>
                    <a:pt x="256410" y="308302"/>
                  </a:lnTo>
                  <a:lnTo>
                    <a:pt x="255705" y="308537"/>
                  </a:lnTo>
                  <a:lnTo>
                    <a:pt x="254766" y="308772"/>
                  </a:lnTo>
                  <a:lnTo>
                    <a:pt x="253827" y="308537"/>
                  </a:lnTo>
                  <a:lnTo>
                    <a:pt x="253123" y="308067"/>
                  </a:lnTo>
                  <a:lnTo>
                    <a:pt x="251949" y="307128"/>
                  </a:lnTo>
                  <a:lnTo>
                    <a:pt x="247957" y="301962"/>
                  </a:lnTo>
                  <a:lnTo>
                    <a:pt x="247722" y="301728"/>
                  </a:lnTo>
                  <a:lnTo>
                    <a:pt x="247487" y="301728"/>
                  </a:lnTo>
                  <a:lnTo>
                    <a:pt x="247487" y="301728"/>
                  </a:lnTo>
                  <a:lnTo>
                    <a:pt x="247487" y="301962"/>
                  </a:lnTo>
                  <a:lnTo>
                    <a:pt x="247252" y="302902"/>
                  </a:lnTo>
                  <a:lnTo>
                    <a:pt x="246548" y="306893"/>
                  </a:lnTo>
                  <a:lnTo>
                    <a:pt x="246548" y="307833"/>
                  </a:lnTo>
                  <a:lnTo>
                    <a:pt x="247487" y="313233"/>
                  </a:lnTo>
                  <a:lnTo>
                    <a:pt x="247487" y="316051"/>
                  </a:lnTo>
                  <a:lnTo>
                    <a:pt x="247487" y="316755"/>
                  </a:lnTo>
                  <a:lnTo>
                    <a:pt x="247252" y="317929"/>
                  </a:lnTo>
                  <a:lnTo>
                    <a:pt x="245609" y="321452"/>
                  </a:lnTo>
                  <a:lnTo>
                    <a:pt x="244435" y="323330"/>
                  </a:lnTo>
                  <a:lnTo>
                    <a:pt x="240678" y="327556"/>
                  </a:lnTo>
                  <a:lnTo>
                    <a:pt x="240208" y="328261"/>
                  </a:lnTo>
                  <a:lnTo>
                    <a:pt x="239973" y="328965"/>
                  </a:lnTo>
                  <a:lnTo>
                    <a:pt x="239504" y="333661"/>
                  </a:lnTo>
                  <a:lnTo>
                    <a:pt x="240443" y="333661"/>
                  </a:lnTo>
                  <a:lnTo>
                    <a:pt x="241382" y="333896"/>
                  </a:lnTo>
                  <a:lnTo>
                    <a:pt x="242321" y="334366"/>
                  </a:lnTo>
                  <a:lnTo>
                    <a:pt x="242791" y="335540"/>
                  </a:lnTo>
                  <a:lnTo>
                    <a:pt x="242791" y="336244"/>
                  </a:lnTo>
                  <a:lnTo>
                    <a:pt x="242087" y="339062"/>
                  </a:lnTo>
                  <a:lnTo>
                    <a:pt x="242087" y="341175"/>
                  </a:lnTo>
                  <a:lnTo>
                    <a:pt x="241852" y="342114"/>
                  </a:lnTo>
                  <a:lnTo>
                    <a:pt x="241382" y="343758"/>
                  </a:lnTo>
                  <a:lnTo>
                    <a:pt x="240678" y="344697"/>
                  </a:lnTo>
                  <a:lnTo>
                    <a:pt x="239504" y="345167"/>
                  </a:lnTo>
                  <a:lnTo>
                    <a:pt x="238564" y="344932"/>
                  </a:lnTo>
                  <a:lnTo>
                    <a:pt x="236686" y="344463"/>
                  </a:lnTo>
                  <a:lnTo>
                    <a:pt x="235512" y="344228"/>
                  </a:lnTo>
                  <a:lnTo>
                    <a:pt x="235277" y="344228"/>
                  </a:lnTo>
                  <a:lnTo>
                    <a:pt x="233399" y="348219"/>
                  </a:lnTo>
                  <a:lnTo>
                    <a:pt x="232225" y="349159"/>
                  </a:lnTo>
                  <a:lnTo>
                    <a:pt x="230816" y="349628"/>
                  </a:lnTo>
                  <a:lnTo>
                    <a:pt x="228233" y="348689"/>
                  </a:lnTo>
                  <a:lnTo>
                    <a:pt x="227528" y="348454"/>
                  </a:lnTo>
                  <a:lnTo>
                    <a:pt x="226824" y="347750"/>
                  </a:lnTo>
                  <a:lnTo>
                    <a:pt x="226354" y="346811"/>
                  </a:lnTo>
                  <a:lnTo>
                    <a:pt x="226120" y="346106"/>
                  </a:lnTo>
                  <a:lnTo>
                    <a:pt x="225885" y="344697"/>
                  </a:lnTo>
                  <a:lnTo>
                    <a:pt x="225885" y="344463"/>
                  </a:lnTo>
                  <a:lnTo>
                    <a:pt x="225885" y="344228"/>
                  </a:lnTo>
                  <a:lnTo>
                    <a:pt x="225650" y="343993"/>
                  </a:lnTo>
                  <a:lnTo>
                    <a:pt x="225180" y="343758"/>
                  </a:lnTo>
                  <a:lnTo>
                    <a:pt x="224711" y="343758"/>
                  </a:lnTo>
                  <a:lnTo>
                    <a:pt x="220015" y="342584"/>
                  </a:lnTo>
                  <a:lnTo>
                    <a:pt x="219545" y="342584"/>
                  </a:lnTo>
                  <a:lnTo>
                    <a:pt x="219075" y="342584"/>
                  </a:lnTo>
                  <a:lnTo>
                    <a:pt x="218606" y="342584"/>
                  </a:lnTo>
                  <a:lnTo>
                    <a:pt x="218136" y="342819"/>
                  </a:lnTo>
                  <a:lnTo>
                    <a:pt x="217901" y="343054"/>
                  </a:lnTo>
                  <a:lnTo>
                    <a:pt x="217667" y="343288"/>
                  </a:lnTo>
                  <a:lnTo>
                    <a:pt x="213205" y="351037"/>
                  </a:lnTo>
                  <a:lnTo>
                    <a:pt x="211796" y="350567"/>
                  </a:lnTo>
                  <a:close/>
                  <a:moveTo>
                    <a:pt x="296327" y="159669"/>
                  </a:moveTo>
                  <a:lnTo>
                    <a:pt x="296562" y="158730"/>
                  </a:lnTo>
                  <a:lnTo>
                    <a:pt x="296327" y="158965"/>
                  </a:lnTo>
                  <a:lnTo>
                    <a:pt x="296327" y="158965"/>
                  </a:lnTo>
                  <a:lnTo>
                    <a:pt x="296327" y="159669"/>
                  </a:lnTo>
                  <a:close/>
                </a:path>
              </a:pathLst>
            </a:custGeom>
            <a:solidFill>
              <a:srgbClr val="CBD8E7"/>
            </a:solidFill>
            <a:ln w="2347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39" name="Донецкая область">
              <a:extLst>
                <a:ext uri="{FF2B5EF4-FFF2-40B4-BE49-F238E27FC236}">
                  <a16:creationId xmlns:a16="http://schemas.microsoft.com/office/drawing/2014/main" id="{00000000-0008-0000-0100-0000BB000000}"/>
                </a:ext>
              </a:extLst>
            </p:cNvPr>
            <p:cNvSpPr/>
            <p:nvPr/>
          </p:nvSpPr>
          <p:spPr>
            <a:xfrm rot="21298198">
              <a:off x="1191735" y="3838416"/>
              <a:ext cx="305221" cy="239194"/>
            </a:xfrm>
            <a:custGeom>
              <a:avLst/>
              <a:gdLst>
                <a:gd name="connsiteX0" fmla="*/ 274020 w 398937"/>
                <a:gd name="connsiteY0" fmla="*/ 322860 h 323799"/>
                <a:gd name="connsiteX1" fmla="*/ 264158 w 398937"/>
                <a:gd name="connsiteY1" fmla="*/ 307128 h 323799"/>
                <a:gd name="connsiteX2" fmla="*/ 259462 w 398937"/>
                <a:gd name="connsiteY2" fmla="*/ 304076 h 323799"/>
                <a:gd name="connsiteX3" fmla="*/ 253592 w 398937"/>
                <a:gd name="connsiteY3" fmla="*/ 303371 h 323799"/>
                <a:gd name="connsiteX4" fmla="*/ 246548 w 398937"/>
                <a:gd name="connsiteY4" fmla="*/ 304780 h 323799"/>
                <a:gd name="connsiteX5" fmla="*/ 239034 w 398937"/>
                <a:gd name="connsiteY5" fmla="*/ 307363 h 323799"/>
                <a:gd name="connsiteX6" fmla="*/ 232459 w 398937"/>
                <a:gd name="connsiteY6" fmla="*/ 310650 h 323799"/>
                <a:gd name="connsiteX7" fmla="*/ 228468 w 398937"/>
                <a:gd name="connsiteY7" fmla="*/ 311355 h 323799"/>
                <a:gd name="connsiteX8" fmla="*/ 226354 w 398937"/>
                <a:gd name="connsiteY8" fmla="*/ 308772 h 323799"/>
                <a:gd name="connsiteX9" fmla="*/ 225415 w 398937"/>
                <a:gd name="connsiteY9" fmla="*/ 304310 h 323799"/>
                <a:gd name="connsiteX10" fmla="*/ 224476 w 398937"/>
                <a:gd name="connsiteY10" fmla="*/ 303371 h 323799"/>
                <a:gd name="connsiteX11" fmla="*/ 222128 w 398937"/>
                <a:gd name="connsiteY11" fmla="*/ 302432 h 323799"/>
                <a:gd name="connsiteX12" fmla="*/ 215788 w 398937"/>
                <a:gd name="connsiteY12" fmla="*/ 301728 h 323799"/>
                <a:gd name="connsiteX13" fmla="*/ 212501 w 398937"/>
                <a:gd name="connsiteY13" fmla="*/ 300788 h 323799"/>
                <a:gd name="connsiteX14" fmla="*/ 209448 w 398937"/>
                <a:gd name="connsiteY14" fmla="*/ 298910 h 323799"/>
                <a:gd name="connsiteX15" fmla="*/ 192777 w 398937"/>
                <a:gd name="connsiteY15" fmla="*/ 279890 h 323799"/>
                <a:gd name="connsiteX16" fmla="*/ 188785 w 398937"/>
                <a:gd name="connsiteY16" fmla="*/ 278247 h 323799"/>
                <a:gd name="connsiteX17" fmla="*/ 183385 w 398937"/>
                <a:gd name="connsiteY17" fmla="*/ 278482 h 323799"/>
                <a:gd name="connsiteX18" fmla="*/ 177280 w 398937"/>
                <a:gd name="connsiteY18" fmla="*/ 279890 h 323799"/>
                <a:gd name="connsiteX19" fmla="*/ 171644 w 398937"/>
                <a:gd name="connsiteY19" fmla="*/ 281769 h 323799"/>
                <a:gd name="connsiteX20" fmla="*/ 161548 w 398937"/>
                <a:gd name="connsiteY20" fmla="*/ 288813 h 323799"/>
                <a:gd name="connsiteX21" fmla="*/ 156851 w 398937"/>
                <a:gd name="connsiteY21" fmla="*/ 291396 h 323799"/>
                <a:gd name="connsiteX22" fmla="*/ 150512 w 398937"/>
                <a:gd name="connsiteY22" fmla="*/ 291866 h 323799"/>
                <a:gd name="connsiteX23" fmla="*/ 144407 w 398937"/>
                <a:gd name="connsiteY23" fmla="*/ 291396 h 323799"/>
                <a:gd name="connsiteX24" fmla="*/ 141354 w 398937"/>
                <a:gd name="connsiteY24" fmla="*/ 291866 h 323799"/>
                <a:gd name="connsiteX25" fmla="*/ 139476 w 398937"/>
                <a:gd name="connsiteY25" fmla="*/ 292805 h 323799"/>
                <a:gd name="connsiteX26" fmla="*/ 139241 w 398937"/>
                <a:gd name="connsiteY26" fmla="*/ 294214 h 323799"/>
                <a:gd name="connsiteX27" fmla="*/ 139945 w 398937"/>
                <a:gd name="connsiteY27" fmla="*/ 295857 h 323799"/>
                <a:gd name="connsiteX28" fmla="*/ 142998 w 398937"/>
                <a:gd name="connsiteY28" fmla="*/ 299145 h 323799"/>
                <a:gd name="connsiteX29" fmla="*/ 144172 w 398937"/>
                <a:gd name="connsiteY29" fmla="*/ 301493 h 323799"/>
                <a:gd name="connsiteX30" fmla="*/ 144641 w 398937"/>
                <a:gd name="connsiteY30" fmla="*/ 304076 h 323799"/>
                <a:gd name="connsiteX31" fmla="*/ 143467 w 398937"/>
                <a:gd name="connsiteY31" fmla="*/ 306659 h 323799"/>
                <a:gd name="connsiteX32" fmla="*/ 139710 w 398937"/>
                <a:gd name="connsiteY32" fmla="*/ 308772 h 323799"/>
                <a:gd name="connsiteX33" fmla="*/ 136188 w 398937"/>
                <a:gd name="connsiteY33" fmla="*/ 308772 h 323799"/>
                <a:gd name="connsiteX34" fmla="*/ 133136 w 398937"/>
                <a:gd name="connsiteY34" fmla="*/ 307598 h 323799"/>
                <a:gd name="connsiteX35" fmla="*/ 130318 w 398937"/>
                <a:gd name="connsiteY35" fmla="*/ 305954 h 323799"/>
                <a:gd name="connsiteX36" fmla="*/ 128205 w 398937"/>
                <a:gd name="connsiteY36" fmla="*/ 305015 h 323799"/>
                <a:gd name="connsiteX37" fmla="*/ 124213 w 398937"/>
                <a:gd name="connsiteY37" fmla="*/ 305250 h 323799"/>
                <a:gd name="connsiteX38" fmla="*/ 119752 w 398937"/>
                <a:gd name="connsiteY38" fmla="*/ 307363 h 323799"/>
                <a:gd name="connsiteX39" fmla="*/ 115760 w 398937"/>
                <a:gd name="connsiteY39" fmla="*/ 310650 h 323799"/>
                <a:gd name="connsiteX40" fmla="*/ 112473 w 398937"/>
                <a:gd name="connsiteY40" fmla="*/ 315346 h 323799"/>
                <a:gd name="connsiteX41" fmla="*/ 111768 w 398937"/>
                <a:gd name="connsiteY41" fmla="*/ 315346 h 323799"/>
                <a:gd name="connsiteX42" fmla="*/ 108481 w 398937"/>
                <a:gd name="connsiteY42" fmla="*/ 314407 h 323799"/>
                <a:gd name="connsiteX43" fmla="*/ 97210 w 398937"/>
                <a:gd name="connsiteY43" fmla="*/ 314172 h 323799"/>
                <a:gd name="connsiteX44" fmla="*/ 90166 w 398937"/>
                <a:gd name="connsiteY44" fmla="*/ 309711 h 323799"/>
                <a:gd name="connsiteX45" fmla="*/ 99324 w 398937"/>
                <a:gd name="connsiteY45" fmla="*/ 308537 h 323799"/>
                <a:gd name="connsiteX46" fmla="*/ 100732 w 398937"/>
                <a:gd name="connsiteY46" fmla="*/ 307598 h 323799"/>
                <a:gd name="connsiteX47" fmla="*/ 100263 w 398937"/>
                <a:gd name="connsiteY47" fmla="*/ 304780 h 323799"/>
                <a:gd name="connsiteX48" fmla="*/ 100498 w 398937"/>
                <a:gd name="connsiteY48" fmla="*/ 300319 h 323799"/>
                <a:gd name="connsiteX49" fmla="*/ 100028 w 398937"/>
                <a:gd name="connsiteY49" fmla="*/ 300319 h 323799"/>
                <a:gd name="connsiteX50" fmla="*/ 96741 w 398937"/>
                <a:gd name="connsiteY50" fmla="*/ 298675 h 323799"/>
                <a:gd name="connsiteX51" fmla="*/ 95097 w 398937"/>
                <a:gd name="connsiteY51" fmla="*/ 297501 h 323799"/>
                <a:gd name="connsiteX52" fmla="*/ 93923 w 398937"/>
                <a:gd name="connsiteY52" fmla="*/ 292335 h 323799"/>
                <a:gd name="connsiteX53" fmla="*/ 92984 w 398937"/>
                <a:gd name="connsiteY53" fmla="*/ 289753 h 323799"/>
                <a:gd name="connsiteX54" fmla="*/ 91575 w 398937"/>
                <a:gd name="connsiteY54" fmla="*/ 289048 h 323799"/>
                <a:gd name="connsiteX55" fmla="*/ 87114 w 398937"/>
                <a:gd name="connsiteY55" fmla="*/ 278951 h 323799"/>
                <a:gd name="connsiteX56" fmla="*/ 76312 w 398937"/>
                <a:gd name="connsiteY56" fmla="*/ 270498 h 323799"/>
                <a:gd name="connsiteX57" fmla="*/ 73025 w 398937"/>
                <a:gd name="connsiteY57" fmla="*/ 266037 h 323799"/>
                <a:gd name="connsiteX58" fmla="*/ 66920 w 398937"/>
                <a:gd name="connsiteY58" fmla="*/ 251479 h 323799"/>
                <a:gd name="connsiteX59" fmla="*/ 63868 w 398937"/>
                <a:gd name="connsiteY59" fmla="*/ 249131 h 323799"/>
                <a:gd name="connsiteX60" fmla="*/ 53301 w 398937"/>
                <a:gd name="connsiteY60" fmla="*/ 247017 h 323799"/>
                <a:gd name="connsiteX61" fmla="*/ 31934 w 398937"/>
                <a:gd name="connsiteY61" fmla="*/ 246078 h 323799"/>
                <a:gd name="connsiteX62" fmla="*/ 25124 w 398937"/>
                <a:gd name="connsiteY62" fmla="*/ 246783 h 323799"/>
                <a:gd name="connsiteX63" fmla="*/ 21367 w 398937"/>
                <a:gd name="connsiteY63" fmla="*/ 246548 h 323799"/>
                <a:gd name="connsiteX64" fmla="*/ 16906 w 398937"/>
                <a:gd name="connsiteY64" fmla="*/ 243730 h 323799"/>
                <a:gd name="connsiteX65" fmla="*/ 22307 w 398937"/>
                <a:gd name="connsiteY65" fmla="*/ 240912 h 323799"/>
                <a:gd name="connsiteX66" fmla="*/ 23246 w 398937"/>
                <a:gd name="connsiteY66" fmla="*/ 237625 h 323799"/>
                <a:gd name="connsiteX67" fmla="*/ 23011 w 398937"/>
                <a:gd name="connsiteY67" fmla="*/ 233399 h 323799"/>
                <a:gd name="connsiteX68" fmla="*/ 21367 w 398937"/>
                <a:gd name="connsiteY68" fmla="*/ 229877 h 323799"/>
                <a:gd name="connsiteX69" fmla="*/ 20193 w 398937"/>
                <a:gd name="connsiteY69" fmla="*/ 228468 h 323799"/>
                <a:gd name="connsiteX70" fmla="*/ 13619 w 398937"/>
                <a:gd name="connsiteY70" fmla="*/ 226119 h 323799"/>
                <a:gd name="connsiteX71" fmla="*/ 1409 w 398937"/>
                <a:gd name="connsiteY71" fmla="*/ 217197 h 323799"/>
                <a:gd name="connsiteX72" fmla="*/ 470 w 398937"/>
                <a:gd name="connsiteY72" fmla="*/ 216258 h 323799"/>
                <a:gd name="connsiteX73" fmla="*/ 0 w 398937"/>
                <a:gd name="connsiteY73" fmla="*/ 215553 h 323799"/>
                <a:gd name="connsiteX74" fmla="*/ 235 w 398937"/>
                <a:gd name="connsiteY74" fmla="*/ 215084 h 323799"/>
                <a:gd name="connsiteX75" fmla="*/ 3992 w 398937"/>
                <a:gd name="connsiteY75" fmla="*/ 208274 h 323799"/>
                <a:gd name="connsiteX76" fmla="*/ 4696 w 398937"/>
                <a:gd name="connsiteY76" fmla="*/ 207570 h 323799"/>
                <a:gd name="connsiteX77" fmla="*/ 5401 w 398937"/>
                <a:gd name="connsiteY77" fmla="*/ 207100 h 323799"/>
                <a:gd name="connsiteX78" fmla="*/ 6575 w 398937"/>
                <a:gd name="connsiteY78" fmla="*/ 206631 h 323799"/>
                <a:gd name="connsiteX79" fmla="*/ 7514 w 398937"/>
                <a:gd name="connsiteY79" fmla="*/ 206631 h 323799"/>
                <a:gd name="connsiteX80" fmla="*/ 8218 w 398937"/>
                <a:gd name="connsiteY80" fmla="*/ 206631 h 323799"/>
                <a:gd name="connsiteX81" fmla="*/ 8923 w 398937"/>
                <a:gd name="connsiteY81" fmla="*/ 206631 h 323799"/>
                <a:gd name="connsiteX82" fmla="*/ 13384 w 398937"/>
                <a:gd name="connsiteY82" fmla="*/ 208039 h 323799"/>
                <a:gd name="connsiteX83" fmla="*/ 14088 w 398937"/>
                <a:gd name="connsiteY83" fmla="*/ 208039 h 323799"/>
                <a:gd name="connsiteX84" fmla="*/ 15028 w 398937"/>
                <a:gd name="connsiteY84" fmla="*/ 208509 h 323799"/>
                <a:gd name="connsiteX85" fmla="*/ 15967 w 398937"/>
                <a:gd name="connsiteY85" fmla="*/ 208979 h 323799"/>
                <a:gd name="connsiteX86" fmla="*/ 16671 w 398937"/>
                <a:gd name="connsiteY86" fmla="*/ 210153 h 323799"/>
                <a:gd name="connsiteX87" fmla="*/ 16671 w 398937"/>
                <a:gd name="connsiteY87" fmla="*/ 210857 h 323799"/>
                <a:gd name="connsiteX88" fmla="*/ 16906 w 398937"/>
                <a:gd name="connsiteY88" fmla="*/ 212266 h 323799"/>
                <a:gd name="connsiteX89" fmla="*/ 16906 w 398937"/>
                <a:gd name="connsiteY89" fmla="*/ 212501 h 323799"/>
                <a:gd name="connsiteX90" fmla="*/ 17141 w 398937"/>
                <a:gd name="connsiteY90" fmla="*/ 212736 h 323799"/>
                <a:gd name="connsiteX91" fmla="*/ 17376 w 398937"/>
                <a:gd name="connsiteY91" fmla="*/ 212970 h 323799"/>
                <a:gd name="connsiteX92" fmla="*/ 17611 w 398937"/>
                <a:gd name="connsiteY92" fmla="*/ 213205 h 323799"/>
                <a:gd name="connsiteX93" fmla="*/ 19254 w 398937"/>
                <a:gd name="connsiteY93" fmla="*/ 213675 h 323799"/>
                <a:gd name="connsiteX94" fmla="*/ 19254 w 398937"/>
                <a:gd name="connsiteY94" fmla="*/ 213675 h 323799"/>
                <a:gd name="connsiteX95" fmla="*/ 19724 w 398937"/>
                <a:gd name="connsiteY95" fmla="*/ 213205 h 323799"/>
                <a:gd name="connsiteX96" fmla="*/ 22072 w 398937"/>
                <a:gd name="connsiteY96" fmla="*/ 208744 h 323799"/>
                <a:gd name="connsiteX97" fmla="*/ 22541 w 398937"/>
                <a:gd name="connsiteY97" fmla="*/ 208274 h 323799"/>
                <a:gd name="connsiteX98" fmla="*/ 23011 w 398937"/>
                <a:gd name="connsiteY98" fmla="*/ 208274 h 323799"/>
                <a:gd name="connsiteX99" fmla="*/ 24185 w 398937"/>
                <a:gd name="connsiteY99" fmla="*/ 208274 h 323799"/>
                <a:gd name="connsiteX100" fmla="*/ 25594 w 398937"/>
                <a:gd name="connsiteY100" fmla="*/ 208509 h 323799"/>
                <a:gd name="connsiteX101" fmla="*/ 27238 w 398937"/>
                <a:gd name="connsiteY101" fmla="*/ 208979 h 323799"/>
                <a:gd name="connsiteX102" fmla="*/ 27472 w 398937"/>
                <a:gd name="connsiteY102" fmla="*/ 208979 h 323799"/>
                <a:gd name="connsiteX103" fmla="*/ 27472 w 398937"/>
                <a:gd name="connsiteY103" fmla="*/ 208744 h 323799"/>
                <a:gd name="connsiteX104" fmla="*/ 27942 w 398937"/>
                <a:gd name="connsiteY104" fmla="*/ 207805 h 323799"/>
                <a:gd name="connsiteX105" fmla="*/ 27942 w 398937"/>
                <a:gd name="connsiteY105" fmla="*/ 207100 h 323799"/>
                <a:gd name="connsiteX106" fmla="*/ 27942 w 398937"/>
                <a:gd name="connsiteY106" fmla="*/ 204987 h 323799"/>
                <a:gd name="connsiteX107" fmla="*/ 28646 w 398937"/>
                <a:gd name="connsiteY107" fmla="*/ 202169 h 323799"/>
                <a:gd name="connsiteX108" fmla="*/ 28412 w 398937"/>
                <a:gd name="connsiteY108" fmla="*/ 202169 h 323799"/>
                <a:gd name="connsiteX109" fmla="*/ 27472 w 398937"/>
                <a:gd name="connsiteY109" fmla="*/ 202169 h 323799"/>
                <a:gd name="connsiteX110" fmla="*/ 26298 w 398937"/>
                <a:gd name="connsiteY110" fmla="*/ 202169 h 323799"/>
                <a:gd name="connsiteX111" fmla="*/ 25359 w 398937"/>
                <a:gd name="connsiteY111" fmla="*/ 201230 h 323799"/>
                <a:gd name="connsiteX112" fmla="*/ 25359 w 398937"/>
                <a:gd name="connsiteY112" fmla="*/ 200291 h 323799"/>
                <a:gd name="connsiteX113" fmla="*/ 25829 w 398937"/>
                <a:gd name="connsiteY113" fmla="*/ 194655 h 323799"/>
                <a:gd name="connsiteX114" fmla="*/ 26298 w 398937"/>
                <a:gd name="connsiteY114" fmla="*/ 193481 h 323799"/>
                <a:gd name="connsiteX115" fmla="*/ 27238 w 398937"/>
                <a:gd name="connsiteY115" fmla="*/ 192307 h 323799"/>
                <a:gd name="connsiteX116" fmla="*/ 30760 w 398937"/>
                <a:gd name="connsiteY116" fmla="*/ 188081 h 323799"/>
                <a:gd name="connsiteX117" fmla="*/ 31699 w 398937"/>
                <a:gd name="connsiteY117" fmla="*/ 186437 h 323799"/>
                <a:gd name="connsiteX118" fmla="*/ 33343 w 398937"/>
                <a:gd name="connsiteY118" fmla="*/ 183385 h 323799"/>
                <a:gd name="connsiteX119" fmla="*/ 33577 w 398937"/>
                <a:gd name="connsiteY119" fmla="*/ 182445 h 323799"/>
                <a:gd name="connsiteX120" fmla="*/ 33577 w 398937"/>
                <a:gd name="connsiteY120" fmla="*/ 182211 h 323799"/>
                <a:gd name="connsiteX121" fmla="*/ 33577 w 398937"/>
                <a:gd name="connsiteY121" fmla="*/ 179628 h 323799"/>
                <a:gd name="connsiteX122" fmla="*/ 32638 w 398937"/>
                <a:gd name="connsiteY122" fmla="*/ 174227 h 323799"/>
                <a:gd name="connsiteX123" fmla="*/ 32638 w 398937"/>
                <a:gd name="connsiteY123" fmla="*/ 172818 h 323799"/>
                <a:gd name="connsiteX124" fmla="*/ 33343 w 398937"/>
                <a:gd name="connsiteY124" fmla="*/ 168592 h 323799"/>
                <a:gd name="connsiteX125" fmla="*/ 34047 w 398937"/>
                <a:gd name="connsiteY125" fmla="*/ 167183 h 323799"/>
                <a:gd name="connsiteX126" fmla="*/ 34517 w 398937"/>
                <a:gd name="connsiteY126" fmla="*/ 166479 h 323799"/>
                <a:gd name="connsiteX127" fmla="*/ 35221 w 398937"/>
                <a:gd name="connsiteY127" fmla="*/ 165774 h 323799"/>
                <a:gd name="connsiteX128" fmla="*/ 36865 w 398937"/>
                <a:gd name="connsiteY128" fmla="*/ 165774 h 323799"/>
                <a:gd name="connsiteX129" fmla="*/ 37804 w 398937"/>
                <a:gd name="connsiteY129" fmla="*/ 166244 h 323799"/>
                <a:gd name="connsiteX130" fmla="*/ 38274 w 398937"/>
                <a:gd name="connsiteY130" fmla="*/ 166948 h 323799"/>
                <a:gd name="connsiteX131" fmla="*/ 42265 w 398937"/>
                <a:gd name="connsiteY131" fmla="*/ 172114 h 323799"/>
                <a:gd name="connsiteX132" fmla="*/ 42735 w 398937"/>
                <a:gd name="connsiteY132" fmla="*/ 172584 h 323799"/>
                <a:gd name="connsiteX133" fmla="*/ 42970 w 398937"/>
                <a:gd name="connsiteY133" fmla="*/ 172818 h 323799"/>
                <a:gd name="connsiteX134" fmla="*/ 43205 w 398937"/>
                <a:gd name="connsiteY134" fmla="*/ 172818 h 323799"/>
                <a:gd name="connsiteX135" fmla="*/ 43674 w 398937"/>
                <a:gd name="connsiteY135" fmla="*/ 172584 h 323799"/>
                <a:gd name="connsiteX136" fmla="*/ 43674 w 398937"/>
                <a:gd name="connsiteY136" fmla="*/ 172584 h 323799"/>
                <a:gd name="connsiteX137" fmla="*/ 47196 w 398937"/>
                <a:gd name="connsiteY137" fmla="*/ 170001 h 323799"/>
                <a:gd name="connsiteX138" fmla="*/ 47901 w 398937"/>
                <a:gd name="connsiteY138" fmla="*/ 169061 h 323799"/>
                <a:gd name="connsiteX139" fmla="*/ 48605 w 398937"/>
                <a:gd name="connsiteY139" fmla="*/ 168592 h 323799"/>
                <a:gd name="connsiteX140" fmla="*/ 50484 w 398937"/>
                <a:gd name="connsiteY140" fmla="*/ 165070 h 323799"/>
                <a:gd name="connsiteX141" fmla="*/ 51658 w 398937"/>
                <a:gd name="connsiteY141" fmla="*/ 163426 h 323799"/>
                <a:gd name="connsiteX142" fmla="*/ 53536 w 398937"/>
                <a:gd name="connsiteY142" fmla="*/ 162252 h 323799"/>
                <a:gd name="connsiteX143" fmla="*/ 54710 w 398937"/>
                <a:gd name="connsiteY143" fmla="*/ 162017 h 323799"/>
                <a:gd name="connsiteX144" fmla="*/ 55884 w 398937"/>
                <a:gd name="connsiteY144" fmla="*/ 162252 h 323799"/>
                <a:gd name="connsiteX145" fmla="*/ 57058 w 398937"/>
                <a:gd name="connsiteY145" fmla="*/ 162956 h 323799"/>
                <a:gd name="connsiteX146" fmla="*/ 57763 w 398937"/>
                <a:gd name="connsiteY146" fmla="*/ 163426 h 323799"/>
                <a:gd name="connsiteX147" fmla="*/ 58232 w 398937"/>
                <a:gd name="connsiteY147" fmla="*/ 164365 h 323799"/>
                <a:gd name="connsiteX148" fmla="*/ 58232 w 398937"/>
                <a:gd name="connsiteY148" fmla="*/ 165070 h 323799"/>
                <a:gd name="connsiteX149" fmla="*/ 58232 w 398937"/>
                <a:gd name="connsiteY149" fmla="*/ 165774 h 323799"/>
                <a:gd name="connsiteX150" fmla="*/ 58232 w 398937"/>
                <a:gd name="connsiteY150" fmla="*/ 166009 h 323799"/>
                <a:gd name="connsiteX151" fmla="*/ 58232 w 398937"/>
                <a:gd name="connsiteY151" fmla="*/ 166244 h 323799"/>
                <a:gd name="connsiteX152" fmla="*/ 58937 w 398937"/>
                <a:gd name="connsiteY152" fmla="*/ 167418 h 323799"/>
                <a:gd name="connsiteX153" fmla="*/ 59171 w 398937"/>
                <a:gd name="connsiteY153" fmla="*/ 168357 h 323799"/>
                <a:gd name="connsiteX154" fmla="*/ 59171 w 398937"/>
                <a:gd name="connsiteY154" fmla="*/ 169061 h 323799"/>
                <a:gd name="connsiteX155" fmla="*/ 58937 w 398937"/>
                <a:gd name="connsiteY155" fmla="*/ 169766 h 323799"/>
                <a:gd name="connsiteX156" fmla="*/ 58937 w 398937"/>
                <a:gd name="connsiteY156" fmla="*/ 170001 h 323799"/>
                <a:gd name="connsiteX157" fmla="*/ 59171 w 398937"/>
                <a:gd name="connsiteY157" fmla="*/ 171175 h 323799"/>
                <a:gd name="connsiteX158" fmla="*/ 60111 w 398937"/>
                <a:gd name="connsiteY158" fmla="*/ 173053 h 323799"/>
                <a:gd name="connsiteX159" fmla="*/ 61520 w 398937"/>
                <a:gd name="connsiteY159" fmla="*/ 174932 h 323799"/>
                <a:gd name="connsiteX160" fmla="*/ 64807 w 398937"/>
                <a:gd name="connsiteY160" fmla="*/ 177749 h 323799"/>
                <a:gd name="connsiteX161" fmla="*/ 65042 w 398937"/>
                <a:gd name="connsiteY161" fmla="*/ 177749 h 323799"/>
                <a:gd name="connsiteX162" fmla="*/ 65276 w 398937"/>
                <a:gd name="connsiteY162" fmla="*/ 177749 h 323799"/>
                <a:gd name="connsiteX163" fmla="*/ 65511 w 398937"/>
                <a:gd name="connsiteY163" fmla="*/ 177749 h 323799"/>
                <a:gd name="connsiteX164" fmla="*/ 65981 w 398937"/>
                <a:gd name="connsiteY164" fmla="*/ 177514 h 323799"/>
                <a:gd name="connsiteX165" fmla="*/ 67390 w 398937"/>
                <a:gd name="connsiteY165" fmla="*/ 176340 h 323799"/>
                <a:gd name="connsiteX166" fmla="*/ 68094 w 398937"/>
                <a:gd name="connsiteY166" fmla="*/ 176106 h 323799"/>
                <a:gd name="connsiteX167" fmla="*/ 69033 w 398937"/>
                <a:gd name="connsiteY167" fmla="*/ 175871 h 323799"/>
                <a:gd name="connsiteX168" fmla="*/ 69738 w 398937"/>
                <a:gd name="connsiteY168" fmla="*/ 175636 h 323799"/>
                <a:gd name="connsiteX169" fmla="*/ 72086 w 398937"/>
                <a:gd name="connsiteY169" fmla="*/ 175636 h 323799"/>
                <a:gd name="connsiteX170" fmla="*/ 72556 w 398937"/>
                <a:gd name="connsiteY170" fmla="*/ 175636 h 323799"/>
                <a:gd name="connsiteX171" fmla="*/ 73025 w 398937"/>
                <a:gd name="connsiteY171" fmla="*/ 175401 h 323799"/>
                <a:gd name="connsiteX172" fmla="*/ 74434 w 398937"/>
                <a:gd name="connsiteY172" fmla="*/ 175166 h 323799"/>
                <a:gd name="connsiteX173" fmla="*/ 76078 w 398937"/>
                <a:gd name="connsiteY173" fmla="*/ 174697 h 323799"/>
                <a:gd name="connsiteX174" fmla="*/ 76782 w 398937"/>
                <a:gd name="connsiteY174" fmla="*/ 174697 h 323799"/>
                <a:gd name="connsiteX175" fmla="*/ 77721 w 398937"/>
                <a:gd name="connsiteY175" fmla="*/ 174932 h 323799"/>
                <a:gd name="connsiteX176" fmla="*/ 78895 w 398937"/>
                <a:gd name="connsiteY176" fmla="*/ 175636 h 323799"/>
                <a:gd name="connsiteX177" fmla="*/ 79365 w 398937"/>
                <a:gd name="connsiteY177" fmla="*/ 176106 h 323799"/>
                <a:gd name="connsiteX178" fmla="*/ 79835 w 398937"/>
                <a:gd name="connsiteY178" fmla="*/ 176575 h 323799"/>
                <a:gd name="connsiteX179" fmla="*/ 80304 w 398937"/>
                <a:gd name="connsiteY179" fmla="*/ 177045 h 323799"/>
                <a:gd name="connsiteX180" fmla="*/ 80539 w 398937"/>
                <a:gd name="connsiteY180" fmla="*/ 177749 h 323799"/>
                <a:gd name="connsiteX181" fmla="*/ 80774 w 398937"/>
                <a:gd name="connsiteY181" fmla="*/ 178454 h 323799"/>
                <a:gd name="connsiteX182" fmla="*/ 80774 w 398937"/>
                <a:gd name="connsiteY182" fmla="*/ 179393 h 323799"/>
                <a:gd name="connsiteX183" fmla="*/ 80539 w 398937"/>
                <a:gd name="connsiteY183" fmla="*/ 180097 h 323799"/>
                <a:gd name="connsiteX184" fmla="*/ 80304 w 398937"/>
                <a:gd name="connsiteY184" fmla="*/ 181271 h 323799"/>
                <a:gd name="connsiteX185" fmla="*/ 80069 w 398937"/>
                <a:gd name="connsiteY185" fmla="*/ 181976 h 323799"/>
                <a:gd name="connsiteX186" fmla="*/ 79365 w 398937"/>
                <a:gd name="connsiteY186" fmla="*/ 183150 h 323799"/>
                <a:gd name="connsiteX187" fmla="*/ 79130 w 398937"/>
                <a:gd name="connsiteY187" fmla="*/ 183619 h 323799"/>
                <a:gd name="connsiteX188" fmla="*/ 79835 w 398937"/>
                <a:gd name="connsiteY188" fmla="*/ 183854 h 323799"/>
                <a:gd name="connsiteX189" fmla="*/ 80304 w 398937"/>
                <a:gd name="connsiteY189" fmla="*/ 184089 h 323799"/>
                <a:gd name="connsiteX190" fmla="*/ 80539 w 398937"/>
                <a:gd name="connsiteY190" fmla="*/ 183854 h 323799"/>
                <a:gd name="connsiteX191" fmla="*/ 80774 w 398937"/>
                <a:gd name="connsiteY191" fmla="*/ 183619 h 323799"/>
                <a:gd name="connsiteX192" fmla="*/ 81478 w 398937"/>
                <a:gd name="connsiteY192" fmla="*/ 183150 h 323799"/>
                <a:gd name="connsiteX193" fmla="*/ 82652 w 398937"/>
                <a:gd name="connsiteY193" fmla="*/ 182211 h 323799"/>
                <a:gd name="connsiteX194" fmla="*/ 83357 w 398937"/>
                <a:gd name="connsiteY194" fmla="*/ 181741 h 323799"/>
                <a:gd name="connsiteX195" fmla="*/ 84061 w 398937"/>
                <a:gd name="connsiteY195" fmla="*/ 181271 h 323799"/>
                <a:gd name="connsiteX196" fmla="*/ 84765 w 398937"/>
                <a:gd name="connsiteY196" fmla="*/ 181037 h 323799"/>
                <a:gd name="connsiteX197" fmla="*/ 86409 w 398937"/>
                <a:gd name="connsiteY197" fmla="*/ 180567 h 323799"/>
                <a:gd name="connsiteX198" fmla="*/ 88992 w 398937"/>
                <a:gd name="connsiteY198" fmla="*/ 180332 h 323799"/>
                <a:gd name="connsiteX199" fmla="*/ 89462 w 398937"/>
                <a:gd name="connsiteY199" fmla="*/ 180097 h 323799"/>
                <a:gd name="connsiteX200" fmla="*/ 90401 w 398937"/>
                <a:gd name="connsiteY200" fmla="*/ 179393 h 323799"/>
                <a:gd name="connsiteX201" fmla="*/ 91340 w 398937"/>
                <a:gd name="connsiteY201" fmla="*/ 178923 h 323799"/>
                <a:gd name="connsiteX202" fmla="*/ 92045 w 398937"/>
                <a:gd name="connsiteY202" fmla="*/ 178923 h 323799"/>
                <a:gd name="connsiteX203" fmla="*/ 96036 w 398937"/>
                <a:gd name="connsiteY203" fmla="*/ 178688 h 323799"/>
                <a:gd name="connsiteX204" fmla="*/ 96271 w 398937"/>
                <a:gd name="connsiteY204" fmla="*/ 178454 h 323799"/>
                <a:gd name="connsiteX205" fmla="*/ 95332 w 398937"/>
                <a:gd name="connsiteY205" fmla="*/ 177045 h 323799"/>
                <a:gd name="connsiteX206" fmla="*/ 93219 w 398937"/>
                <a:gd name="connsiteY206" fmla="*/ 172349 h 323799"/>
                <a:gd name="connsiteX207" fmla="*/ 93219 w 398937"/>
                <a:gd name="connsiteY207" fmla="*/ 172349 h 323799"/>
                <a:gd name="connsiteX208" fmla="*/ 92279 w 398937"/>
                <a:gd name="connsiteY208" fmla="*/ 172584 h 323799"/>
                <a:gd name="connsiteX209" fmla="*/ 91340 w 398937"/>
                <a:gd name="connsiteY209" fmla="*/ 172349 h 323799"/>
                <a:gd name="connsiteX210" fmla="*/ 90166 w 398937"/>
                <a:gd name="connsiteY210" fmla="*/ 171879 h 323799"/>
                <a:gd name="connsiteX211" fmla="*/ 89696 w 398937"/>
                <a:gd name="connsiteY211" fmla="*/ 170705 h 323799"/>
                <a:gd name="connsiteX212" fmla="*/ 89696 w 398937"/>
                <a:gd name="connsiteY212" fmla="*/ 169061 h 323799"/>
                <a:gd name="connsiteX213" fmla="*/ 91575 w 398937"/>
                <a:gd name="connsiteY213" fmla="*/ 165070 h 323799"/>
                <a:gd name="connsiteX214" fmla="*/ 91810 w 398937"/>
                <a:gd name="connsiteY214" fmla="*/ 164600 h 323799"/>
                <a:gd name="connsiteX215" fmla="*/ 93453 w 398937"/>
                <a:gd name="connsiteY215" fmla="*/ 152390 h 323799"/>
                <a:gd name="connsiteX216" fmla="*/ 95097 w 398937"/>
                <a:gd name="connsiteY216" fmla="*/ 147459 h 323799"/>
                <a:gd name="connsiteX217" fmla="*/ 95332 w 398937"/>
                <a:gd name="connsiteY217" fmla="*/ 146520 h 323799"/>
                <a:gd name="connsiteX218" fmla="*/ 95097 w 398937"/>
                <a:gd name="connsiteY218" fmla="*/ 140650 h 323799"/>
                <a:gd name="connsiteX219" fmla="*/ 94862 w 398937"/>
                <a:gd name="connsiteY219" fmla="*/ 140180 h 323799"/>
                <a:gd name="connsiteX220" fmla="*/ 94862 w 398937"/>
                <a:gd name="connsiteY220" fmla="*/ 139945 h 323799"/>
                <a:gd name="connsiteX221" fmla="*/ 91340 w 398937"/>
                <a:gd name="connsiteY221" fmla="*/ 138771 h 323799"/>
                <a:gd name="connsiteX222" fmla="*/ 90401 w 398937"/>
                <a:gd name="connsiteY222" fmla="*/ 138536 h 323799"/>
                <a:gd name="connsiteX223" fmla="*/ 89696 w 398937"/>
                <a:gd name="connsiteY223" fmla="*/ 138302 h 323799"/>
                <a:gd name="connsiteX224" fmla="*/ 88992 w 398937"/>
                <a:gd name="connsiteY224" fmla="*/ 137832 h 323799"/>
                <a:gd name="connsiteX225" fmla="*/ 88992 w 398937"/>
                <a:gd name="connsiteY225" fmla="*/ 135484 h 323799"/>
                <a:gd name="connsiteX226" fmla="*/ 89462 w 398937"/>
                <a:gd name="connsiteY226" fmla="*/ 132666 h 323799"/>
                <a:gd name="connsiteX227" fmla="*/ 91340 w 398937"/>
                <a:gd name="connsiteY227" fmla="*/ 125622 h 323799"/>
                <a:gd name="connsiteX228" fmla="*/ 91575 w 398937"/>
                <a:gd name="connsiteY228" fmla="*/ 123274 h 323799"/>
                <a:gd name="connsiteX229" fmla="*/ 91575 w 398937"/>
                <a:gd name="connsiteY229" fmla="*/ 122569 h 323799"/>
                <a:gd name="connsiteX230" fmla="*/ 88757 w 398937"/>
                <a:gd name="connsiteY230" fmla="*/ 120456 h 323799"/>
                <a:gd name="connsiteX231" fmla="*/ 87583 w 398937"/>
                <a:gd name="connsiteY231" fmla="*/ 119282 h 323799"/>
                <a:gd name="connsiteX232" fmla="*/ 87348 w 398937"/>
                <a:gd name="connsiteY232" fmla="*/ 117873 h 323799"/>
                <a:gd name="connsiteX233" fmla="*/ 87818 w 398937"/>
                <a:gd name="connsiteY233" fmla="*/ 116699 h 323799"/>
                <a:gd name="connsiteX234" fmla="*/ 89227 w 398937"/>
                <a:gd name="connsiteY234" fmla="*/ 115760 h 323799"/>
                <a:gd name="connsiteX235" fmla="*/ 90166 w 398937"/>
                <a:gd name="connsiteY235" fmla="*/ 115056 h 323799"/>
                <a:gd name="connsiteX236" fmla="*/ 91810 w 398937"/>
                <a:gd name="connsiteY236" fmla="*/ 114586 h 323799"/>
                <a:gd name="connsiteX237" fmla="*/ 92279 w 398937"/>
                <a:gd name="connsiteY237" fmla="*/ 114351 h 323799"/>
                <a:gd name="connsiteX238" fmla="*/ 91575 w 398937"/>
                <a:gd name="connsiteY238" fmla="*/ 112708 h 323799"/>
                <a:gd name="connsiteX239" fmla="*/ 91575 w 398937"/>
                <a:gd name="connsiteY239" fmla="*/ 111768 h 323799"/>
                <a:gd name="connsiteX240" fmla="*/ 92045 w 398937"/>
                <a:gd name="connsiteY240" fmla="*/ 110594 h 323799"/>
                <a:gd name="connsiteX241" fmla="*/ 92749 w 398937"/>
                <a:gd name="connsiteY241" fmla="*/ 109655 h 323799"/>
                <a:gd name="connsiteX242" fmla="*/ 94393 w 398937"/>
                <a:gd name="connsiteY242" fmla="*/ 108246 h 323799"/>
                <a:gd name="connsiteX243" fmla="*/ 95567 w 398937"/>
                <a:gd name="connsiteY243" fmla="*/ 108246 h 323799"/>
                <a:gd name="connsiteX244" fmla="*/ 96741 w 398937"/>
                <a:gd name="connsiteY244" fmla="*/ 108716 h 323799"/>
                <a:gd name="connsiteX245" fmla="*/ 97445 w 398937"/>
                <a:gd name="connsiteY245" fmla="*/ 109420 h 323799"/>
                <a:gd name="connsiteX246" fmla="*/ 96741 w 398937"/>
                <a:gd name="connsiteY246" fmla="*/ 106837 h 323799"/>
                <a:gd name="connsiteX247" fmla="*/ 96975 w 398937"/>
                <a:gd name="connsiteY247" fmla="*/ 105429 h 323799"/>
                <a:gd name="connsiteX248" fmla="*/ 97445 w 398937"/>
                <a:gd name="connsiteY248" fmla="*/ 104020 h 323799"/>
                <a:gd name="connsiteX249" fmla="*/ 100263 w 398937"/>
                <a:gd name="connsiteY249" fmla="*/ 100263 h 323799"/>
                <a:gd name="connsiteX250" fmla="*/ 104489 w 398937"/>
                <a:gd name="connsiteY250" fmla="*/ 93688 h 323799"/>
                <a:gd name="connsiteX251" fmla="*/ 105429 w 398937"/>
                <a:gd name="connsiteY251" fmla="*/ 92514 h 323799"/>
                <a:gd name="connsiteX252" fmla="*/ 107542 w 398937"/>
                <a:gd name="connsiteY252" fmla="*/ 90870 h 323799"/>
                <a:gd name="connsiteX253" fmla="*/ 108246 w 398937"/>
                <a:gd name="connsiteY253" fmla="*/ 90166 h 323799"/>
                <a:gd name="connsiteX254" fmla="*/ 108246 w 398937"/>
                <a:gd name="connsiteY254" fmla="*/ 90166 h 323799"/>
                <a:gd name="connsiteX255" fmla="*/ 108246 w 398937"/>
                <a:gd name="connsiteY255" fmla="*/ 89931 h 323799"/>
                <a:gd name="connsiteX256" fmla="*/ 106133 w 398937"/>
                <a:gd name="connsiteY256" fmla="*/ 87583 h 323799"/>
                <a:gd name="connsiteX257" fmla="*/ 105194 w 398937"/>
                <a:gd name="connsiteY257" fmla="*/ 86409 h 323799"/>
                <a:gd name="connsiteX258" fmla="*/ 104724 w 398937"/>
                <a:gd name="connsiteY258" fmla="*/ 85000 h 323799"/>
                <a:gd name="connsiteX259" fmla="*/ 104489 w 398937"/>
                <a:gd name="connsiteY259" fmla="*/ 82887 h 323799"/>
                <a:gd name="connsiteX260" fmla="*/ 106133 w 398937"/>
                <a:gd name="connsiteY260" fmla="*/ 80539 h 323799"/>
                <a:gd name="connsiteX261" fmla="*/ 112238 w 398937"/>
                <a:gd name="connsiteY261" fmla="*/ 76547 h 323799"/>
                <a:gd name="connsiteX262" fmla="*/ 114821 w 398937"/>
                <a:gd name="connsiteY262" fmla="*/ 73964 h 323799"/>
                <a:gd name="connsiteX263" fmla="*/ 115056 w 398937"/>
                <a:gd name="connsiteY263" fmla="*/ 73495 h 323799"/>
                <a:gd name="connsiteX264" fmla="*/ 115056 w 398937"/>
                <a:gd name="connsiteY264" fmla="*/ 73025 h 323799"/>
                <a:gd name="connsiteX265" fmla="*/ 114586 w 398937"/>
                <a:gd name="connsiteY265" fmla="*/ 71616 h 323799"/>
                <a:gd name="connsiteX266" fmla="*/ 114351 w 398937"/>
                <a:gd name="connsiteY266" fmla="*/ 69972 h 323799"/>
                <a:gd name="connsiteX267" fmla="*/ 114821 w 398937"/>
                <a:gd name="connsiteY267" fmla="*/ 68798 h 323799"/>
                <a:gd name="connsiteX268" fmla="*/ 115525 w 398937"/>
                <a:gd name="connsiteY268" fmla="*/ 68094 h 323799"/>
                <a:gd name="connsiteX269" fmla="*/ 116230 w 398937"/>
                <a:gd name="connsiteY269" fmla="*/ 67624 h 323799"/>
                <a:gd name="connsiteX270" fmla="*/ 116934 w 398937"/>
                <a:gd name="connsiteY270" fmla="*/ 67155 h 323799"/>
                <a:gd name="connsiteX271" fmla="*/ 117639 w 398937"/>
                <a:gd name="connsiteY271" fmla="*/ 66685 h 323799"/>
                <a:gd name="connsiteX272" fmla="*/ 119047 w 398937"/>
                <a:gd name="connsiteY272" fmla="*/ 66450 h 323799"/>
                <a:gd name="connsiteX273" fmla="*/ 119987 w 398937"/>
                <a:gd name="connsiteY273" fmla="*/ 66450 h 323799"/>
                <a:gd name="connsiteX274" fmla="*/ 121161 w 398937"/>
                <a:gd name="connsiteY274" fmla="*/ 66920 h 323799"/>
                <a:gd name="connsiteX275" fmla="*/ 122335 w 398937"/>
                <a:gd name="connsiteY275" fmla="*/ 68564 h 323799"/>
                <a:gd name="connsiteX276" fmla="*/ 122804 w 398937"/>
                <a:gd name="connsiteY276" fmla="*/ 69033 h 323799"/>
                <a:gd name="connsiteX277" fmla="*/ 123744 w 398937"/>
                <a:gd name="connsiteY277" fmla="*/ 69268 h 323799"/>
                <a:gd name="connsiteX278" fmla="*/ 124448 w 398937"/>
                <a:gd name="connsiteY278" fmla="*/ 69972 h 323799"/>
                <a:gd name="connsiteX279" fmla="*/ 125152 w 398937"/>
                <a:gd name="connsiteY279" fmla="*/ 70677 h 323799"/>
                <a:gd name="connsiteX280" fmla="*/ 127266 w 398937"/>
                <a:gd name="connsiteY280" fmla="*/ 74199 h 323799"/>
                <a:gd name="connsiteX281" fmla="*/ 127735 w 398937"/>
                <a:gd name="connsiteY281" fmla="*/ 74434 h 323799"/>
                <a:gd name="connsiteX282" fmla="*/ 128440 w 398937"/>
                <a:gd name="connsiteY282" fmla="*/ 73260 h 323799"/>
                <a:gd name="connsiteX283" fmla="*/ 129849 w 398937"/>
                <a:gd name="connsiteY283" fmla="*/ 71382 h 323799"/>
                <a:gd name="connsiteX284" fmla="*/ 130318 w 398937"/>
                <a:gd name="connsiteY284" fmla="*/ 70912 h 323799"/>
                <a:gd name="connsiteX285" fmla="*/ 130553 w 398937"/>
                <a:gd name="connsiteY285" fmla="*/ 70677 h 323799"/>
                <a:gd name="connsiteX286" fmla="*/ 130553 w 398937"/>
                <a:gd name="connsiteY286" fmla="*/ 70442 h 323799"/>
                <a:gd name="connsiteX287" fmla="*/ 130553 w 398937"/>
                <a:gd name="connsiteY287" fmla="*/ 70208 h 323799"/>
                <a:gd name="connsiteX288" fmla="*/ 130553 w 398937"/>
                <a:gd name="connsiteY288" fmla="*/ 69738 h 323799"/>
                <a:gd name="connsiteX289" fmla="*/ 129614 w 398937"/>
                <a:gd name="connsiteY289" fmla="*/ 67624 h 323799"/>
                <a:gd name="connsiteX290" fmla="*/ 129849 w 398937"/>
                <a:gd name="connsiteY290" fmla="*/ 66216 h 323799"/>
                <a:gd name="connsiteX291" fmla="*/ 130553 w 398937"/>
                <a:gd name="connsiteY291" fmla="*/ 64807 h 323799"/>
                <a:gd name="connsiteX292" fmla="*/ 132431 w 398937"/>
                <a:gd name="connsiteY292" fmla="*/ 63633 h 323799"/>
                <a:gd name="connsiteX293" fmla="*/ 133840 w 398937"/>
                <a:gd name="connsiteY293" fmla="*/ 61989 h 323799"/>
                <a:gd name="connsiteX294" fmla="*/ 134780 w 398937"/>
                <a:gd name="connsiteY294" fmla="*/ 61519 h 323799"/>
                <a:gd name="connsiteX295" fmla="*/ 143467 w 398937"/>
                <a:gd name="connsiteY295" fmla="*/ 56354 h 323799"/>
                <a:gd name="connsiteX296" fmla="*/ 145111 w 398937"/>
                <a:gd name="connsiteY296" fmla="*/ 55649 h 323799"/>
                <a:gd name="connsiteX297" fmla="*/ 146755 w 398937"/>
                <a:gd name="connsiteY297" fmla="*/ 55180 h 323799"/>
                <a:gd name="connsiteX298" fmla="*/ 147694 w 398937"/>
                <a:gd name="connsiteY298" fmla="*/ 55415 h 323799"/>
                <a:gd name="connsiteX299" fmla="*/ 148633 w 398937"/>
                <a:gd name="connsiteY299" fmla="*/ 55649 h 323799"/>
                <a:gd name="connsiteX300" fmla="*/ 149103 w 398937"/>
                <a:gd name="connsiteY300" fmla="*/ 56119 h 323799"/>
                <a:gd name="connsiteX301" fmla="*/ 149807 w 398937"/>
                <a:gd name="connsiteY301" fmla="*/ 56589 h 323799"/>
                <a:gd name="connsiteX302" fmla="*/ 150277 w 398937"/>
                <a:gd name="connsiteY302" fmla="*/ 57058 h 323799"/>
                <a:gd name="connsiteX303" fmla="*/ 151451 w 398937"/>
                <a:gd name="connsiteY303" fmla="*/ 58937 h 323799"/>
                <a:gd name="connsiteX304" fmla="*/ 154269 w 398937"/>
                <a:gd name="connsiteY304" fmla="*/ 61754 h 323799"/>
                <a:gd name="connsiteX305" fmla="*/ 154738 w 398937"/>
                <a:gd name="connsiteY305" fmla="*/ 62224 h 323799"/>
                <a:gd name="connsiteX306" fmla="*/ 155208 w 398937"/>
                <a:gd name="connsiteY306" fmla="*/ 63163 h 323799"/>
                <a:gd name="connsiteX307" fmla="*/ 157321 w 398937"/>
                <a:gd name="connsiteY307" fmla="*/ 70442 h 323799"/>
                <a:gd name="connsiteX308" fmla="*/ 157321 w 398937"/>
                <a:gd name="connsiteY308" fmla="*/ 71382 h 323799"/>
                <a:gd name="connsiteX309" fmla="*/ 157086 w 398937"/>
                <a:gd name="connsiteY309" fmla="*/ 72086 h 323799"/>
                <a:gd name="connsiteX310" fmla="*/ 156851 w 398937"/>
                <a:gd name="connsiteY310" fmla="*/ 73025 h 323799"/>
                <a:gd name="connsiteX311" fmla="*/ 155677 w 398937"/>
                <a:gd name="connsiteY311" fmla="*/ 74199 h 323799"/>
                <a:gd name="connsiteX312" fmla="*/ 155677 w 398937"/>
                <a:gd name="connsiteY312" fmla="*/ 74434 h 323799"/>
                <a:gd name="connsiteX313" fmla="*/ 155443 w 398937"/>
                <a:gd name="connsiteY313" fmla="*/ 74904 h 323799"/>
                <a:gd name="connsiteX314" fmla="*/ 155677 w 398937"/>
                <a:gd name="connsiteY314" fmla="*/ 75373 h 323799"/>
                <a:gd name="connsiteX315" fmla="*/ 156851 w 398937"/>
                <a:gd name="connsiteY315" fmla="*/ 79600 h 323799"/>
                <a:gd name="connsiteX316" fmla="*/ 157321 w 398937"/>
                <a:gd name="connsiteY316" fmla="*/ 84531 h 323799"/>
                <a:gd name="connsiteX317" fmla="*/ 157321 w 398937"/>
                <a:gd name="connsiteY317" fmla="*/ 84765 h 323799"/>
                <a:gd name="connsiteX318" fmla="*/ 158025 w 398937"/>
                <a:gd name="connsiteY318" fmla="*/ 85000 h 323799"/>
                <a:gd name="connsiteX319" fmla="*/ 159434 w 398937"/>
                <a:gd name="connsiteY319" fmla="*/ 85705 h 323799"/>
                <a:gd name="connsiteX320" fmla="*/ 162956 w 398937"/>
                <a:gd name="connsiteY320" fmla="*/ 86879 h 323799"/>
                <a:gd name="connsiteX321" fmla="*/ 164600 w 398937"/>
                <a:gd name="connsiteY321" fmla="*/ 87114 h 323799"/>
                <a:gd name="connsiteX322" fmla="*/ 165304 w 398937"/>
                <a:gd name="connsiteY322" fmla="*/ 87114 h 323799"/>
                <a:gd name="connsiteX323" fmla="*/ 165774 w 398937"/>
                <a:gd name="connsiteY323" fmla="*/ 87114 h 323799"/>
                <a:gd name="connsiteX324" fmla="*/ 166244 w 398937"/>
                <a:gd name="connsiteY324" fmla="*/ 86644 h 323799"/>
                <a:gd name="connsiteX325" fmla="*/ 166713 w 398937"/>
                <a:gd name="connsiteY325" fmla="*/ 86409 h 323799"/>
                <a:gd name="connsiteX326" fmla="*/ 168592 w 398937"/>
                <a:gd name="connsiteY326" fmla="*/ 85000 h 323799"/>
                <a:gd name="connsiteX327" fmla="*/ 169296 w 398937"/>
                <a:gd name="connsiteY327" fmla="*/ 84061 h 323799"/>
                <a:gd name="connsiteX328" fmla="*/ 171175 w 398937"/>
                <a:gd name="connsiteY328" fmla="*/ 81478 h 323799"/>
                <a:gd name="connsiteX329" fmla="*/ 172114 w 398937"/>
                <a:gd name="connsiteY329" fmla="*/ 80539 h 323799"/>
                <a:gd name="connsiteX330" fmla="*/ 175871 w 398937"/>
                <a:gd name="connsiteY330" fmla="*/ 77252 h 323799"/>
                <a:gd name="connsiteX331" fmla="*/ 176340 w 398937"/>
                <a:gd name="connsiteY331" fmla="*/ 76782 h 323799"/>
                <a:gd name="connsiteX332" fmla="*/ 177280 w 398937"/>
                <a:gd name="connsiteY332" fmla="*/ 76312 h 323799"/>
                <a:gd name="connsiteX333" fmla="*/ 178688 w 398937"/>
                <a:gd name="connsiteY333" fmla="*/ 75608 h 323799"/>
                <a:gd name="connsiteX334" fmla="*/ 179863 w 398937"/>
                <a:gd name="connsiteY334" fmla="*/ 75843 h 323799"/>
                <a:gd name="connsiteX335" fmla="*/ 180802 w 398937"/>
                <a:gd name="connsiteY335" fmla="*/ 76078 h 323799"/>
                <a:gd name="connsiteX336" fmla="*/ 181741 w 398937"/>
                <a:gd name="connsiteY336" fmla="*/ 77017 h 323799"/>
                <a:gd name="connsiteX337" fmla="*/ 182445 w 398937"/>
                <a:gd name="connsiteY337" fmla="*/ 77486 h 323799"/>
                <a:gd name="connsiteX338" fmla="*/ 183385 w 398937"/>
                <a:gd name="connsiteY338" fmla="*/ 77956 h 323799"/>
                <a:gd name="connsiteX339" fmla="*/ 185498 w 398937"/>
                <a:gd name="connsiteY339" fmla="*/ 78426 h 323799"/>
                <a:gd name="connsiteX340" fmla="*/ 186202 w 398937"/>
                <a:gd name="connsiteY340" fmla="*/ 78191 h 323799"/>
                <a:gd name="connsiteX341" fmla="*/ 186907 w 398937"/>
                <a:gd name="connsiteY341" fmla="*/ 78191 h 323799"/>
                <a:gd name="connsiteX342" fmla="*/ 187142 w 398937"/>
                <a:gd name="connsiteY342" fmla="*/ 77956 h 323799"/>
                <a:gd name="connsiteX343" fmla="*/ 188316 w 398937"/>
                <a:gd name="connsiteY343" fmla="*/ 76782 h 323799"/>
                <a:gd name="connsiteX344" fmla="*/ 189020 w 398937"/>
                <a:gd name="connsiteY344" fmla="*/ 76312 h 323799"/>
                <a:gd name="connsiteX345" fmla="*/ 189255 w 398937"/>
                <a:gd name="connsiteY345" fmla="*/ 76078 h 323799"/>
                <a:gd name="connsiteX346" fmla="*/ 189724 w 398937"/>
                <a:gd name="connsiteY346" fmla="*/ 75608 h 323799"/>
                <a:gd name="connsiteX347" fmla="*/ 194890 w 398937"/>
                <a:gd name="connsiteY347" fmla="*/ 71147 h 323799"/>
                <a:gd name="connsiteX348" fmla="*/ 195595 w 398937"/>
                <a:gd name="connsiteY348" fmla="*/ 70442 h 323799"/>
                <a:gd name="connsiteX349" fmla="*/ 196299 w 398937"/>
                <a:gd name="connsiteY349" fmla="*/ 69503 h 323799"/>
                <a:gd name="connsiteX350" fmla="*/ 197238 w 398937"/>
                <a:gd name="connsiteY350" fmla="*/ 68564 h 323799"/>
                <a:gd name="connsiteX351" fmla="*/ 198882 w 398937"/>
                <a:gd name="connsiteY351" fmla="*/ 67390 h 323799"/>
                <a:gd name="connsiteX352" fmla="*/ 198882 w 398937"/>
                <a:gd name="connsiteY352" fmla="*/ 67155 h 323799"/>
                <a:gd name="connsiteX353" fmla="*/ 198882 w 398937"/>
                <a:gd name="connsiteY353" fmla="*/ 67155 h 323799"/>
                <a:gd name="connsiteX354" fmla="*/ 198882 w 398937"/>
                <a:gd name="connsiteY354" fmla="*/ 66920 h 323799"/>
                <a:gd name="connsiteX355" fmla="*/ 197943 w 398937"/>
                <a:gd name="connsiteY355" fmla="*/ 64572 h 323799"/>
                <a:gd name="connsiteX356" fmla="*/ 197708 w 398937"/>
                <a:gd name="connsiteY356" fmla="*/ 63398 h 323799"/>
                <a:gd name="connsiteX357" fmla="*/ 198178 w 398937"/>
                <a:gd name="connsiteY357" fmla="*/ 62459 h 323799"/>
                <a:gd name="connsiteX358" fmla="*/ 198647 w 398937"/>
                <a:gd name="connsiteY358" fmla="*/ 61989 h 323799"/>
                <a:gd name="connsiteX359" fmla="*/ 198882 w 398937"/>
                <a:gd name="connsiteY359" fmla="*/ 61754 h 323799"/>
                <a:gd name="connsiteX360" fmla="*/ 198882 w 398937"/>
                <a:gd name="connsiteY360" fmla="*/ 61754 h 323799"/>
                <a:gd name="connsiteX361" fmla="*/ 198882 w 398937"/>
                <a:gd name="connsiteY361" fmla="*/ 61519 h 323799"/>
                <a:gd name="connsiteX362" fmla="*/ 198882 w 398937"/>
                <a:gd name="connsiteY362" fmla="*/ 61285 h 323799"/>
                <a:gd name="connsiteX363" fmla="*/ 198647 w 398937"/>
                <a:gd name="connsiteY363" fmla="*/ 60815 h 323799"/>
                <a:gd name="connsiteX364" fmla="*/ 197943 w 398937"/>
                <a:gd name="connsiteY364" fmla="*/ 60345 h 323799"/>
                <a:gd name="connsiteX365" fmla="*/ 197004 w 398937"/>
                <a:gd name="connsiteY365" fmla="*/ 59641 h 323799"/>
                <a:gd name="connsiteX366" fmla="*/ 196299 w 398937"/>
                <a:gd name="connsiteY366" fmla="*/ 59171 h 323799"/>
                <a:gd name="connsiteX367" fmla="*/ 195829 w 398937"/>
                <a:gd name="connsiteY367" fmla="*/ 57997 h 323799"/>
                <a:gd name="connsiteX368" fmla="*/ 196064 w 398937"/>
                <a:gd name="connsiteY368" fmla="*/ 57058 h 323799"/>
                <a:gd name="connsiteX369" fmla="*/ 196534 w 398937"/>
                <a:gd name="connsiteY369" fmla="*/ 56119 h 323799"/>
                <a:gd name="connsiteX370" fmla="*/ 196769 w 398937"/>
                <a:gd name="connsiteY370" fmla="*/ 55649 h 323799"/>
                <a:gd name="connsiteX371" fmla="*/ 197473 w 398937"/>
                <a:gd name="connsiteY371" fmla="*/ 54945 h 323799"/>
                <a:gd name="connsiteX372" fmla="*/ 198412 w 398937"/>
                <a:gd name="connsiteY372" fmla="*/ 54475 h 323799"/>
                <a:gd name="connsiteX373" fmla="*/ 202169 w 398937"/>
                <a:gd name="connsiteY373" fmla="*/ 53066 h 323799"/>
                <a:gd name="connsiteX374" fmla="*/ 202874 w 398937"/>
                <a:gd name="connsiteY374" fmla="*/ 52597 h 323799"/>
                <a:gd name="connsiteX375" fmla="*/ 206631 w 398937"/>
                <a:gd name="connsiteY375" fmla="*/ 49544 h 323799"/>
                <a:gd name="connsiteX376" fmla="*/ 208274 w 398937"/>
                <a:gd name="connsiteY376" fmla="*/ 47901 h 323799"/>
                <a:gd name="connsiteX377" fmla="*/ 208979 w 398937"/>
                <a:gd name="connsiteY377" fmla="*/ 47431 h 323799"/>
                <a:gd name="connsiteX378" fmla="*/ 210387 w 398937"/>
                <a:gd name="connsiteY378" fmla="*/ 46257 h 323799"/>
                <a:gd name="connsiteX379" fmla="*/ 211562 w 398937"/>
                <a:gd name="connsiteY379" fmla="*/ 46022 h 323799"/>
                <a:gd name="connsiteX380" fmla="*/ 212736 w 398937"/>
                <a:gd name="connsiteY380" fmla="*/ 46257 h 323799"/>
                <a:gd name="connsiteX381" fmla="*/ 215084 w 398937"/>
                <a:gd name="connsiteY381" fmla="*/ 47901 h 323799"/>
                <a:gd name="connsiteX382" fmla="*/ 215553 w 398937"/>
                <a:gd name="connsiteY382" fmla="*/ 48136 h 323799"/>
                <a:gd name="connsiteX383" fmla="*/ 215553 w 398937"/>
                <a:gd name="connsiteY383" fmla="*/ 48136 h 323799"/>
                <a:gd name="connsiteX384" fmla="*/ 215788 w 398937"/>
                <a:gd name="connsiteY384" fmla="*/ 47196 h 323799"/>
                <a:gd name="connsiteX385" fmla="*/ 216258 w 398937"/>
                <a:gd name="connsiteY385" fmla="*/ 46257 h 323799"/>
                <a:gd name="connsiteX386" fmla="*/ 221423 w 398937"/>
                <a:gd name="connsiteY386" fmla="*/ 42970 h 323799"/>
                <a:gd name="connsiteX387" fmla="*/ 222598 w 398937"/>
                <a:gd name="connsiteY387" fmla="*/ 42970 h 323799"/>
                <a:gd name="connsiteX388" fmla="*/ 223537 w 398937"/>
                <a:gd name="connsiteY388" fmla="*/ 42970 h 323799"/>
                <a:gd name="connsiteX389" fmla="*/ 224946 w 398937"/>
                <a:gd name="connsiteY389" fmla="*/ 43674 h 323799"/>
                <a:gd name="connsiteX390" fmla="*/ 225180 w 398937"/>
                <a:gd name="connsiteY390" fmla="*/ 43909 h 323799"/>
                <a:gd name="connsiteX391" fmla="*/ 225180 w 398937"/>
                <a:gd name="connsiteY391" fmla="*/ 43909 h 323799"/>
                <a:gd name="connsiteX392" fmla="*/ 225180 w 398937"/>
                <a:gd name="connsiteY392" fmla="*/ 43674 h 323799"/>
                <a:gd name="connsiteX393" fmla="*/ 225415 w 398937"/>
                <a:gd name="connsiteY393" fmla="*/ 43439 h 323799"/>
                <a:gd name="connsiteX394" fmla="*/ 225650 w 398937"/>
                <a:gd name="connsiteY394" fmla="*/ 43205 h 323799"/>
                <a:gd name="connsiteX395" fmla="*/ 226120 w 398937"/>
                <a:gd name="connsiteY395" fmla="*/ 42735 h 323799"/>
                <a:gd name="connsiteX396" fmla="*/ 227763 w 398937"/>
                <a:gd name="connsiteY396" fmla="*/ 41326 h 323799"/>
                <a:gd name="connsiteX397" fmla="*/ 228703 w 398937"/>
                <a:gd name="connsiteY397" fmla="*/ 41091 h 323799"/>
                <a:gd name="connsiteX398" fmla="*/ 229877 w 398937"/>
                <a:gd name="connsiteY398" fmla="*/ 41326 h 323799"/>
                <a:gd name="connsiteX399" fmla="*/ 231520 w 398937"/>
                <a:gd name="connsiteY399" fmla="*/ 42500 h 323799"/>
                <a:gd name="connsiteX400" fmla="*/ 232459 w 398937"/>
                <a:gd name="connsiteY400" fmla="*/ 42970 h 323799"/>
                <a:gd name="connsiteX401" fmla="*/ 233164 w 398937"/>
                <a:gd name="connsiteY401" fmla="*/ 43205 h 323799"/>
                <a:gd name="connsiteX402" fmla="*/ 233399 w 398937"/>
                <a:gd name="connsiteY402" fmla="*/ 43205 h 323799"/>
                <a:gd name="connsiteX403" fmla="*/ 233868 w 398937"/>
                <a:gd name="connsiteY403" fmla="*/ 42970 h 323799"/>
                <a:gd name="connsiteX404" fmla="*/ 236686 w 398937"/>
                <a:gd name="connsiteY404" fmla="*/ 40857 h 323799"/>
                <a:gd name="connsiteX405" fmla="*/ 238095 w 398937"/>
                <a:gd name="connsiteY405" fmla="*/ 39683 h 323799"/>
                <a:gd name="connsiteX406" fmla="*/ 238330 w 398937"/>
                <a:gd name="connsiteY406" fmla="*/ 39447 h 323799"/>
                <a:gd name="connsiteX407" fmla="*/ 238564 w 398937"/>
                <a:gd name="connsiteY407" fmla="*/ 38978 h 323799"/>
                <a:gd name="connsiteX408" fmla="*/ 238564 w 398937"/>
                <a:gd name="connsiteY408" fmla="*/ 38978 h 323799"/>
                <a:gd name="connsiteX409" fmla="*/ 238799 w 398937"/>
                <a:gd name="connsiteY409" fmla="*/ 38743 h 323799"/>
                <a:gd name="connsiteX410" fmla="*/ 238330 w 398937"/>
                <a:gd name="connsiteY410" fmla="*/ 38039 h 323799"/>
                <a:gd name="connsiteX411" fmla="*/ 235512 w 398937"/>
                <a:gd name="connsiteY411" fmla="*/ 34047 h 323799"/>
                <a:gd name="connsiteX412" fmla="*/ 235042 w 398937"/>
                <a:gd name="connsiteY412" fmla="*/ 34047 h 323799"/>
                <a:gd name="connsiteX413" fmla="*/ 234808 w 398937"/>
                <a:gd name="connsiteY413" fmla="*/ 33812 h 323799"/>
                <a:gd name="connsiteX414" fmla="*/ 233868 w 398937"/>
                <a:gd name="connsiteY414" fmla="*/ 34047 h 323799"/>
                <a:gd name="connsiteX415" fmla="*/ 233164 w 398937"/>
                <a:gd name="connsiteY415" fmla="*/ 34282 h 323799"/>
                <a:gd name="connsiteX416" fmla="*/ 229642 w 398937"/>
                <a:gd name="connsiteY416" fmla="*/ 35456 h 323799"/>
                <a:gd name="connsiteX417" fmla="*/ 228703 w 398937"/>
                <a:gd name="connsiteY417" fmla="*/ 35691 h 323799"/>
                <a:gd name="connsiteX418" fmla="*/ 227763 w 398937"/>
                <a:gd name="connsiteY418" fmla="*/ 35691 h 323799"/>
                <a:gd name="connsiteX419" fmla="*/ 226824 w 398937"/>
                <a:gd name="connsiteY419" fmla="*/ 35456 h 323799"/>
                <a:gd name="connsiteX420" fmla="*/ 225885 w 398937"/>
                <a:gd name="connsiteY420" fmla="*/ 34986 h 323799"/>
                <a:gd name="connsiteX421" fmla="*/ 223537 w 398937"/>
                <a:gd name="connsiteY421" fmla="*/ 31934 h 323799"/>
                <a:gd name="connsiteX422" fmla="*/ 223067 w 398937"/>
                <a:gd name="connsiteY422" fmla="*/ 30994 h 323799"/>
                <a:gd name="connsiteX423" fmla="*/ 223302 w 398937"/>
                <a:gd name="connsiteY423" fmla="*/ 29820 h 323799"/>
                <a:gd name="connsiteX424" fmla="*/ 223772 w 398937"/>
                <a:gd name="connsiteY424" fmla="*/ 29116 h 323799"/>
                <a:gd name="connsiteX425" fmla="*/ 224711 w 398937"/>
                <a:gd name="connsiteY425" fmla="*/ 28412 h 323799"/>
                <a:gd name="connsiteX426" fmla="*/ 227763 w 398937"/>
                <a:gd name="connsiteY426" fmla="*/ 26533 h 323799"/>
                <a:gd name="connsiteX427" fmla="*/ 229172 w 398937"/>
                <a:gd name="connsiteY427" fmla="*/ 26064 h 323799"/>
                <a:gd name="connsiteX428" fmla="*/ 230346 w 398937"/>
                <a:gd name="connsiteY428" fmla="*/ 26298 h 323799"/>
                <a:gd name="connsiteX429" fmla="*/ 231051 w 398937"/>
                <a:gd name="connsiteY429" fmla="*/ 26533 h 323799"/>
                <a:gd name="connsiteX430" fmla="*/ 231285 w 398937"/>
                <a:gd name="connsiteY430" fmla="*/ 26768 h 323799"/>
                <a:gd name="connsiteX431" fmla="*/ 233868 w 398937"/>
                <a:gd name="connsiteY431" fmla="*/ 26533 h 323799"/>
                <a:gd name="connsiteX432" fmla="*/ 234808 w 398937"/>
                <a:gd name="connsiteY432" fmla="*/ 26533 h 323799"/>
                <a:gd name="connsiteX433" fmla="*/ 235982 w 398937"/>
                <a:gd name="connsiteY433" fmla="*/ 27238 h 323799"/>
                <a:gd name="connsiteX434" fmla="*/ 236216 w 398937"/>
                <a:gd name="connsiteY434" fmla="*/ 27238 h 323799"/>
                <a:gd name="connsiteX435" fmla="*/ 236216 w 398937"/>
                <a:gd name="connsiteY435" fmla="*/ 27238 h 323799"/>
                <a:gd name="connsiteX436" fmla="*/ 236216 w 398937"/>
                <a:gd name="connsiteY436" fmla="*/ 27003 h 323799"/>
                <a:gd name="connsiteX437" fmla="*/ 236216 w 398937"/>
                <a:gd name="connsiteY437" fmla="*/ 27003 h 323799"/>
                <a:gd name="connsiteX438" fmla="*/ 233399 w 398937"/>
                <a:gd name="connsiteY438" fmla="*/ 23950 h 323799"/>
                <a:gd name="connsiteX439" fmla="*/ 232929 w 398937"/>
                <a:gd name="connsiteY439" fmla="*/ 23011 h 323799"/>
                <a:gd name="connsiteX440" fmla="*/ 232929 w 398937"/>
                <a:gd name="connsiteY440" fmla="*/ 21837 h 323799"/>
                <a:gd name="connsiteX441" fmla="*/ 233164 w 398937"/>
                <a:gd name="connsiteY441" fmla="*/ 21133 h 323799"/>
                <a:gd name="connsiteX442" fmla="*/ 233633 w 398937"/>
                <a:gd name="connsiteY442" fmla="*/ 20428 h 323799"/>
                <a:gd name="connsiteX443" fmla="*/ 234338 w 398937"/>
                <a:gd name="connsiteY443" fmla="*/ 19724 h 323799"/>
                <a:gd name="connsiteX444" fmla="*/ 234808 w 398937"/>
                <a:gd name="connsiteY444" fmla="*/ 19489 h 323799"/>
                <a:gd name="connsiteX445" fmla="*/ 235982 w 398937"/>
                <a:gd name="connsiteY445" fmla="*/ 18315 h 323799"/>
                <a:gd name="connsiteX446" fmla="*/ 238564 w 398937"/>
                <a:gd name="connsiteY446" fmla="*/ 14558 h 323799"/>
                <a:gd name="connsiteX447" fmla="*/ 240208 w 398937"/>
                <a:gd name="connsiteY447" fmla="*/ 13149 h 323799"/>
                <a:gd name="connsiteX448" fmla="*/ 244435 w 398937"/>
                <a:gd name="connsiteY448" fmla="*/ 10801 h 323799"/>
                <a:gd name="connsiteX449" fmla="*/ 247017 w 398937"/>
                <a:gd name="connsiteY449" fmla="*/ 9158 h 323799"/>
                <a:gd name="connsiteX450" fmla="*/ 247957 w 398937"/>
                <a:gd name="connsiteY450" fmla="*/ 8218 h 323799"/>
                <a:gd name="connsiteX451" fmla="*/ 253357 w 398937"/>
                <a:gd name="connsiteY451" fmla="*/ 2583 h 323799"/>
                <a:gd name="connsiteX452" fmla="*/ 254766 w 398937"/>
                <a:gd name="connsiteY452" fmla="*/ 1409 h 323799"/>
                <a:gd name="connsiteX453" fmla="*/ 256410 w 398937"/>
                <a:gd name="connsiteY453" fmla="*/ 235 h 323799"/>
                <a:gd name="connsiteX454" fmla="*/ 257584 w 398937"/>
                <a:gd name="connsiteY454" fmla="*/ 0 h 323799"/>
                <a:gd name="connsiteX455" fmla="*/ 258758 w 398937"/>
                <a:gd name="connsiteY455" fmla="*/ 0 h 323799"/>
                <a:gd name="connsiteX456" fmla="*/ 259697 w 398937"/>
                <a:gd name="connsiteY456" fmla="*/ 470 h 323799"/>
                <a:gd name="connsiteX457" fmla="*/ 260402 w 398937"/>
                <a:gd name="connsiteY457" fmla="*/ 1174 h 323799"/>
                <a:gd name="connsiteX458" fmla="*/ 261341 w 398937"/>
                <a:gd name="connsiteY458" fmla="*/ 2583 h 323799"/>
                <a:gd name="connsiteX459" fmla="*/ 262045 w 398937"/>
                <a:gd name="connsiteY459" fmla="*/ 4226 h 323799"/>
                <a:gd name="connsiteX460" fmla="*/ 262280 w 398937"/>
                <a:gd name="connsiteY460" fmla="*/ 8218 h 323799"/>
                <a:gd name="connsiteX461" fmla="*/ 262515 w 398937"/>
                <a:gd name="connsiteY461" fmla="*/ 9392 h 323799"/>
                <a:gd name="connsiteX462" fmla="*/ 265098 w 398937"/>
                <a:gd name="connsiteY462" fmla="*/ 14088 h 323799"/>
                <a:gd name="connsiteX463" fmla="*/ 265333 w 398937"/>
                <a:gd name="connsiteY463" fmla="*/ 14088 h 323799"/>
                <a:gd name="connsiteX464" fmla="*/ 266507 w 398937"/>
                <a:gd name="connsiteY464" fmla="*/ 14558 h 323799"/>
                <a:gd name="connsiteX465" fmla="*/ 268150 w 398937"/>
                <a:gd name="connsiteY465" fmla="*/ 14793 h 323799"/>
                <a:gd name="connsiteX466" fmla="*/ 270498 w 398937"/>
                <a:gd name="connsiteY466" fmla="*/ 15497 h 323799"/>
                <a:gd name="connsiteX467" fmla="*/ 271203 w 398937"/>
                <a:gd name="connsiteY467" fmla="*/ 15967 h 323799"/>
                <a:gd name="connsiteX468" fmla="*/ 272377 w 398937"/>
                <a:gd name="connsiteY468" fmla="*/ 16671 h 323799"/>
                <a:gd name="connsiteX469" fmla="*/ 273316 w 398937"/>
                <a:gd name="connsiteY469" fmla="*/ 17845 h 323799"/>
                <a:gd name="connsiteX470" fmla="*/ 273786 w 398937"/>
                <a:gd name="connsiteY470" fmla="*/ 18315 h 323799"/>
                <a:gd name="connsiteX471" fmla="*/ 274490 w 398937"/>
                <a:gd name="connsiteY471" fmla="*/ 20193 h 323799"/>
                <a:gd name="connsiteX472" fmla="*/ 275664 w 398937"/>
                <a:gd name="connsiteY472" fmla="*/ 32873 h 323799"/>
                <a:gd name="connsiteX473" fmla="*/ 275664 w 398937"/>
                <a:gd name="connsiteY473" fmla="*/ 33343 h 323799"/>
                <a:gd name="connsiteX474" fmla="*/ 275429 w 398937"/>
                <a:gd name="connsiteY474" fmla="*/ 34047 h 323799"/>
                <a:gd name="connsiteX475" fmla="*/ 275429 w 398937"/>
                <a:gd name="connsiteY475" fmla="*/ 34517 h 323799"/>
                <a:gd name="connsiteX476" fmla="*/ 275664 w 398937"/>
                <a:gd name="connsiteY476" fmla="*/ 34751 h 323799"/>
                <a:gd name="connsiteX477" fmla="*/ 275899 w 398937"/>
                <a:gd name="connsiteY477" fmla="*/ 35221 h 323799"/>
                <a:gd name="connsiteX478" fmla="*/ 275899 w 398937"/>
                <a:gd name="connsiteY478" fmla="*/ 35221 h 323799"/>
                <a:gd name="connsiteX479" fmla="*/ 276134 w 398937"/>
                <a:gd name="connsiteY479" fmla="*/ 35221 h 323799"/>
                <a:gd name="connsiteX480" fmla="*/ 276368 w 398937"/>
                <a:gd name="connsiteY480" fmla="*/ 35221 h 323799"/>
                <a:gd name="connsiteX481" fmla="*/ 276368 w 398937"/>
                <a:gd name="connsiteY481" fmla="*/ 35221 h 323799"/>
                <a:gd name="connsiteX482" fmla="*/ 276368 w 398937"/>
                <a:gd name="connsiteY482" fmla="*/ 34751 h 323799"/>
                <a:gd name="connsiteX483" fmla="*/ 276134 w 398937"/>
                <a:gd name="connsiteY483" fmla="*/ 32169 h 323799"/>
                <a:gd name="connsiteX484" fmla="*/ 276134 w 398937"/>
                <a:gd name="connsiteY484" fmla="*/ 31464 h 323799"/>
                <a:gd name="connsiteX485" fmla="*/ 276368 w 398937"/>
                <a:gd name="connsiteY485" fmla="*/ 30760 h 323799"/>
                <a:gd name="connsiteX486" fmla="*/ 276838 w 398937"/>
                <a:gd name="connsiteY486" fmla="*/ 30055 h 323799"/>
                <a:gd name="connsiteX487" fmla="*/ 277308 w 398937"/>
                <a:gd name="connsiteY487" fmla="*/ 29586 h 323799"/>
                <a:gd name="connsiteX488" fmla="*/ 278247 w 398937"/>
                <a:gd name="connsiteY488" fmla="*/ 29116 h 323799"/>
                <a:gd name="connsiteX489" fmla="*/ 279186 w 398937"/>
                <a:gd name="connsiteY489" fmla="*/ 28881 h 323799"/>
                <a:gd name="connsiteX490" fmla="*/ 282004 w 398937"/>
                <a:gd name="connsiteY490" fmla="*/ 29116 h 323799"/>
                <a:gd name="connsiteX491" fmla="*/ 283178 w 398937"/>
                <a:gd name="connsiteY491" fmla="*/ 29351 h 323799"/>
                <a:gd name="connsiteX492" fmla="*/ 284352 w 398937"/>
                <a:gd name="connsiteY492" fmla="*/ 30055 h 323799"/>
                <a:gd name="connsiteX493" fmla="*/ 284587 w 398937"/>
                <a:gd name="connsiteY493" fmla="*/ 31229 h 323799"/>
                <a:gd name="connsiteX494" fmla="*/ 284822 w 398937"/>
                <a:gd name="connsiteY494" fmla="*/ 32638 h 323799"/>
                <a:gd name="connsiteX495" fmla="*/ 284822 w 398937"/>
                <a:gd name="connsiteY495" fmla="*/ 33108 h 323799"/>
                <a:gd name="connsiteX496" fmla="*/ 285291 w 398937"/>
                <a:gd name="connsiteY496" fmla="*/ 33812 h 323799"/>
                <a:gd name="connsiteX497" fmla="*/ 285526 w 398937"/>
                <a:gd name="connsiteY497" fmla="*/ 33812 h 323799"/>
                <a:gd name="connsiteX498" fmla="*/ 285526 w 398937"/>
                <a:gd name="connsiteY498" fmla="*/ 33812 h 323799"/>
                <a:gd name="connsiteX499" fmla="*/ 285996 w 398937"/>
                <a:gd name="connsiteY499" fmla="*/ 33812 h 323799"/>
                <a:gd name="connsiteX500" fmla="*/ 286700 w 398937"/>
                <a:gd name="connsiteY500" fmla="*/ 33343 h 323799"/>
                <a:gd name="connsiteX501" fmla="*/ 287639 w 398937"/>
                <a:gd name="connsiteY501" fmla="*/ 33108 h 323799"/>
                <a:gd name="connsiteX502" fmla="*/ 289283 w 398937"/>
                <a:gd name="connsiteY502" fmla="*/ 32638 h 323799"/>
                <a:gd name="connsiteX503" fmla="*/ 290457 w 398937"/>
                <a:gd name="connsiteY503" fmla="*/ 32873 h 323799"/>
                <a:gd name="connsiteX504" fmla="*/ 291396 w 398937"/>
                <a:gd name="connsiteY504" fmla="*/ 33108 h 323799"/>
                <a:gd name="connsiteX505" fmla="*/ 292101 w 398937"/>
                <a:gd name="connsiteY505" fmla="*/ 33812 h 323799"/>
                <a:gd name="connsiteX506" fmla="*/ 292570 w 398937"/>
                <a:gd name="connsiteY506" fmla="*/ 34517 h 323799"/>
                <a:gd name="connsiteX507" fmla="*/ 293040 w 398937"/>
                <a:gd name="connsiteY507" fmla="*/ 35456 h 323799"/>
                <a:gd name="connsiteX508" fmla="*/ 293275 w 398937"/>
                <a:gd name="connsiteY508" fmla="*/ 36395 h 323799"/>
                <a:gd name="connsiteX509" fmla="*/ 293040 w 398937"/>
                <a:gd name="connsiteY509" fmla="*/ 37334 h 323799"/>
                <a:gd name="connsiteX510" fmla="*/ 292335 w 398937"/>
                <a:gd name="connsiteY510" fmla="*/ 38978 h 323799"/>
                <a:gd name="connsiteX511" fmla="*/ 292335 w 398937"/>
                <a:gd name="connsiteY511" fmla="*/ 39447 h 323799"/>
                <a:gd name="connsiteX512" fmla="*/ 292101 w 398937"/>
                <a:gd name="connsiteY512" fmla="*/ 39917 h 323799"/>
                <a:gd name="connsiteX513" fmla="*/ 292101 w 398937"/>
                <a:gd name="connsiteY513" fmla="*/ 40152 h 323799"/>
                <a:gd name="connsiteX514" fmla="*/ 292335 w 398937"/>
                <a:gd name="connsiteY514" fmla="*/ 40857 h 323799"/>
                <a:gd name="connsiteX515" fmla="*/ 292335 w 398937"/>
                <a:gd name="connsiteY515" fmla="*/ 41091 h 323799"/>
                <a:gd name="connsiteX516" fmla="*/ 292805 w 398937"/>
                <a:gd name="connsiteY516" fmla="*/ 41796 h 323799"/>
                <a:gd name="connsiteX517" fmla="*/ 294683 w 398937"/>
                <a:gd name="connsiteY517" fmla="*/ 43205 h 323799"/>
                <a:gd name="connsiteX518" fmla="*/ 295153 w 398937"/>
                <a:gd name="connsiteY518" fmla="*/ 43439 h 323799"/>
                <a:gd name="connsiteX519" fmla="*/ 295153 w 398937"/>
                <a:gd name="connsiteY519" fmla="*/ 43674 h 323799"/>
                <a:gd name="connsiteX520" fmla="*/ 295388 w 398937"/>
                <a:gd name="connsiteY520" fmla="*/ 43439 h 323799"/>
                <a:gd name="connsiteX521" fmla="*/ 297501 w 398937"/>
                <a:gd name="connsiteY521" fmla="*/ 41561 h 323799"/>
                <a:gd name="connsiteX522" fmla="*/ 298440 w 398937"/>
                <a:gd name="connsiteY522" fmla="*/ 41091 h 323799"/>
                <a:gd name="connsiteX523" fmla="*/ 299614 w 398937"/>
                <a:gd name="connsiteY523" fmla="*/ 40622 h 323799"/>
                <a:gd name="connsiteX524" fmla="*/ 301258 w 398937"/>
                <a:gd name="connsiteY524" fmla="*/ 40622 h 323799"/>
                <a:gd name="connsiteX525" fmla="*/ 302432 w 398937"/>
                <a:gd name="connsiteY525" fmla="*/ 41091 h 323799"/>
                <a:gd name="connsiteX526" fmla="*/ 302902 w 398937"/>
                <a:gd name="connsiteY526" fmla="*/ 41796 h 323799"/>
                <a:gd name="connsiteX527" fmla="*/ 303136 w 398937"/>
                <a:gd name="connsiteY527" fmla="*/ 41796 h 323799"/>
                <a:gd name="connsiteX528" fmla="*/ 303371 w 398937"/>
                <a:gd name="connsiteY528" fmla="*/ 41796 h 323799"/>
                <a:gd name="connsiteX529" fmla="*/ 304780 w 398937"/>
                <a:gd name="connsiteY529" fmla="*/ 41561 h 323799"/>
                <a:gd name="connsiteX530" fmla="*/ 306893 w 398937"/>
                <a:gd name="connsiteY530" fmla="*/ 41091 h 323799"/>
                <a:gd name="connsiteX531" fmla="*/ 307833 w 398937"/>
                <a:gd name="connsiteY531" fmla="*/ 41326 h 323799"/>
                <a:gd name="connsiteX532" fmla="*/ 312998 w 398937"/>
                <a:gd name="connsiteY532" fmla="*/ 43439 h 323799"/>
                <a:gd name="connsiteX533" fmla="*/ 314172 w 398937"/>
                <a:gd name="connsiteY533" fmla="*/ 44144 h 323799"/>
                <a:gd name="connsiteX534" fmla="*/ 316051 w 398937"/>
                <a:gd name="connsiteY534" fmla="*/ 46727 h 323799"/>
                <a:gd name="connsiteX535" fmla="*/ 316755 w 398937"/>
                <a:gd name="connsiteY535" fmla="*/ 47431 h 323799"/>
                <a:gd name="connsiteX536" fmla="*/ 317225 w 398937"/>
                <a:gd name="connsiteY536" fmla="*/ 47666 h 323799"/>
                <a:gd name="connsiteX537" fmla="*/ 317225 w 398937"/>
                <a:gd name="connsiteY537" fmla="*/ 47666 h 323799"/>
                <a:gd name="connsiteX538" fmla="*/ 317460 w 398937"/>
                <a:gd name="connsiteY538" fmla="*/ 47666 h 323799"/>
                <a:gd name="connsiteX539" fmla="*/ 317695 w 398937"/>
                <a:gd name="connsiteY539" fmla="*/ 47196 h 323799"/>
                <a:gd name="connsiteX540" fmla="*/ 317929 w 398937"/>
                <a:gd name="connsiteY540" fmla="*/ 46962 h 323799"/>
                <a:gd name="connsiteX541" fmla="*/ 318399 w 398937"/>
                <a:gd name="connsiteY541" fmla="*/ 46022 h 323799"/>
                <a:gd name="connsiteX542" fmla="*/ 318634 w 398937"/>
                <a:gd name="connsiteY542" fmla="*/ 45318 h 323799"/>
                <a:gd name="connsiteX543" fmla="*/ 319338 w 398937"/>
                <a:gd name="connsiteY543" fmla="*/ 44613 h 323799"/>
                <a:gd name="connsiteX544" fmla="*/ 320043 w 398937"/>
                <a:gd name="connsiteY544" fmla="*/ 44379 h 323799"/>
                <a:gd name="connsiteX545" fmla="*/ 321452 w 398937"/>
                <a:gd name="connsiteY545" fmla="*/ 43674 h 323799"/>
                <a:gd name="connsiteX546" fmla="*/ 321686 w 398937"/>
                <a:gd name="connsiteY546" fmla="*/ 43674 h 323799"/>
                <a:gd name="connsiteX547" fmla="*/ 321686 w 398937"/>
                <a:gd name="connsiteY547" fmla="*/ 42500 h 323799"/>
                <a:gd name="connsiteX548" fmla="*/ 321921 w 398937"/>
                <a:gd name="connsiteY548" fmla="*/ 41561 h 323799"/>
                <a:gd name="connsiteX549" fmla="*/ 322860 w 398937"/>
                <a:gd name="connsiteY549" fmla="*/ 40857 h 323799"/>
                <a:gd name="connsiteX550" fmla="*/ 323800 w 398937"/>
                <a:gd name="connsiteY550" fmla="*/ 40387 h 323799"/>
                <a:gd name="connsiteX551" fmla="*/ 327791 w 398937"/>
                <a:gd name="connsiteY551" fmla="*/ 40152 h 323799"/>
                <a:gd name="connsiteX552" fmla="*/ 328965 w 398937"/>
                <a:gd name="connsiteY552" fmla="*/ 40387 h 323799"/>
                <a:gd name="connsiteX553" fmla="*/ 330139 w 398937"/>
                <a:gd name="connsiteY553" fmla="*/ 40622 h 323799"/>
                <a:gd name="connsiteX554" fmla="*/ 332487 w 398937"/>
                <a:gd name="connsiteY554" fmla="*/ 42500 h 323799"/>
                <a:gd name="connsiteX555" fmla="*/ 332957 w 398937"/>
                <a:gd name="connsiteY555" fmla="*/ 42500 h 323799"/>
                <a:gd name="connsiteX556" fmla="*/ 333192 w 398937"/>
                <a:gd name="connsiteY556" fmla="*/ 42500 h 323799"/>
                <a:gd name="connsiteX557" fmla="*/ 333661 w 398937"/>
                <a:gd name="connsiteY557" fmla="*/ 42265 h 323799"/>
                <a:gd name="connsiteX558" fmla="*/ 334601 w 398937"/>
                <a:gd name="connsiteY558" fmla="*/ 41796 h 323799"/>
                <a:gd name="connsiteX559" fmla="*/ 335775 w 398937"/>
                <a:gd name="connsiteY559" fmla="*/ 41561 h 323799"/>
                <a:gd name="connsiteX560" fmla="*/ 337888 w 398937"/>
                <a:gd name="connsiteY560" fmla="*/ 41326 h 323799"/>
                <a:gd name="connsiteX561" fmla="*/ 339062 w 398937"/>
                <a:gd name="connsiteY561" fmla="*/ 41326 h 323799"/>
                <a:gd name="connsiteX562" fmla="*/ 340236 w 398937"/>
                <a:gd name="connsiteY562" fmla="*/ 41561 h 323799"/>
                <a:gd name="connsiteX563" fmla="*/ 367943 w 398937"/>
                <a:gd name="connsiteY563" fmla="*/ 54945 h 323799"/>
                <a:gd name="connsiteX564" fmla="*/ 368883 w 398937"/>
                <a:gd name="connsiteY564" fmla="*/ 55180 h 323799"/>
                <a:gd name="connsiteX565" fmla="*/ 368883 w 398937"/>
                <a:gd name="connsiteY565" fmla="*/ 55180 h 323799"/>
                <a:gd name="connsiteX566" fmla="*/ 370057 w 398937"/>
                <a:gd name="connsiteY566" fmla="*/ 52597 h 323799"/>
                <a:gd name="connsiteX567" fmla="*/ 370057 w 398937"/>
                <a:gd name="connsiteY567" fmla="*/ 52362 h 323799"/>
                <a:gd name="connsiteX568" fmla="*/ 370057 w 398937"/>
                <a:gd name="connsiteY568" fmla="*/ 52127 h 323799"/>
                <a:gd name="connsiteX569" fmla="*/ 370057 w 398937"/>
                <a:gd name="connsiteY569" fmla="*/ 51892 h 323799"/>
                <a:gd name="connsiteX570" fmla="*/ 368648 w 398937"/>
                <a:gd name="connsiteY570" fmla="*/ 50014 h 323799"/>
                <a:gd name="connsiteX571" fmla="*/ 366535 w 398937"/>
                <a:gd name="connsiteY571" fmla="*/ 46022 h 323799"/>
                <a:gd name="connsiteX572" fmla="*/ 366065 w 398937"/>
                <a:gd name="connsiteY572" fmla="*/ 44379 h 323799"/>
                <a:gd name="connsiteX573" fmla="*/ 365830 w 398937"/>
                <a:gd name="connsiteY573" fmla="*/ 43439 h 323799"/>
                <a:gd name="connsiteX574" fmla="*/ 366065 w 398937"/>
                <a:gd name="connsiteY574" fmla="*/ 42500 h 323799"/>
                <a:gd name="connsiteX575" fmla="*/ 366769 w 398937"/>
                <a:gd name="connsiteY575" fmla="*/ 41326 h 323799"/>
                <a:gd name="connsiteX576" fmla="*/ 374753 w 398937"/>
                <a:gd name="connsiteY576" fmla="*/ 41091 h 323799"/>
                <a:gd name="connsiteX577" fmla="*/ 375927 w 398937"/>
                <a:gd name="connsiteY577" fmla="*/ 41326 h 323799"/>
                <a:gd name="connsiteX578" fmla="*/ 376866 w 398937"/>
                <a:gd name="connsiteY578" fmla="*/ 42031 h 323799"/>
                <a:gd name="connsiteX579" fmla="*/ 383441 w 398937"/>
                <a:gd name="connsiteY579" fmla="*/ 51658 h 323799"/>
                <a:gd name="connsiteX580" fmla="*/ 387902 w 398937"/>
                <a:gd name="connsiteY580" fmla="*/ 66216 h 323799"/>
                <a:gd name="connsiteX581" fmla="*/ 390955 w 398937"/>
                <a:gd name="connsiteY581" fmla="*/ 70442 h 323799"/>
                <a:gd name="connsiteX582" fmla="*/ 391894 w 398937"/>
                <a:gd name="connsiteY582" fmla="*/ 71616 h 323799"/>
                <a:gd name="connsiteX583" fmla="*/ 392129 w 398937"/>
                <a:gd name="connsiteY583" fmla="*/ 71616 h 323799"/>
                <a:gd name="connsiteX584" fmla="*/ 392598 w 398937"/>
                <a:gd name="connsiteY584" fmla="*/ 71616 h 323799"/>
                <a:gd name="connsiteX585" fmla="*/ 393068 w 398937"/>
                <a:gd name="connsiteY585" fmla="*/ 71382 h 323799"/>
                <a:gd name="connsiteX586" fmla="*/ 393537 w 398937"/>
                <a:gd name="connsiteY586" fmla="*/ 71147 h 323799"/>
                <a:gd name="connsiteX587" fmla="*/ 396355 w 398937"/>
                <a:gd name="connsiteY587" fmla="*/ 70208 h 323799"/>
                <a:gd name="connsiteX588" fmla="*/ 397529 w 398937"/>
                <a:gd name="connsiteY588" fmla="*/ 72321 h 323799"/>
                <a:gd name="connsiteX589" fmla="*/ 397529 w 398937"/>
                <a:gd name="connsiteY589" fmla="*/ 73964 h 323799"/>
                <a:gd name="connsiteX590" fmla="*/ 397294 w 398937"/>
                <a:gd name="connsiteY590" fmla="*/ 75843 h 323799"/>
                <a:gd name="connsiteX591" fmla="*/ 397059 w 398937"/>
                <a:gd name="connsiteY591" fmla="*/ 77252 h 323799"/>
                <a:gd name="connsiteX592" fmla="*/ 396590 w 398937"/>
                <a:gd name="connsiteY592" fmla="*/ 78426 h 323799"/>
                <a:gd name="connsiteX593" fmla="*/ 396355 w 398937"/>
                <a:gd name="connsiteY593" fmla="*/ 78661 h 323799"/>
                <a:gd name="connsiteX594" fmla="*/ 396590 w 398937"/>
                <a:gd name="connsiteY594" fmla="*/ 78895 h 323799"/>
                <a:gd name="connsiteX595" fmla="*/ 396590 w 398937"/>
                <a:gd name="connsiteY595" fmla="*/ 79365 h 323799"/>
                <a:gd name="connsiteX596" fmla="*/ 397529 w 398937"/>
                <a:gd name="connsiteY596" fmla="*/ 81243 h 323799"/>
                <a:gd name="connsiteX597" fmla="*/ 397764 w 398937"/>
                <a:gd name="connsiteY597" fmla="*/ 82417 h 323799"/>
                <a:gd name="connsiteX598" fmla="*/ 397529 w 398937"/>
                <a:gd name="connsiteY598" fmla="*/ 83591 h 323799"/>
                <a:gd name="connsiteX599" fmla="*/ 395885 w 398937"/>
                <a:gd name="connsiteY599" fmla="*/ 85000 h 323799"/>
                <a:gd name="connsiteX600" fmla="*/ 394711 w 398937"/>
                <a:gd name="connsiteY600" fmla="*/ 84765 h 323799"/>
                <a:gd name="connsiteX601" fmla="*/ 393772 w 398937"/>
                <a:gd name="connsiteY601" fmla="*/ 84061 h 323799"/>
                <a:gd name="connsiteX602" fmla="*/ 391894 w 398937"/>
                <a:gd name="connsiteY602" fmla="*/ 81478 h 323799"/>
                <a:gd name="connsiteX603" fmla="*/ 391659 w 398937"/>
                <a:gd name="connsiteY603" fmla="*/ 81478 h 323799"/>
                <a:gd name="connsiteX604" fmla="*/ 391189 w 398937"/>
                <a:gd name="connsiteY604" fmla="*/ 81713 h 323799"/>
                <a:gd name="connsiteX605" fmla="*/ 389311 w 398937"/>
                <a:gd name="connsiteY605" fmla="*/ 82183 h 323799"/>
                <a:gd name="connsiteX606" fmla="*/ 389076 w 398937"/>
                <a:gd name="connsiteY606" fmla="*/ 82417 h 323799"/>
                <a:gd name="connsiteX607" fmla="*/ 389076 w 398937"/>
                <a:gd name="connsiteY607" fmla="*/ 82652 h 323799"/>
                <a:gd name="connsiteX608" fmla="*/ 389076 w 398937"/>
                <a:gd name="connsiteY608" fmla="*/ 83357 h 323799"/>
                <a:gd name="connsiteX609" fmla="*/ 390015 w 398937"/>
                <a:gd name="connsiteY609" fmla="*/ 88522 h 323799"/>
                <a:gd name="connsiteX610" fmla="*/ 390015 w 398937"/>
                <a:gd name="connsiteY610" fmla="*/ 92514 h 323799"/>
                <a:gd name="connsiteX611" fmla="*/ 390015 w 398937"/>
                <a:gd name="connsiteY611" fmla="*/ 92749 h 323799"/>
                <a:gd name="connsiteX612" fmla="*/ 390250 w 398937"/>
                <a:gd name="connsiteY612" fmla="*/ 92984 h 323799"/>
                <a:gd name="connsiteX613" fmla="*/ 390485 w 398937"/>
                <a:gd name="connsiteY613" fmla="*/ 93218 h 323799"/>
                <a:gd name="connsiteX614" fmla="*/ 390720 w 398937"/>
                <a:gd name="connsiteY614" fmla="*/ 93453 h 323799"/>
                <a:gd name="connsiteX615" fmla="*/ 394477 w 398937"/>
                <a:gd name="connsiteY615" fmla="*/ 94393 h 323799"/>
                <a:gd name="connsiteX616" fmla="*/ 395416 w 398937"/>
                <a:gd name="connsiteY616" fmla="*/ 94627 h 323799"/>
                <a:gd name="connsiteX617" fmla="*/ 396120 w 398937"/>
                <a:gd name="connsiteY617" fmla="*/ 95332 h 323799"/>
                <a:gd name="connsiteX618" fmla="*/ 398703 w 398937"/>
                <a:gd name="connsiteY618" fmla="*/ 99558 h 323799"/>
                <a:gd name="connsiteX619" fmla="*/ 398938 w 398937"/>
                <a:gd name="connsiteY619" fmla="*/ 100497 h 323799"/>
                <a:gd name="connsiteX620" fmla="*/ 398938 w 398937"/>
                <a:gd name="connsiteY620" fmla="*/ 101907 h 323799"/>
                <a:gd name="connsiteX621" fmla="*/ 397529 w 398937"/>
                <a:gd name="connsiteY621" fmla="*/ 102846 h 323799"/>
                <a:gd name="connsiteX622" fmla="*/ 393303 w 398937"/>
                <a:gd name="connsiteY622" fmla="*/ 104724 h 323799"/>
                <a:gd name="connsiteX623" fmla="*/ 392129 w 398937"/>
                <a:gd name="connsiteY623" fmla="*/ 105429 h 323799"/>
                <a:gd name="connsiteX624" fmla="*/ 391659 w 398937"/>
                <a:gd name="connsiteY624" fmla="*/ 105663 h 323799"/>
                <a:gd name="connsiteX625" fmla="*/ 391189 w 398937"/>
                <a:gd name="connsiteY625" fmla="*/ 105898 h 323799"/>
                <a:gd name="connsiteX626" fmla="*/ 390015 w 398937"/>
                <a:gd name="connsiteY626" fmla="*/ 106837 h 323799"/>
                <a:gd name="connsiteX627" fmla="*/ 389311 w 398937"/>
                <a:gd name="connsiteY627" fmla="*/ 107072 h 323799"/>
                <a:gd name="connsiteX628" fmla="*/ 388606 w 398937"/>
                <a:gd name="connsiteY628" fmla="*/ 107307 h 323799"/>
                <a:gd name="connsiteX629" fmla="*/ 387667 w 398937"/>
                <a:gd name="connsiteY629" fmla="*/ 107542 h 323799"/>
                <a:gd name="connsiteX630" fmla="*/ 386963 w 398937"/>
                <a:gd name="connsiteY630" fmla="*/ 107542 h 323799"/>
                <a:gd name="connsiteX631" fmla="*/ 385084 w 398937"/>
                <a:gd name="connsiteY631" fmla="*/ 107307 h 323799"/>
                <a:gd name="connsiteX632" fmla="*/ 384145 w 398937"/>
                <a:gd name="connsiteY632" fmla="*/ 107777 h 323799"/>
                <a:gd name="connsiteX633" fmla="*/ 382971 w 398937"/>
                <a:gd name="connsiteY633" fmla="*/ 109420 h 323799"/>
                <a:gd name="connsiteX634" fmla="*/ 378040 w 398937"/>
                <a:gd name="connsiteY634" fmla="*/ 116934 h 323799"/>
                <a:gd name="connsiteX635" fmla="*/ 377570 w 398937"/>
                <a:gd name="connsiteY635" fmla="*/ 117169 h 323799"/>
                <a:gd name="connsiteX636" fmla="*/ 377336 w 398937"/>
                <a:gd name="connsiteY636" fmla="*/ 117404 h 323799"/>
                <a:gd name="connsiteX637" fmla="*/ 376866 w 398937"/>
                <a:gd name="connsiteY637" fmla="*/ 117639 h 323799"/>
                <a:gd name="connsiteX638" fmla="*/ 376162 w 398937"/>
                <a:gd name="connsiteY638" fmla="*/ 117873 h 323799"/>
                <a:gd name="connsiteX639" fmla="*/ 375222 w 398937"/>
                <a:gd name="connsiteY639" fmla="*/ 117873 h 323799"/>
                <a:gd name="connsiteX640" fmla="*/ 374283 w 398937"/>
                <a:gd name="connsiteY640" fmla="*/ 117639 h 323799"/>
                <a:gd name="connsiteX641" fmla="*/ 373579 w 398937"/>
                <a:gd name="connsiteY641" fmla="*/ 117169 h 323799"/>
                <a:gd name="connsiteX642" fmla="*/ 372405 w 398937"/>
                <a:gd name="connsiteY642" fmla="*/ 115760 h 323799"/>
                <a:gd name="connsiteX643" fmla="*/ 372405 w 398937"/>
                <a:gd name="connsiteY643" fmla="*/ 115760 h 323799"/>
                <a:gd name="connsiteX644" fmla="*/ 371700 w 398937"/>
                <a:gd name="connsiteY644" fmla="*/ 116230 h 323799"/>
                <a:gd name="connsiteX645" fmla="*/ 370526 w 398937"/>
                <a:gd name="connsiteY645" fmla="*/ 116464 h 323799"/>
                <a:gd name="connsiteX646" fmla="*/ 369587 w 398937"/>
                <a:gd name="connsiteY646" fmla="*/ 115760 h 323799"/>
                <a:gd name="connsiteX647" fmla="*/ 368648 w 398937"/>
                <a:gd name="connsiteY647" fmla="*/ 114351 h 323799"/>
                <a:gd name="connsiteX648" fmla="*/ 368648 w 398937"/>
                <a:gd name="connsiteY648" fmla="*/ 114351 h 323799"/>
                <a:gd name="connsiteX649" fmla="*/ 368413 w 398937"/>
                <a:gd name="connsiteY649" fmla="*/ 114351 h 323799"/>
                <a:gd name="connsiteX650" fmla="*/ 368178 w 398937"/>
                <a:gd name="connsiteY650" fmla="*/ 114351 h 323799"/>
                <a:gd name="connsiteX651" fmla="*/ 367474 w 398937"/>
                <a:gd name="connsiteY651" fmla="*/ 114351 h 323799"/>
                <a:gd name="connsiteX652" fmla="*/ 367239 w 398937"/>
                <a:gd name="connsiteY652" fmla="*/ 114586 h 323799"/>
                <a:gd name="connsiteX653" fmla="*/ 367004 w 398937"/>
                <a:gd name="connsiteY653" fmla="*/ 114586 h 323799"/>
                <a:gd name="connsiteX654" fmla="*/ 367004 w 398937"/>
                <a:gd name="connsiteY654" fmla="*/ 114586 h 323799"/>
                <a:gd name="connsiteX655" fmla="*/ 367239 w 398937"/>
                <a:gd name="connsiteY655" fmla="*/ 115056 h 323799"/>
                <a:gd name="connsiteX656" fmla="*/ 367474 w 398937"/>
                <a:gd name="connsiteY656" fmla="*/ 116230 h 323799"/>
                <a:gd name="connsiteX657" fmla="*/ 367474 w 398937"/>
                <a:gd name="connsiteY657" fmla="*/ 117404 h 323799"/>
                <a:gd name="connsiteX658" fmla="*/ 367239 w 398937"/>
                <a:gd name="connsiteY658" fmla="*/ 119047 h 323799"/>
                <a:gd name="connsiteX659" fmla="*/ 367239 w 398937"/>
                <a:gd name="connsiteY659" fmla="*/ 119517 h 323799"/>
                <a:gd name="connsiteX660" fmla="*/ 367474 w 398937"/>
                <a:gd name="connsiteY660" fmla="*/ 120221 h 323799"/>
                <a:gd name="connsiteX661" fmla="*/ 374048 w 398937"/>
                <a:gd name="connsiteY661" fmla="*/ 131727 h 323799"/>
                <a:gd name="connsiteX662" fmla="*/ 375457 w 398937"/>
                <a:gd name="connsiteY662" fmla="*/ 136893 h 323799"/>
                <a:gd name="connsiteX663" fmla="*/ 373814 w 398937"/>
                <a:gd name="connsiteY663" fmla="*/ 138771 h 323799"/>
                <a:gd name="connsiteX664" fmla="*/ 371231 w 398937"/>
                <a:gd name="connsiteY664" fmla="*/ 142059 h 323799"/>
                <a:gd name="connsiteX665" fmla="*/ 369822 w 398937"/>
                <a:gd name="connsiteY665" fmla="*/ 143467 h 323799"/>
                <a:gd name="connsiteX666" fmla="*/ 368883 w 398937"/>
                <a:gd name="connsiteY666" fmla="*/ 144407 h 323799"/>
                <a:gd name="connsiteX667" fmla="*/ 366769 w 398937"/>
                <a:gd name="connsiteY667" fmla="*/ 145815 h 323799"/>
                <a:gd name="connsiteX668" fmla="*/ 366535 w 398937"/>
                <a:gd name="connsiteY668" fmla="*/ 146050 h 323799"/>
                <a:gd name="connsiteX669" fmla="*/ 366300 w 398937"/>
                <a:gd name="connsiteY669" fmla="*/ 146520 h 323799"/>
                <a:gd name="connsiteX670" fmla="*/ 366300 w 398937"/>
                <a:gd name="connsiteY670" fmla="*/ 147224 h 323799"/>
                <a:gd name="connsiteX671" fmla="*/ 366769 w 398937"/>
                <a:gd name="connsiteY671" fmla="*/ 148633 h 323799"/>
                <a:gd name="connsiteX672" fmla="*/ 367004 w 398937"/>
                <a:gd name="connsiteY672" fmla="*/ 149103 h 323799"/>
                <a:gd name="connsiteX673" fmla="*/ 367709 w 398937"/>
                <a:gd name="connsiteY673" fmla="*/ 150981 h 323799"/>
                <a:gd name="connsiteX674" fmla="*/ 367474 w 398937"/>
                <a:gd name="connsiteY674" fmla="*/ 152155 h 323799"/>
                <a:gd name="connsiteX675" fmla="*/ 366769 w 398937"/>
                <a:gd name="connsiteY675" fmla="*/ 153094 h 323799"/>
                <a:gd name="connsiteX676" fmla="*/ 365595 w 398937"/>
                <a:gd name="connsiteY676" fmla="*/ 153799 h 323799"/>
                <a:gd name="connsiteX677" fmla="*/ 364656 w 398937"/>
                <a:gd name="connsiteY677" fmla="*/ 154268 h 323799"/>
                <a:gd name="connsiteX678" fmla="*/ 364186 w 398937"/>
                <a:gd name="connsiteY678" fmla="*/ 154503 h 323799"/>
                <a:gd name="connsiteX679" fmla="*/ 363717 w 398937"/>
                <a:gd name="connsiteY679" fmla="*/ 155442 h 323799"/>
                <a:gd name="connsiteX680" fmla="*/ 362543 w 398937"/>
                <a:gd name="connsiteY680" fmla="*/ 157321 h 323799"/>
                <a:gd name="connsiteX681" fmla="*/ 361369 w 398937"/>
                <a:gd name="connsiteY681" fmla="*/ 158730 h 323799"/>
                <a:gd name="connsiteX682" fmla="*/ 359960 w 398937"/>
                <a:gd name="connsiteY682" fmla="*/ 159904 h 323799"/>
                <a:gd name="connsiteX683" fmla="*/ 359021 w 398937"/>
                <a:gd name="connsiteY683" fmla="*/ 160139 h 323799"/>
                <a:gd name="connsiteX684" fmla="*/ 357377 w 398937"/>
                <a:gd name="connsiteY684" fmla="*/ 160608 h 323799"/>
                <a:gd name="connsiteX685" fmla="*/ 355968 w 398937"/>
                <a:gd name="connsiteY685" fmla="*/ 160608 h 323799"/>
                <a:gd name="connsiteX686" fmla="*/ 353385 w 398937"/>
                <a:gd name="connsiteY686" fmla="*/ 160608 h 323799"/>
                <a:gd name="connsiteX687" fmla="*/ 352916 w 398937"/>
                <a:gd name="connsiteY687" fmla="*/ 160608 h 323799"/>
                <a:gd name="connsiteX688" fmla="*/ 352446 w 398937"/>
                <a:gd name="connsiteY688" fmla="*/ 160843 h 323799"/>
                <a:gd name="connsiteX689" fmla="*/ 351976 w 398937"/>
                <a:gd name="connsiteY689" fmla="*/ 161078 h 323799"/>
                <a:gd name="connsiteX690" fmla="*/ 351037 w 398937"/>
                <a:gd name="connsiteY690" fmla="*/ 161547 h 323799"/>
                <a:gd name="connsiteX691" fmla="*/ 352446 w 398937"/>
                <a:gd name="connsiteY691" fmla="*/ 162956 h 323799"/>
                <a:gd name="connsiteX692" fmla="*/ 352916 w 398937"/>
                <a:gd name="connsiteY692" fmla="*/ 163895 h 323799"/>
                <a:gd name="connsiteX693" fmla="*/ 353151 w 398937"/>
                <a:gd name="connsiteY693" fmla="*/ 165070 h 323799"/>
                <a:gd name="connsiteX694" fmla="*/ 352681 w 398937"/>
                <a:gd name="connsiteY694" fmla="*/ 166244 h 323799"/>
                <a:gd name="connsiteX695" fmla="*/ 351272 w 398937"/>
                <a:gd name="connsiteY695" fmla="*/ 166948 h 323799"/>
                <a:gd name="connsiteX696" fmla="*/ 350333 w 398937"/>
                <a:gd name="connsiteY696" fmla="*/ 167183 h 323799"/>
                <a:gd name="connsiteX697" fmla="*/ 349394 w 398937"/>
                <a:gd name="connsiteY697" fmla="*/ 167418 h 323799"/>
                <a:gd name="connsiteX698" fmla="*/ 346106 w 398937"/>
                <a:gd name="connsiteY698" fmla="*/ 167183 h 323799"/>
                <a:gd name="connsiteX699" fmla="*/ 342584 w 398937"/>
                <a:gd name="connsiteY699" fmla="*/ 166244 h 323799"/>
                <a:gd name="connsiteX700" fmla="*/ 341645 w 398937"/>
                <a:gd name="connsiteY700" fmla="*/ 166009 h 323799"/>
                <a:gd name="connsiteX701" fmla="*/ 341410 w 398937"/>
                <a:gd name="connsiteY701" fmla="*/ 166009 h 323799"/>
                <a:gd name="connsiteX702" fmla="*/ 340940 w 398937"/>
                <a:gd name="connsiteY702" fmla="*/ 166244 h 323799"/>
                <a:gd name="connsiteX703" fmla="*/ 340471 w 398937"/>
                <a:gd name="connsiteY703" fmla="*/ 166244 h 323799"/>
                <a:gd name="connsiteX704" fmla="*/ 340001 w 398937"/>
                <a:gd name="connsiteY704" fmla="*/ 166479 h 323799"/>
                <a:gd name="connsiteX705" fmla="*/ 339766 w 398937"/>
                <a:gd name="connsiteY705" fmla="*/ 166713 h 323799"/>
                <a:gd name="connsiteX706" fmla="*/ 336479 w 398937"/>
                <a:gd name="connsiteY706" fmla="*/ 169296 h 323799"/>
                <a:gd name="connsiteX707" fmla="*/ 334366 w 398937"/>
                <a:gd name="connsiteY707" fmla="*/ 171409 h 323799"/>
                <a:gd name="connsiteX708" fmla="*/ 334131 w 398937"/>
                <a:gd name="connsiteY708" fmla="*/ 171644 h 323799"/>
                <a:gd name="connsiteX709" fmla="*/ 333661 w 398937"/>
                <a:gd name="connsiteY709" fmla="*/ 171879 h 323799"/>
                <a:gd name="connsiteX710" fmla="*/ 332018 w 398937"/>
                <a:gd name="connsiteY710" fmla="*/ 172584 h 323799"/>
                <a:gd name="connsiteX711" fmla="*/ 331783 w 398937"/>
                <a:gd name="connsiteY711" fmla="*/ 172818 h 323799"/>
                <a:gd name="connsiteX712" fmla="*/ 331313 w 398937"/>
                <a:gd name="connsiteY712" fmla="*/ 173288 h 323799"/>
                <a:gd name="connsiteX713" fmla="*/ 329200 w 398937"/>
                <a:gd name="connsiteY713" fmla="*/ 176575 h 323799"/>
                <a:gd name="connsiteX714" fmla="*/ 328261 w 398937"/>
                <a:gd name="connsiteY714" fmla="*/ 177514 h 323799"/>
                <a:gd name="connsiteX715" fmla="*/ 327087 w 398937"/>
                <a:gd name="connsiteY715" fmla="*/ 178219 h 323799"/>
                <a:gd name="connsiteX716" fmla="*/ 326382 w 398937"/>
                <a:gd name="connsiteY716" fmla="*/ 178454 h 323799"/>
                <a:gd name="connsiteX717" fmla="*/ 324034 w 398937"/>
                <a:gd name="connsiteY717" fmla="*/ 179158 h 323799"/>
                <a:gd name="connsiteX718" fmla="*/ 323565 w 398937"/>
                <a:gd name="connsiteY718" fmla="*/ 179158 h 323799"/>
                <a:gd name="connsiteX719" fmla="*/ 323330 w 398937"/>
                <a:gd name="connsiteY719" fmla="*/ 179393 h 323799"/>
                <a:gd name="connsiteX720" fmla="*/ 323330 w 398937"/>
                <a:gd name="connsiteY720" fmla="*/ 179628 h 323799"/>
                <a:gd name="connsiteX721" fmla="*/ 323095 w 398937"/>
                <a:gd name="connsiteY721" fmla="*/ 180097 h 323799"/>
                <a:gd name="connsiteX722" fmla="*/ 323095 w 398937"/>
                <a:gd name="connsiteY722" fmla="*/ 181506 h 323799"/>
                <a:gd name="connsiteX723" fmla="*/ 323330 w 398937"/>
                <a:gd name="connsiteY723" fmla="*/ 182915 h 323799"/>
                <a:gd name="connsiteX724" fmla="*/ 324034 w 398937"/>
                <a:gd name="connsiteY724" fmla="*/ 184559 h 323799"/>
                <a:gd name="connsiteX725" fmla="*/ 324034 w 398937"/>
                <a:gd name="connsiteY725" fmla="*/ 185498 h 323799"/>
                <a:gd name="connsiteX726" fmla="*/ 323565 w 398937"/>
                <a:gd name="connsiteY726" fmla="*/ 186672 h 323799"/>
                <a:gd name="connsiteX727" fmla="*/ 322860 w 398937"/>
                <a:gd name="connsiteY727" fmla="*/ 187611 h 323799"/>
                <a:gd name="connsiteX728" fmla="*/ 321921 w 398937"/>
                <a:gd name="connsiteY728" fmla="*/ 188081 h 323799"/>
                <a:gd name="connsiteX729" fmla="*/ 320747 w 398937"/>
                <a:gd name="connsiteY729" fmla="*/ 188785 h 323799"/>
                <a:gd name="connsiteX730" fmla="*/ 319808 w 398937"/>
                <a:gd name="connsiteY730" fmla="*/ 189020 h 323799"/>
                <a:gd name="connsiteX731" fmla="*/ 319573 w 398937"/>
                <a:gd name="connsiteY731" fmla="*/ 189020 h 323799"/>
                <a:gd name="connsiteX732" fmla="*/ 318869 w 398937"/>
                <a:gd name="connsiteY732" fmla="*/ 189255 h 323799"/>
                <a:gd name="connsiteX733" fmla="*/ 317460 w 398937"/>
                <a:gd name="connsiteY733" fmla="*/ 189724 h 323799"/>
                <a:gd name="connsiteX734" fmla="*/ 315816 w 398937"/>
                <a:gd name="connsiteY734" fmla="*/ 190664 h 323799"/>
                <a:gd name="connsiteX735" fmla="*/ 314642 w 398937"/>
                <a:gd name="connsiteY735" fmla="*/ 191133 h 323799"/>
                <a:gd name="connsiteX736" fmla="*/ 313938 w 398937"/>
                <a:gd name="connsiteY736" fmla="*/ 191838 h 323799"/>
                <a:gd name="connsiteX737" fmla="*/ 313703 w 398937"/>
                <a:gd name="connsiteY737" fmla="*/ 192072 h 323799"/>
                <a:gd name="connsiteX738" fmla="*/ 313468 w 398937"/>
                <a:gd name="connsiteY738" fmla="*/ 192777 h 323799"/>
                <a:gd name="connsiteX739" fmla="*/ 313233 w 398937"/>
                <a:gd name="connsiteY739" fmla="*/ 194420 h 323799"/>
                <a:gd name="connsiteX740" fmla="*/ 313468 w 398937"/>
                <a:gd name="connsiteY740" fmla="*/ 195594 h 323799"/>
                <a:gd name="connsiteX741" fmla="*/ 313703 w 398937"/>
                <a:gd name="connsiteY741" fmla="*/ 196064 h 323799"/>
                <a:gd name="connsiteX742" fmla="*/ 313938 w 398937"/>
                <a:gd name="connsiteY742" fmla="*/ 196534 h 323799"/>
                <a:gd name="connsiteX743" fmla="*/ 314407 w 398937"/>
                <a:gd name="connsiteY743" fmla="*/ 197473 h 323799"/>
                <a:gd name="connsiteX744" fmla="*/ 314407 w 398937"/>
                <a:gd name="connsiteY744" fmla="*/ 199352 h 323799"/>
                <a:gd name="connsiteX745" fmla="*/ 314642 w 398937"/>
                <a:gd name="connsiteY745" fmla="*/ 199586 h 323799"/>
                <a:gd name="connsiteX746" fmla="*/ 314642 w 398937"/>
                <a:gd name="connsiteY746" fmla="*/ 199821 h 323799"/>
                <a:gd name="connsiteX747" fmla="*/ 314877 w 398937"/>
                <a:gd name="connsiteY747" fmla="*/ 199821 h 323799"/>
                <a:gd name="connsiteX748" fmla="*/ 315112 w 398937"/>
                <a:gd name="connsiteY748" fmla="*/ 200056 h 323799"/>
                <a:gd name="connsiteX749" fmla="*/ 316286 w 398937"/>
                <a:gd name="connsiteY749" fmla="*/ 200056 h 323799"/>
                <a:gd name="connsiteX750" fmla="*/ 317695 w 398937"/>
                <a:gd name="connsiteY750" fmla="*/ 200526 h 323799"/>
                <a:gd name="connsiteX751" fmla="*/ 318164 w 398937"/>
                <a:gd name="connsiteY751" fmla="*/ 201934 h 323799"/>
                <a:gd name="connsiteX752" fmla="*/ 317695 w 398937"/>
                <a:gd name="connsiteY752" fmla="*/ 203578 h 323799"/>
                <a:gd name="connsiteX753" fmla="*/ 316521 w 398937"/>
                <a:gd name="connsiteY753" fmla="*/ 206161 h 323799"/>
                <a:gd name="connsiteX754" fmla="*/ 315581 w 398937"/>
                <a:gd name="connsiteY754" fmla="*/ 207335 h 323799"/>
                <a:gd name="connsiteX755" fmla="*/ 314877 w 398937"/>
                <a:gd name="connsiteY755" fmla="*/ 208274 h 323799"/>
                <a:gd name="connsiteX756" fmla="*/ 314407 w 398937"/>
                <a:gd name="connsiteY756" fmla="*/ 208744 h 323799"/>
                <a:gd name="connsiteX757" fmla="*/ 314407 w 398937"/>
                <a:gd name="connsiteY757" fmla="*/ 208979 h 323799"/>
                <a:gd name="connsiteX758" fmla="*/ 314172 w 398937"/>
                <a:gd name="connsiteY758" fmla="*/ 209448 h 323799"/>
                <a:gd name="connsiteX759" fmla="*/ 313938 w 398937"/>
                <a:gd name="connsiteY759" fmla="*/ 210387 h 323799"/>
                <a:gd name="connsiteX760" fmla="*/ 313703 w 398937"/>
                <a:gd name="connsiteY760" fmla="*/ 213675 h 323799"/>
                <a:gd name="connsiteX761" fmla="*/ 312998 w 398937"/>
                <a:gd name="connsiteY761" fmla="*/ 215553 h 323799"/>
                <a:gd name="connsiteX762" fmla="*/ 311120 w 398937"/>
                <a:gd name="connsiteY762" fmla="*/ 218840 h 323799"/>
                <a:gd name="connsiteX763" fmla="*/ 310181 w 398937"/>
                <a:gd name="connsiteY763" fmla="*/ 220015 h 323799"/>
                <a:gd name="connsiteX764" fmla="*/ 309946 w 398937"/>
                <a:gd name="connsiteY764" fmla="*/ 220249 h 323799"/>
                <a:gd name="connsiteX765" fmla="*/ 309241 w 398937"/>
                <a:gd name="connsiteY765" fmla="*/ 220484 h 323799"/>
                <a:gd name="connsiteX766" fmla="*/ 308537 w 398937"/>
                <a:gd name="connsiteY766" fmla="*/ 220719 h 323799"/>
                <a:gd name="connsiteX767" fmla="*/ 307598 w 398937"/>
                <a:gd name="connsiteY767" fmla="*/ 220954 h 323799"/>
                <a:gd name="connsiteX768" fmla="*/ 306659 w 398937"/>
                <a:gd name="connsiteY768" fmla="*/ 220954 h 323799"/>
                <a:gd name="connsiteX769" fmla="*/ 305954 w 398937"/>
                <a:gd name="connsiteY769" fmla="*/ 220719 h 323799"/>
                <a:gd name="connsiteX770" fmla="*/ 305250 w 398937"/>
                <a:gd name="connsiteY770" fmla="*/ 220484 h 323799"/>
                <a:gd name="connsiteX771" fmla="*/ 304780 w 398937"/>
                <a:gd name="connsiteY771" fmla="*/ 220015 h 323799"/>
                <a:gd name="connsiteX772" fmla="*/ 300788 w 398937"/>
                <a:gd name="connsiteY772" fmla="*/ 215788 h 323799"/>
                <a:gd name="connsiteX773" fmla="*/ 300788 w 398937"/>
                <a:gd name="connsiteY773" fmla="*/ 216023 h 323799"/>
                <a:gd name="connsiteX774" fmla="*/ 300554 w 398937"/>
                <a:gd name="connsiteY774" fmla="*/ 216258 h 323799"/>
                <a:gd name="connsiteX775" fmla="*/ 299614 w 398937"/>
                <a:gd name="connsiteY775" fmla="*/ 216962 h 323799"/>
                <a:gd name="connsiteX776" fmla="*/ 298440 w 398937"/>
                <a:gd name="connsiteY776" fmla="*/ 218840 h 323799"/>
                <a:gd name="connsiteX777" fmla="*/ 296797 w 398937"/>
                <a:gd name="connsiteY777" fmla="*/ 220484 h 323799"/>
                <a:gd name="connsiteX778" fmla="*/ 296797 w 398937"/>
                <a:gd name="connsiteY778" fmla="*/ 220719 h 323799"/>
                <a:gd name="connsiteX779" fmla="*/ 296562 w 398937"/>
                <a:gd name="connsiteY779" fmla="*/ 221423 h 323799"/>
                <a:gd name="connsiteX780" fmla="*/ 296797 w 398937"/>
                <a:gd name="connsiteY780" fmla="*/ 222597 h 323799"/>
                <a:gd name="connsiteX781" fmla="*/ 297501 w 398937"/>
                <a:gd name="connsiteY781" fmla="*/ 224241 h 323799"/>
                <a:gd name="connsiteX782" fmla="*/ 305015 w 398937"/>
                <a:gd name="connsiteY782" fmla="*/ 233399 h 323799"/>
                <a:gd name="connsiteX783" fmla="*/ 305250 w 398937"/>
                <a:gd name="connsiteY783" fmla="*/ 234573 h 323799"/>
                <a:gd name="connsiteX784" fmla="*/ 305015 w 398937"/>
                <a:gd name="connsiteY784" fmla="*/ 235747 h 323799"/>
                <a:gd name="connsiteX785" fmla="*/ 304076 w 398937"/>
                <a:gd name="connsiteY785" fmla="*/ 237390 h 323799"/>
                <a:gd name="connsiteX786" fmla="*/ 303136 w 398937"/>
                <a:gd name="connsiteY786" fmla="*/ 238799 h 323799"/>
                <a:gd name="connsiteX787" fmla="*/ 301728 w 398937"/>
                <a:gd name="connsiteY787" fmla="*/ 240208 h 323799"/>
                <a:gd name="connsiteX788" fmla="*/ 300788 w 398937"/>
                <a:gd name="connsiteY788" fmla="*/ 241617 h 323799"/>
                <a:gd name="connsiteX789" fmla="*/ 298440 w 398937"/>
                <a:gd name="connsiteY789" fmla="*/ 245374 h 323799"/>
                <a:gd name="connsiteX790" fmla="*/ 297971 w 398937"/>
                <a:gd name="connsiteY790" fmla="*/ 245843 h 323799"/>
                <a:gd name="connsiteX791" fmla="*/ 297501 w 398937"/>
                <a:gd name="connsiteY791" fmla="*/ 246548 h 323799"/>
                <a:gd name="connsiteX792" fmla="*/ 296562 w 398937"/>
                <a:gd name="connsiteY792" fmla="*/ 247017 h 323799"/>
                <a:gd name="connsiteX793" fmla="*/ 295153 w 398937"/>
                <a:gd name="connsiteY793" fmla="*/ 247487 h 323799"/>
                <a:gd name="connsiteX794" fmla="*/ 293979 w 398937"/>
                <a:gd name="connsiteY794" fmla="*/ 247957 h 323799"/>
                <a:gd name="connsiteX795" fmla="*/ 293744 w 398937"/>
                <a:gd name="connsiteY795" fmla="*/ 248191 h 323799"/>
                <a:gd name="connsiteX796" fmla="*/ 293509 w 398937"/>
                <a:gd name="connsiteY796" fmla="*/ 248426 h 323799"/>
                <a:gd name="connsiteX797" fmla="*/ 293275 w 398937"/>
                <a:gd name="connsiteY797" fmla="*/ 249131 h 323799"/>
                <a:gd name="connsiteX798" fmla="*/ 293509 w 398937"/>
                <a:gd name="connsiteY798" fmla="*/ 251714 h 323799"/>
                <a:gd name="connsiteX799" fmla="*/ 297032 w 398937"/>
                <a:gd name="connsiteY799" fmla="*/ 267211 h 323799"/>
                <a:gd name="connsiteX800" fmla="*/ 297736 w 398937"/>
                <a:gd name="connsiteY800" fmla="*/ 275429 h 323799"/>
                <a:gd name="connsiteX801" fmla="*/ 297501 w 398937"/>
                <a:gd name="connsiteY801" fmla="*/ 276603 h 323799"/>
                <a:gd name="connsiteX802" fmla="*/ 296797 w 398937"/>
                <a:gd name="connsiteY802" fmla="*/ 277542 h 323799"/>
                <a:gd name="connsiteX803" fmla="*/ 295388 w 398937"/>
                <a:gd name="connsiteY803" fmla="*/ 278951 h 323799"/>
                <a:gd name="connsiteX804" fmla="*/ 294214 w 398937"/>
                <a:gd name="connsiteY804" fmla="*/ 279421 h 323799"/>
                <a:gd name="connsiteX805" fmla="*/ 293275 w 398937"/>
                <a:gd name="connsiteY805" fmla="*/ 279656 h 323799"/>
                <a:gd name="connsiteX806" fmla="*/ 291161 w 398937"/>
                <a:gd name="connsiteY806" fmla="*/ 279656 h 323799"/>
                <a:gd name="connsiteX807" fmla="*/ 289987 w 398937"/>
                <a:gd name="connsiteY807" fmla="*/ 279890 h 323799"/>
                <a:gd name="connsiteX808" fmla="*/ 289283 w 398937"/>
                <a:gd name="connsiteY808" fmla="*/ 279890 h 323799"/>
                <a:gd name="connsiteX809" fmla="*/ 288813 w 398937"/>
                <a:gd name="connsiteY809" fmla="*/ 280125 h 323799"/>
                <a:gd name="connsiteX810" fmla="*/ 288578 w 398937"/>
                <a:gd name="connsiteY810" fmla="*/ 280125 h 323799"/>
                <a:gd name="connsiteX811" fmla="*/ 288344 w 398937"/>
                <a:gd name="connsiteY811" fmla="*/ 280830 h 323799"/>
                <a:gd name="connsiteX812" fmla="*/ 287874 w 398937"/>
                <a:gd name="connsiteY812" fmla="*/ 282473 h 323799"/>
                <a:gd name="connsiteX813" fmla="*/ 287404 w 398937"/>
                <a:gd name="connsiteY813" fmla="*/ 286230 h 323799"/>
                <a:gd name="connsiteX814" fmla="*/ 287639 w 398937"/>
                <a:gd name="connsiteY814" fmla="*/ 287874 h 323799"/>
                <a:gd name="connsiteX815" fmla="*/ 287874 w 398937"/>
                <a:gd name="connsiteY815" fmla="*/ 288579 h 323799"/>
                <a:gd name="connsiteX816" fmla="*/ 292570 w 398937"/>
                <a:gd name="connsiteY816" fmla="*/ 295388 h 323799"/>
                <a:gd name="connsiteX817" fmla="*/ 297032 w 398937"/>
                <a:gd name="connsiteY817" fmla="*/ 306659 h 323799"/>
                <a:gd name="connsiteX818" fmla="*/ 296092 w 398937"/>
                <a:gd name="connsiteY818" fmla="*/ 308302 h 323799"/>
                <a:gd name="connsiteX819" fmla="*/ 294683 w 398937"/>
                <a:gd name="connsiteY819" fmla="*/ 309711 h 323799"/>
                <a:gd name="connsiteX820" fmla="*/ 289752 w 398937"/>
                <a:gd name="connsiteY820" fmla="*/ 312764 h 323799"/>
                <a:gd name="connsiteX821" fmla="*/ 288813 w 398937"/>
                <a:gd name="connsiteY821" fmla="*/ 313468 h 323799"/>
                <a:gd name="connsiteX822" fmla="*/ 288109 w 398937"/>
                <a:gd name="connsiteY822" fmla="*/ 314407 h 323799"/>
                <a:gd name="connsiteX823" fmla="*/ 288109 w 398937"/>
                <a:gd name="connsiteY823" fmla="*/ 314877 h 323799"/>
                <a:gd name="connsiteX824" fmla="*/ 287874 w 398937"/>
                <a:gd name="connsiteY824" fmla="*/ 315581 h 323799"/>
                <a:gd name="connsiteX825" fmla="*/ 287874 w 398937"/>
                <a:gd name="connsiteY825" fmla="*/ 317225 h 323799"/>
                <a:gd name="connsiteX826" fmla="*/ 286465 w 398937"/>
                <a:gd name="connsiteY826" fmla="*/ 318399 h 323799"/>
                <a:gd name="connsiteX827" fmla="*/ 285526 w 398937"/>
                <a:gd name="connsiteY827" fmla="*/ 319338 h 323799"/>
                <a:gd name="connsiteX828" fmla="*/ 276838 w 398937"/>
                <a:gd name="connsiteY828" fmla="*/ 322626 h 323799"/>
                <a:gd name="connsiteX829" fmla="*/ 274490 w 398937"/>
                <a:gd name="connsiteY829" fmla="*/ 323800 h 323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</a:cxnLst>
              <a:rect l="l" t="t" r="r" b="b"/>
              <a:pathLst>
                <a:path w="398937" h="323799">
                  <a:moveTo>
                    <a:pt x="274020" y="322860"/>
                  </a:moveTo>
                  <a:lnTo>
                    <a:pt x="264158" y="307128"/>
                  </a:lnTo>
                  <a:lnTo>
                    <a:pt x="259462" y="304076"/>
                  </a:lnTo>
                  <a:lnTo>
                    <a:pt x="253592" y="303371"/>
                  </a:lnTo>
                  <a:lnTo>
                    <a:pt x="246548" y="304780"/>
                  </a:lnTo>
                  <a:lnTo>
                    <a:pt x="239034" y="307363"/>
                  </a:lnTo>
                  <a:lnTo>
                    <a:pt x="232459" y="310650"/>
                  </a:lnTo>
                  <a:lnTo>
                    <a:pt x="228468" y="311355"/>
                  </a:lnTo>
                  <a:lnTo>
                    <a:pt x="226354" y="308772"/>
                  </a:lnTo>
                  <a:lnTo>
                    <a:pt x="225415" y="304310"/>
                  </a:lnTo>
                  <a:lnTo>
                    <a:pt x="224476" y="303371"/>
                  </a:lnTo>
                  <a:lnTo>
                    <a:pt x="222128" y="302432"/>
                  </a:lnTo>
                  <a:lnTo>
                    <a:pt x="215788" y="301728"/>
                  </a:lnTo>
                  <a:lnTo>
                    <a:pt x="212501" y="300788"/>
                  </a:lnTo>
                  <a:lnTo>
                    <a:pt x="209448" y="298910"/>
                  </a:lnTo>
                  <a:lnTo>
                    <a:pt x="192777" y="279890"/>
                  </a:lnTo>
                  <a:lnTo>
                    <a:pt x="188785" y="278247"/>
                  </a:lnTo>
                  <a:lnTo>
                    <a:pt x="183385" y="278482"/>
                  </a:lnTo>
                  <a:lnTo>
                    <a:pt x="177280" y="279890"/>
                  </a:lnTo>
                  <a:lnTo>
                    <a:pt x="171644" y="281769"/>
                  </a:lnTo>
                  <a:lnTo>
                    <a:pt x="161548" y="288813"/>
                  </a:lnTo>
                  <a:lnTo>
                    <a:pt x="156851" y="291396"/>
                  </a:lnTo>
                  <a:lnTo>
                    <a:pt x="150512" y="291866"/>
                  </a:lnTo>
                  <a:lnTo>
                    <a:pt x="144407" y="291396"/>
                  </a:lnTo>
                  <a:lnTo>
                    <a:pt x="141354" y="291866"/>
                  </a:lnTo>
                  <a:lnTo>
                    <a:pt x="139476" y="292805"/>
                  </a:lnTo>
                  <a:lnTo>
                    <a:pt x="139241" y="294214"/>
                  </a:lnTo>
                  <a:lnTo>
                    <a:pt x="139945" y="295857"/>
                  </a:lnTo>
                  <a:lnTo>
                    <a:pt x="142998" y="299145"/>
                  </a:lnTo>
                  <a:lnTo>
                    <a:pt x="144172" y="301493"/>
                  </a:lnTo>
                  <a:lnTo>
                    <a:pt x="144641" y="304076"/>
                  </a:lnTo>
                  <a:lnTo>
                    <a:pt x="143467" y="306659"/>
                  </a:lnTo>
                  <a:lnTo>
                    <a:pt x="139710" y="308772"/>
                  </a:lnTo>
                  <a:lnTo>
                    <a:pt x="136188" y="308772"/>
                  </a:lnTo>
                  <a:lnTo>
                    <a:pt x="133136" y="307598"/>
                  </a:lnTo>
                  <a:lnTo>
                    <a:pt x="130318" y="305954"/>
                  </a:lnTo>
                  <a:lnTo>
                    <a:pt x="128205" y="305015"/>
                  </a:lnTo>
                  <a:lnTo>
                    <a:pt x="124213" y="305250"/>
                  </a:lnTo>
                  <a:lnTo>
                    <a:pt x="119752" y="307363"/>
                  </a:lnTo>
                  <a:lnTo>
                    <a:pt x="115760" y="310650"/>
                  </a:lnTo>
                  <a:lnTo>
                    <a:pt x="112473" y="315346"/>
                  </a:lnTo>
                  <a:lnTo>
                    <a:pt x="111768" y="315346"/>
                  </a:lnTo>
                  <a:lnTo>
                    <a:pt x="108481" y="314407"/>
                  </a:lnTo>
                  <a:lnTo>
                    <a:pt x="97210" y="314172"/>
                  </a:lnTo>
                  <a:lnTo>
                    <a:pt x="90166" y="309711"/>
                  </a:lnTo>
                  <a:lnTo>
                    <a:pt x="99324" y="308537"/>
                  </a:lnTo>
                  <a:lnTo>
                    <a:pt x="100732" y="307598"/>
                  </a:lnTo>
                  <a:lnTo>
                    <a:pt x="100263" y="304780"/>
                  </a:lnTo>
                  <a:lnTo>
                    <a:pt x="100498" y="300319"/>
                  </a:lnTo>
                  <a:lnTo>
                    <a:pt x="100028" y="300319"/>
                  </a:lnTo>
                  <a:lnTo>
                    <a:pt x="96741" y="298675"/>
                  </a:lnTo>
                  <a:lnTo>
                    <a:pt x="95097" y="297501"/>
                  </a:lnTo>
                  <a:lnTo>
                    <a:pt x="93923" y="292335"/>
                  </a:lnTo>
                  <a:lnTo>
                    <a:pt x="92984" y="289753"/>
                  </a:lnTo>
                  <a:lnTo>
                    <a:pt x="91575" y="289048"/>
                  </a:lnTo>
                  <a:lnTo>
                    <a:pt x="87114" y="278951"/>
                  </a:lnTo>
                  <a:lnTo>
                    <a:pt x="76312" y="270498"/>
                  </a:lnTo>
                  <a:lnTo>
                    <a:pt x="73025" y="266037"/>
                  </a:lnTo>
                  <a:lnTo>
                    <a:pt x="66920" y="251479"/>
                  </a:lnTo>
                  <a:lnTo>
                    <a:pt x="63868" y="249131"/>
                  </a:lnTo>
                  <a:lnTo>
                    <a:pt x="53301" y="247017"/>
                  </a:lnTo>
                  <a:lnTo>
                    <a:pt x="31934" y="246078"/>
                  </a:lnTo>
                  <a:lnTo>
                    <a:pt x="25124" y="246783"/>
                  </a:lnTo>
                  <a:lnTo>
                    <a:pt x="21367" y="246548"/>
                  </a:lnTo>
                  <a:lnTo>
                    <a:pt x="16906" y="243730"/>
                  </a:lnTo>
                  <a:lnTo>
                    <a:pt x="22307" y="240912"/>
                  </a:lnTo>
                  <a:lnTo>
                    <a:pt x="23246" y="237625"/>
                  </a:lnTo>
                  <a:lnTo>
                    <a:pt x="23011" y="233399"/>
                  </a:lnTo>
                  <a:lnTo>
                    <a:pt x="21367" y="229877"/>
                  </a:lnTo>
                  <a:lnTo>
                    <a:pt x="20193" y="228468"/>
                  </a:lnTo>
                  <a:lnTo>
                    <a:pt x="13619" y="226119"/>
                  </a:lnTo>
                  <a:lnTo>
                    <a:pt x="1409" y="217197"/>
                  </a:lnTo>
                  <a:lnTo>
                    <a:pt x="470" y="216258"/>
                  </a:lnTo>
                  <a:lnTo>
                    <a:pt x="0" y="215553"/>
                  </a:lnTo>
                  <a:lnTo>
                    <a:pt x="235" y="215084"/>
                  </a:lnTo>
                  <a:lnTo>
                    <a:pt x="3992" y="208274"/>
                  </a:lnTo>
                  <a:lnTo>
                    <a:pt x="4696" y="207570"/>
                  </a:lnTo>
                  <a:lnTo>
                    <a:pt x="5401" y="207100"/>
                  </a:lnTo>
                  <a:lnTo>
                    <a:pt x="6575" y="206631"/>
                  </a:lnTo>
                  <a:lnTo>
                    <a:pt x="7514" y="206631"/>
                  </a:lnTo>
                  <a:lnTo>
                    <a:pt x="8218" y="206631"/>
                  </a:lnTo>
                  <a:lnTo>
                    <a:pt x="8923" y="206631"/>
                  </a:lnTo>
                  <a:lnTo>
                    <a:pt x="13384" y="208039"/>
                  </a:lnTo>
                  <a:lnTo>
                    <a:pt x="14088" y="208039"/>
                  </a:lnTo>
                  <a:lnTo>
                    <a:pt x="15028" y="208509"/>
                  </a:lnTo>
                  <a:lnTo>
                    <a:pt x="15967" y="208979"/>
                  </a:lnTo>
                  <a:lnTo>
                    <a:pt x="16671" y="210153"/>
                  </a:lnTo>
                  <a:lnTo>
                    <a:pt x="16671" y="210857"/>
                  </a:lnTo>
                  <a:lnTo>
                    <a:pt x="16906" y="212266"/>
                  </a:lnTo>
                  <a:lnTo>
                    <a:pt x="16906" y="212501"/>
                  </a:lnTo>
                  <a:lnTo>
                    <a:pt x="17141" y="212736"/>
                  </a:lnTo>
                  <a:lnTo>
                    <a:pt x="17376" y="212970"/>
                  </a:lnTo>
                  <a:lnTo>
                    <a:pt x="17611" y="213205"/>
                  </a:lnTo>
                  <a:lnTo>
                    <a:pt x="19254" y="213675"/>
                  </a:lnTo>
                  <a:lnTo>
                    <a:pt x="19254" y="213675"/>
                  </a:lnTo>
                  <a:lnTo>
                    <a:pt x="19724" y="213205"/>
                  </a:lnTo>
                  <a:lnTo>
                    <a:pt x="22072" y="208744"/>
                  </a:lnTo>
                  <a:lnTo>
                    <a:pt x="22541" y="208274"/>
                  </a:lnTo>
                  <a:lnTo>
                    <a:pt x="23011" y="208274"/>
                  </a:lnTo>
                  <a:lnTo>
                    <a:pt x="24185" y="208274"/>
                  </a:lnTo>
                  <a:lnTo>
                    <a:pt x="25594" y="208509"/>
                  </a:lnTo>
                  <a:lnTo>
                    <a:pt x="27238" y="208979"/>
                  </a:lnTo>
                  <a:lnTo>
                    <a:pt x="27472" y="208979"/>
                  </a:lnTo>
                  <a:lnTo>
                    <a:pt x="27472" y="208744"/>
                  </a:lnTo>
                  <a:lnTo>
                    <a:pt x="27942" y="207805"/>
                  </a:lnTo>
                  <a:lnTo>
                    <a:pt x="27942" y="207100"/>
                  </a:lnTo>
                  <a:lnTo>
                    <a:pt x="27942" y="204987"/>
                  </a:lnTo>
                  <a:lnTo>
                    <a:pt x="28646" y="202169"/>
                  </a:lnTo>
                  <a:lnTo>
                    <a:pt x="28412" y="202169"/>
                  </a:lnTo>
                  <a:lnTo>
                    <a:pt x="27472" y="202169"/>
                  </a:lnTo>
                  <a:lnTo>
                    <a:pt x="26298" y="202169"/>
                  </a:lnTo>
                  <a:lnTo>
                    <a:pt x="25359" y="201230"/>
                  </a:lnTo>
                  <a:lnTo>
                    <a:pt x="25359" y="200291"/>
                  </a:lnTo>
                  <a:lnTo>
                    <a:pt x="25829" y="194655"/>
                  </a:lnTo>
                  <a:lnTo>
                    <a:pt x="26298" y="193481"/>
                  </a:lnTo>
                  <a:lnTo>
                    <a:pt x="27238" y="192307"/>
                  </a:lnTo>
                  <a:lnTo>
                    <a:pt x="30760" y="188081"/>
                  </a:lnTo>
                  <a:lnTo>
                    <a:pt x="31699" y="186437"/>
                  </a:lnTo>
                  <a:lnTo>
                    <a:pt x="33343" y="183385"/>
                  </a:lnTo>
                  <a:lnTo>
                    <a:pt x="33577" y="182445"/>
                  </a:lnTo>
                  <a:lnTo>
                    <a:pt x="33577" y="182211"/>
                  </a:lnTo>
                  <a:lnTo>
                    <a:pt x="33577" y="179628"/>
                  </a:lnTo>
                  <a:lnTo>
                    <a:pt x="32638" y="174227"/>
                  </a:lnTo>
                  <a:lnTo>
                    <a:pt x="32638" y="172818"/>
                  </a:lnTo>
                  <a:lnTo>
                    <a:pt x="33343" y="168592"/>
                  </a:lnTo>
                  <a:lnTo>
                    <a:pt x="34047" y="167183"/>
                  </a:lnTo>
                  <a:lnTo>
                    <a:pt x="34517" y="166479"/>
                  </a:lnTo>
                  <a:lnTo>
                    <a:pt x="35221" y="165774"/>
                  </a:lnTo>
                  <a:lnTo>
                    <a:pt x="36865" y="165774"/>
                  </a:lnTo>
                  <a:lnTo>
                    <a:pt x="37804" y="166244"/>
                  </a:lnTo>
                  <a:lnTo>
                    <a:pt x="38274" y="166948"/>
                  </a:lnTo>
                  <a:lnTo>
                    <a:pt x="42265" y="172114"/>
                  </a:lnTo>
                  <a:lnTo>
                    <a:pt x="42735" y="172584"/>
                  </a:lnTo>
                  <a:lnTo>
                    <a:pt x="42970" y="172818"/>
                  </a:lnTo>
                  <a:lnTo>
                    <a:pt x="43205" y="172818"/>
                  </a:lnTo>
                  <a:lnTo>
                    <a:pt x="43674" y="172584"/>
                  </a:lnTo>
                  <a:lnTo>
                    <a:pt x="43674" y="172584"/>
                  </a:lnTo>
                  <a:lnTo>
                    <a:pt x="47196" y="170001"/>
                  </a:lnTo>
                  <a:lnTo>
                    <a:pt x="47901" y="169061"/>
                  </a:lnTo>
                  <a:lnTo>
                    <a:pt x="48605" y="168592"/>
                  </a:lnTo>
                  <a:lnTo>
                    <a:pt x="50484" y="165070"/>
                  </a:lnTo>
                  <a:lnTo>
                    <a:pt x="51658" y="163426"/>
                  </a:lnTo>
                  <a:lnTo>
                    <a:pt x="53536" y="162252"/>
                  </a:lnTo>
                  <a:lnTo>
                    <a:pt x="54710" y="162017"/>
                  </a:lnTo>
                  <a:lnTo>
                    <a:pt x="55884" y="162252"/>
                  </a:lnTo>
                  <a:lnTo>
                    <a:pt x="57058" y="162956"/>
                  </a:lnTo>
                  <a:lnTo>
                    <a:pt x="57763" y="163426"/>
                  </a:lnTo>
                  <a:lnTo>
                    <a:pt x="58232" y="164365"/>
                  </a:lnTo>
                  <a:lnTo>
                    <a:pt x="58232" y="165070"/>
                  </a:lnTo>
                  <a:lnTo>
                    <a:pt x="58232" y="165774"/>
                  </a:lnTo>
                  <a:lnTo>
                    <a:pt x="58232" y="166009"/>
                  </a:lnTo>
                  <a:lnTo>
                    <a:pt x="58232" y="166244"/>
                  </a:lnTo>
                  <a:lnTo>
                    <a:pt x="58937" y="167418"/>
                  </a:lnTo>
                  <a:lnTo>
                    <a:pt x="59171" y="168357"/>
                  </a:lnTo>
                  <a:lnTo>
                    <a:pt x="59171" y="169061"/>
                  </a:lnTo>
                  <a:lnTo>
                    <a:pt x="58937" y="169766"/>
                  </a:lnTo>
                  <a:lnTo>
                    <a:pt x="58937" y="170001"/>
                  </a:lnTo>
                  <a:lnTo>
                    <a:pt x="59171" y="171175"/>
                  </a:lnTo>
                  <a:lnTo>
                    <a:pt x="60111" y="173053"/>
                  </a:lnTo>
                  <a:lnTo>
                    <a:pt x="61520" y="174932"/>
                  </a:lnTo>
                  <a:lnTo>
                    <a:pt x="64807" y="177749"/>
                  </a:lnTo>
                  <a:lnTo>
                    <a:pt x="65042" y="177749"/>
                  </a:lnTo>
                  <a:lnTo>
                    <a:pt x="65276" y="177749"/>
                  </a:lnTo>
                  <a:lnTo>
                    <a:pt x="65511" y="177749"/>
                  </a:lnTo>
                  <a:lnTo>
                    <a:pt x="65981" y="177514"/>
                  </a:lnTo>
                  <a:lnTo>
                    <a:pt x="67390" y="176340"/>
                  </a:lnTo>
                  <a:lnTo>
                    <a:pt x="68094" y="176106"/>
                  </a:lnTo>
                  <a:lnTo>
                    <a:pt x="69033" y="175871"/>
                  </a:lnTo>
                  <a:lnTo>
                    <a:pt x="69738" y="175636"/>
                  </a:lnTo>
                  <a:lnTo>
                    <a:pt x="72086" y="175636"/>
                  </a:lnTo>
                  <a:lnTo>
                    <a:pt x="72556" y="175636"/>
                  </a:lnTo>
                  <a:lnTo>
                    <a:pt x="73025" y="175401"/>
                  </a:lnTo>
                  <a:lnTo>
                    <a:pt x="74434" y="175166"/>
                  </a:lnTo>
                  <a:lnTo>
                    <a:pt x="76078" y="174697"/>
                  </a:lnTo>
                  <a:lnTo>
                    <a:pt x="76782" y="174697"/>
                  </a:lnTo>
                  <a:lnTo>
                    <a:pt x="77721" y="174932"/>
                  </a:lnTo>
                  <a:lnTo>
                    <a:pt x="78895" y="175636"/>
                  </a:lnTo>
                  <a:lnTo>
                    <a:pt x="79365" y="176106"/>
                  </a:lnTo>
                  <a:lnTo>
                    <a:pt x="79835" y="176575"/>
                  </a:lnTo>
                  <a:lnTo>
                    <a:pt x="80304" y="177045"/>
                  </a:lnTo>
                  <a:lnTo>
                    <a:pt x="80539" y="177749"/>
                  </a:lnTo>
                  <a:lnTo>
                    <a:pt x="80774" y="178454"/>
                  </a:lnTo>
                  <a:lnTo>
                    <a:pt x="80774" y="179393"/>
                  </a:lnTo>
                  <a:lnTo>
                    <a:pt x="80539" y="180097"/>
                  </a:lnTo>
                  <a:lnTo>
                    <a:pt x="80304" y="181271"/>
                  </a:lnTo>
                  <a:lnTo>
                    <a:pt x="80069" y="181976"/>
                  </a:lnTo>
                  <a:lnTo>
                    <a:pt x="79365" y="183150"/>
                  </a:lnTo>
                  <a:lnTo>
                    <a:pt x="79130" y="183619"/>
                  </a:lnTo>
                  <a:lnTo>
                    <a:pt x="79835" y="183854"/>
                  </a:lnTo>
                  <a:lnTo>
                    <a:pt x="80304" y="184089"/>
                  </a:lnTo>
                  <a:lnTo>
                    <a:pt x="80539" y="183854"/>
                  </a:lnTo>
                  <a:lnTo>
                    <a:pt x="80774" y="183619"/>
                  </a:lnTo>
                  <a:lnTo>
                    <a:pt x="81478" y="183150"/>
                  </a:lnTo>
                  <a:lnTo>
                    <a:pt x="82652" y="182211"/>
                  </a:lnTo>
                  <a:lnTo>
                    <a:pt x="83357" y="181741"/>
                  </a:lnTo>
                  <a:lnTo>
                    <a:pt x="84061" y="181271"/>
                  </a:lnTo>
                  <a:lnTo>
                    <a:pt x="84765" y="181037"/>
                  </a:lnTo>
                  <a:lnTo>
                    <a:pt x="86409" y="180567"/>
                  </a:lnTo>
                  <a:lnTo>
                    <a:pt x="88992" y="180332"/>
                  </a:lnTo>
                  <a:lnTo>
                    <a:pt x="89462" y="180097"/>
                  </a:lnTo>
                  <a:lnTo>
                    <a:pt x="90401" y="179393"/>
                  </a:lnTo>
                  <a:lnTo>
                    <a:pt x="91340" y="178923"/>
                  </a:lnTo>
                  <a:lnTo>
                    <a:pt x="92045" y="178923"/>
                  </a:lnTo>
                  <a:lnTo>
                    <a:pt x="96036" y="178688"/>
                  </a:lnTo>
                  <a:lnTo>
                    <a:pt x="96271" y="178454"/>
                  </a:lnTo>
                  <a:lnTo>
                    <a:pt x="95332" y="177045"/>
                  </a:lnTo>
                  <a:lnTo>
                    <a:pt x="93219" y="172349"/>
                  </a:lnTo>
                  <a:lnTo>
                    <a:pt x="93219" y="172349"/>
                  </a:lnTo>
                  <a:lnTo>
                    <a:pt x="92279" y="172584"/>
                  </a:lnTo>
                  <a:lnTo>
                    <a:pt x="91340" y="172349"/>
                  </a:lnTo>
                  <a:lnTo>
                    <a:pt x="90166" y="171879"/>
                  </a:lnTo>
                  <a:lnTo>
                    <a:pt x="89696" y="170705"/>
                  </a:lnTo>
                  <a:lnTo>
                    <a:pt x="89696" y="169061"/>
                  </a:lnTo>
                  <a:lnTo>
                    <a:pt x="91575" y="165070"/>
                  </a:lnTo>
                  <a:lnTo>
                    <a:pt x="91810" y="164600"/>
                  </a:lnTo>
                  <a:lnTo>
                    <a:pt x="93453" y="152390"/>
                  </a:lnTo>
                  <a:lnTo>
                    <a:pt x="95097" y="147459"/>
                  </a:lnTo>
                  <a:lnTo>
                    <a:pt x="95332" y="146520"/>
                  </a:lnTo>
                  <a:lnTo>
                    <a:pt x="95097" y="140650"/>
                  </a:lnTo>
                  <a:lnTo>
                    <a:pt x="94862" y="140180"/>
                  </a:lnTo>
                  <a:lnTo>
                    <a:pt x="94862" y="139945"/>
                  </a:lnTo>
                  <a:lnTo>
                    <a:pt x="91340" y="138771"/>
                  </a:lnTo>
                  <a:lnTo>
                    <a:pt x="90401" y="138536"/>
                  </a:lnTo>
                  <a:lnTo>
                    <a:pt x="89696" y="138302"/>
                  </a:lnTo>
                  <a:lnTo>
                    <a:pt x="88992" y="137832"/>
                  </a:lnTo>
                  <a:lnTo>
                    <a:pt x="88992" y="135484"/>
                  </a:lnTo>
                  <a:lnTo>
                    <a:pt x="89462" y="132666"/>
                  </a:lnTo>
                  <a:lnTo>
                    <a:pt x="91340" y="125622"/>
                  </a:lnTo>
                  <a:lnTo>
                    <a:pt x="91575" y="123274"/>
                  </a:lnTo>
                  <a:lnTo>
                    <a:pt x="91575" y="122569"/>
                  </a:lnTo>
                  <a:lnTo>
                    <a:pt x="88757" y="120456"/>
                  </a:lnTo>
                  <a:lnTo>
                    <a:pt x="87583" y="119282"/>
                  </a:lnTo>
                  <a:lnTo>
                    <a:pt x="87348" y="117873"/>
                  </a:lnTo>
                  <a:lnTo>
                    <a:pt x="87818" y="116699"/>
                  </a:lnTo>
                  <a:lnTo>
                    <a:pt x="89227" y="115760"/>
                  </a:lnTo>
                  <a:lnTo>
                    <a:pt x="90166" y="115056"/>
                  </a:lnTo>
                  <a:lnTo>
                    <a:pt x="91810" y="114586"/>
                  </a:lnTo>
                  <a:lnTo>
                    <a:pt x="92279" y="114351"/>
                  </a:lnTo>
                  <a:lnTo>
                    <a:pt x="91575" y="112708"/>
                  </a:lnTo>
                  <a:lnTo>
                    <a:pt x="91575" y="111768"/>
                  </a:lnTo>
                  <a:lnTo>
                    <a:pt x="92045" y="110594"/>
                  </a:lnTo>
                  <a:lnTo>
                    <a:pt x="92749" y="109655"/>
                  </a:lnTo>
                  <a:lnTo>
                    <a:pt x="94393" y="108246"/>
                  </a:lnTo>
                  <a:lnTo>
                    <a:pt x="95567" y="108246"/>
                  </a:lnTo>
                  <a:lnTo>
                    <a:pt x="96741" y="108716"/>
                  </a:lnTo>
                  <a:lnTo>
                    <a:pt x="97445" y="109420"/>
                  </a:lnTo>
                  <a:lnTo>
                    <a:pt x="96741" y="106837"/>
                  </a:lnTo>
                  <a:lnTo>
                    <a:pt x="96975" y="105429"/>
                  </a:lnTo>
                  <a:lnTo>
                    <a:pt x="97445" y="104020"/>
                  </a:lnTo>
                  <a:lnTo>
                    <a:pt x="100263" y="100263"/>
                  </a:lnTo>
                  <a:lnTo>
                    <a:pt x="104489" y="93688"/>
                  </a:lnTo>
                  <a:lnTo>
                    <a:pt x="105429" y="92514"/>
                  </a:lnTo>
                  <a:lnTo>
                    <a:pt x="107542" y="90870"/>
                  </a:lnTo>
                  <a:lnTo>
                    <a:pt x="108246" y="90166"/>
                  </a:lnTo>
                  <a:lnTo>
                    <a:pt x="108246" y="90166"/>
                  </a:lnTo>
                  <a:lnTo>
                    <a:pt x="108246" y="89931"/>
                  </a:lnTo>
                  <a:lnTo>
                    <a:pt x="106133" y="87583"/>
                  </a:lnTo>
                  <a:lnTo>
                    <a:pt x="105194" y="86409"/>
                  </a:lnTo>
                  <a:lnTo>
                    <a:pt x="104724" y="85000"/>
                  </a:lnTo>
                  <a:lnTo>
                    <a:pt x="104489" y="82887"/>
                  </a:lnTo>
                  <a:lnTo>
                    <a:pt x="106133" y="80539"/>
                  </a:lnTo>
                  <a:lnTo>
                    <a:pt x="112238" y="76547"/>
                  </a:lnTo>
                  <a:lnTo>
                    <a:pt x="114821" y="73964"/>
                  </a:lnTo>
                  <a:lnTo>
                    <a:pt x="115056" y="73495"/>
                  </a:lnTo>
                  <a:lnTo>
                    <a:pt x="115056" y="73025"/>
                  </a:lnTo>
                  <a:lnTo>
                    <a:pt x="114586" y="71616"/>
                  </a:lnTo>
                  <a:lnTo>
                    <a:pt x="114351" y="69972"/>
                  </a:lnTo>
                  <a:lnTo>
                    <a:pt x="114821" y="68798"/>
                  </a:lnTo>
                  <a:lnTo>
                    <a:pt x="115525" y="68094"/>
                  </a:lnTo>
                  <a:lnTo>
                    <a:pt x="116230" y="67624"/>
                  </a:lnTo>
                  <a:lnTo>
                    <a:pt x="116934" y="67155"/>
                  </a:lnTo>
                  <a:lnTo>
                    <a:pt x="117639" y="66685"/>
                  </a:lnTo>
                  <a:lnTo>
                    <a:pt x="119047" y="66450"/>
                  </a:lnTo>
                  <a:lnTo>
                    <a:pt x="119987" y="66450"/>
                  </a:lnTo>
                  <a:lnTo>
                    <a:pt x="121161" y="66920"/>
                  </a:lnTo>
                  <a:lnTo>
                    <a:pt x="122335" y="68564"/>
                  </a:lnTo>
                  <a:lnTo>
                    <a:pt x="122804" y="69033"/>
                  </a:lnTo>
                  <a:lnTo>
                    <a:pt x="123744" y="69268"/>
                  </a:lnTo>
                  <a:lnTo>
                    <a:pt x="124448" y="69972"/>
                  </a:lnTo>
                  <a:lnTo>
                    <a:pt x="125152" y="70677"/>
                  </a:lnTo>
                  <a:lnTo>
                    <a:pt x="127266" y="74199"/>
                  </a:lnTo>
                  <a:lnTo>
                    <a:pt x="127735" y="74434"/>
                  </a:lnTo>
                  <a:lnTo>
                    <a:pt x="128440" y="73260"/>
                  </a:lnTo>
                  <a:lnTo>
                    <a:pt x="129849" y="71382"/>
                  </a:lnTo>
                  <a:lnTo>
                    <a:pt x="130318" y="70912"/>
                  </a:lnTo>
                  <a:lnTo>
                    <a:pt x="130553" y="70677"/>
                  </a:lnTo>
                  <a:lnTo>
                    <a:pt x="130553" y="70442"/>
                  </a:lnTo>
                  <a:lnTo>
                    <a:pt x="130553" y="70208"/>
                  </a:lnTo>
                  <a:lnTo>
                    <a:pt x="130553" y="69738"/>
                  </a:lnTo>
                  <a:lnTo>
                    <a:pt x="129614" y="67624"/>
                  </a:lnTo>
                  <a:lnTo>
                    <a:pt x="129849" y="66216"/>
                  </a:lnTo>
                  <a:lnTo>
                    <a:pt x="130553" y="64807"/>
                  </a:lnTo>
                  <a:lnTo>
                    <a:pt x="132431" y="63633"/>
                  </a:lnTo>
                  <a:lnTo>
                    <a:pt x="133840" y="61989"/>
                  </a:lnTo>
                  <a:lnTo>
                    <a:pt x="134780" y="61519"/>
                  </a:lnTo>
                  <a:lnTo>
                    <a:pt x="143467" y="56354"/>
                  </a:lnTo>
                  <a:lnTo>
                    <a:pt x="145111" y="55649"/>
                  </a:lnTo>
                  <a:lnTo>
                    <a:pt x="146755" y="55180"/>
                  </a:lnTo>
                  <a:lnTo>
                    <a:pt x="147694" y="55415"/>
                  </a:lnTo>
                  <a:lnTo>
                    <a:pt x="148633" y="55649"/>
                  </a:lnTo>
                  <a:lnTo>
                    <a:pt x="149103" y="56119"/>
                  </a:lnTo>
                  <a:lnTo>
                    <a:pt x="149807" y="56589"/>
                  </a:lnTo>
                  <a:lnTo>
                    <a:pt x="150277" y="57058"/>
                  </a:lnTo>
                  <a:lnTo>
                    <a:pt x="151451" y="58937"/>
                  </a:lnTo>
                  <a:lnTo>
                    <a:pt x="154269" y="61754"/>
                  </a:lnTo>
                  <a:lnTo>
                    <a:pt x="154738" y="62224"/>
                  </a:lnTo>
                  <a:lnTo>
                    <a:pt x="155208" y="63163"/>
                  </a:lnTo>
                  <a:lnTo>
                    <a:pt x="157321" y="70442"/>
                  </a:lnTo>
                  <a:lnTo>
                    <a:pt x="157321" y="71382"/>
                  </a:lnTo>
                  <a:lnTo>
                    <a:pt x="157086" y="72086"/>
                  </a:lnTo>
                  <a:lnTo>
                    <a:pt x="156851" y="73025"/>
                  </a:lnTo>
                  <a:lnTo>
                    <a:pt x="155677" y="74199"/>
                  </a:lnTo>
                  <a:lnTo>
                    <a:pt x="155677" y="74434"/>
                  </a:lnTo>
                  <a:lnTo>
                    <a:pt x="155443" y="74904"/>
                  </a:lnTo>
                  <a:lnTo>
                    <a:pt x="155677" y="75373"/>
                  </a:lnTo>
                  <a:lnTo>
                    <a:pt x="156851" y="79600"/>
                  </a:lnTo>
                  <a:lnTo>
                    <a:pt x="157321" y="84531"/>
                  </a:lnTo>
                  <a:lnTo>
                    <a:pt x="157321" y="84765"/>
                  </a:lnTo>
                  <a:lnTo>
                    <a:pt x="158025" y="85000"/>
                  </a:lnTo>
                  <a:lnTo>
                    <a:pt x="159434" y="85705"/>
                  </a:lnTo>
                  <a:lnTo>
                    <a:pt x="162956" y="86879"/>
                  </a:lnTo>
                  <a:lnTo>
                    <a:pt x="164600" y="87114"/>
                  </a:lnTo>
                  <a:lnTo>
                    <a:pt x="165304" y="87114"/>
                  </a:lnTo>
                  <a:lnTo>
                    <a:pt x="165774" y="87114"/>
                  </a:lnTo>
                  <a:lnTo>
                    <a:pt x="166244" y="86644"/>
                  </a:lnTo>
                  <a:lnTo>
                    <a:pt x="166713" y="86409"/>
                  </a:lnTo>
                  <a:lnTo>
                    <a:pt x="168592" y="85000"/>
                  </a:lnTo>
                  <a:lnTo>
                    <a:pt x="169296" y="84061"/>
                  </a:lnTo>
                  <a:lnTo>
                    <a:pt x="171175" y="81478"/>
                  </a:lnTo>
                  <a:lnTo>
                    <a:pt x="172114" y="80539"/>
                  </a:lnTo>
                  <a:lnTo>
                    <a:pt x="175871" y="77252"/>
                  </a:lnTo>
                  <a:lnTo>
                    <a:pt x="176340" y="76782"/>
                  </a:lnTo>
                  <a:lnTo>
                    <a:pt x="177280" y="76312"/>
                  </a:lnTo>
                  <a:lnTo>
                    <a:pt x="178688" y="75608"/>
                  </a:lnTo>
                  <a:lnTo>
                    <a:pt x="179863" y="75843"/>
                  </a:lnTo>
                  <a:lnTo>
                    <a:pt x="180802" y="76078"/>
                  </a:lnTo>
                  <a:lnTo>
                    <a:pt x="181741" y="77017"/>
                  </a:lnTo>
                  <a:lnTo>
                    <a:pt x="182445" y="77486"/>
                  </a:lnTo>
                  <a:lnTo>
                    <a:pt x="183385" y="77956"/>
                  </a:lnTo>
                  <a:lnTo>
                    <a:pt x="185498" y="78426"/>
                  </a:lnTo>
                  <a:lnTo>
                    <a:pt x="186202" y="78191"/>
                  </a:lnTo>
                  <a:lnTo>
                    <a:pt x="186907" y="78191"/>
                  </a:lnTo>
                  <a:lnTo>
                    <a:pt x="187142" y="77956"/>
                  </a:lnTo>
                  <a:lnTo>
                    <a:pt x="188316" y="76782"/>
                  </a:lnTo>
                  <a:lnTo>
                    <a:pt x="189020" y="76312"/>
                  </a:lnTo>
                  <a:lnTo>
                    <a:pt x="189255" y="76078"/>
                  </a:lnTo>
                  <a:lnTo>
                    <a:pt x="189724" y="75608"/>
                  </a:lnTo>
                  <a:lnTo>
                    <a:pt x="194890" y="71147"/>
                  </a:lnTo>
                  <a:lnTo>
                    <a:pt x="195595" y="70442"/>
                  </a:lnTo>
                  <a:lnTo>
                    <a:pt x="196299" y="69503"/>
                  </a:lnTo>
                  <a:lnTo>
                    <a:pt x="197238" y="68564"/>
                  </a:lnTo>
                  <a:lnTo>
                    <a:pt x="198882" y="67390"/>
                  </a:lnTo>
                  <a:lnTo>
                    <a:pt x="198882" y="67155"/>
                  </a:lnTo>
                  <a:lnTo>
                    <a:pt x="198882" y="67155"/>
                  </a:lnTo>
                  <a:lnTo>
                    <a:pt x="198882" y="66920"/>
                  </a:lnTo>
                  <a:lnTo>
                    <a:pt x="197943" y="64572"/>
                  </a:lnTo>
                  <a:lnTo>
                    <a:pt x="197708" y="63398"/>
                  </a:lnTo>
                  <a:lnTo>
                    <a:pt x="198178" y="62459"/>
                  </a:lnTo>
                  <a:lnTo>
                    <a:pt x="198647" y="61989"/>
                  </a:lnTo>
                  <a:lnTo>
                    <a:pt x="198882" y="61754"/>
                  </a:lnTo>
                  <a:lnTo>
                    <a:pt x="198882" y="61754"/>
                  </a:lnTo>
                  <a:lnTo>
                    <a:pt x="198882" y="61519"/>
                  </a:lnTo>
                  <a:lnTo>
                    <a:pt x="198882" y="61285"/>
                  </a:lnTo>
                  <a:lnTo>
                    <a:pt x="198647" y="60815"/>
                  </a:lnTo>
                  <a:lnTo>
                    <a:pt x="197943" y="60345"/>
                  </a:lnTo>
                  <a:lnTo>
                    <a:pt x="197004" y="59641"/>
                  </a:lnTo>
                  <a:lnTo>
                    <a:pt x="196299" y="59171"/>
                  </a:lnTo>
                  <a:lnTo>
                    <a:pt x="195829" y="57997"/>
                  </a:lnTo>
                  <a:lnTo>
                    <a:pt x="196064" y="57058"/>
                  </a:lnTo>
                  <a:lnTo>
                    <a:pt x="196534" y="56119"/>
                  </a:lnTo>
                  <a:lnTo>
                    <a:pt x="196769" y="55649"/>
                  </a:lnTo>
                  <a:lnTo>
                    <a:pt x="197473" y="54945"/>
                  </a:lnTo>
                  <a:lnTo>
                    <a:pt x="198412" y="54475"/>
                  </a:lnTo>
                  <a:lnTo>
                    <a:pt x="202169" y="53066"/>
                  </a:lnTo>
                  <a:lnTo>
                    <a:pt x="202874" y="52597"/>
                  </a:lnTo>
                  <a:lnTo>
                    <a:pt x="206631" y="49544"/>
                  </a:lnTo>
                  <a:lnTo>
                    <a:pt x="208274" y="47901"/>
                  </a:lnTo>
                  <a:lnTo>
                    <a:pt x="208979" y="47431"/>
                  </a:lnTo>
                  <a:lnTo>
                    <a:pt x="210387" y="46257"/>
                  </a:lnTo>
                  <a:lnTo>
                    <a:pt x="211562" y="46022"/>
                  </a:lnTo>
                  <a:lnTo>
                    <a:pt x="212736" y="46257"/>
                  </a:lnTo>
                  <a:lnTo>
                    <a:pt x="215084" y="47901"/>
                  </a:lnTo>
                  <a:lnTo>
                    <a:pt x="215553" y="48136"/>
                  </a:lnTo>
                  <a:lnTo>
                    <a:pt x="215553" y="48136"/>
                  </a:lnTo>
                  <a:lnTo>
                    <a:pt x="215788" y="47196"/>
                  </a:lnTo>
                  <a:lnTo>
                    <a:pt x="216258" y="46257"/>
                  </a:lnTo>
                  <a:lnTo>
                    <a:pt x="221423" y="42970"/>
                  </a:lnTo>
                  <a:lnTo>
                    <a:pt x="222598" y="42970"/>
                  </a:lnTo>
                  <a:lnTo>
                    <a:pt x="223537" y="42970"/>
                  </a:lnTo>
                  <a:lnTo>
                    <a:pt x="224946" y="43674"/>
                  </a:lnTo>
                  <a:lnTo>
                    <a:pt x="225180" y="43909"/>
                  </a:lnTo>
                  <a:lnTo>
                    <a:pt x="225180" y="43909"/>
                  </a:lnTo>
                  <a:lnTo>
                    <a:pt x="225180" y="43674"/>
                  </a:lnTo>
                  <a:lnTo>
                    <a:pt x="225415" y="43439"/>
                  </a:lnTo>
                  <a:lnTo>
                    <a:pt x="225650" y="43205"/>
                  </a:lnTo>
                  <a:lnTo>
                    <a:pt x="226120" y="42735"/>
                  </a:lnTo>
                  <a:lnTo>
                    <a:pt x="227763" y="41326"/>
                  </a:lnTo>
                  <a:lnTo>
                    <a:pt x="228703" y="41091"/>
                  </a:lnTo>
                  <a:lnTo>
                    <a:pt x="229877" y="41326"/>
                  </a:lnTo>
                  <a:lnTo>
                    <a:pt x="231520" y="42500"/>
                  </a:lnTo>
                  <a:lnTo>
                    <a:pt x="232459" y="42970"/>
                  </a:lnTo>
                  <a:lnTo>
                    <a:pt x="233164" y="43205"/>
                  </a:lnTo>
                  <a:lnTo>
                    <a:pt x="233399" y="43205"/>
                  </a:lnTo>
                  <a:lnTo>
                    <a:pt x="233868" y="42970"/>
                  </a:lnTo>
                  <a:lnTo>
                    <a:pt x="236686" y="40857"/>
                  </a:lnTo>
                  <a:lnTo>
                    <a:pt x="238095" y="39683"/>
                  </a:lnTo>
                  <a:lnTo>
                    <a:pt x="238330" y="39447"/>
                  </a:lnTo>
                  <a:lnTo>
                    <a:pt x="238564" y="38978"/>
                  </a:lnTo>
                  <a:lnTo>
                    <a:pt x="238564" y="38978"/>
                  </a:lnTo>
                  <a:lnTo>
                    <a:pt x="238799" y="38743"/>
                  </a:lnTo>
                  <a:lnTo>
                    <a:pt x="238330" y="38039"/>
                  </a:lnTo>
                  <a:lnTo>
                    <a:pt x="235512" y="34047"/>
                  </a:lnTo>
                  <a:lnTo>
                    <a:pt x="235042" y="34047"/>
                  </a:lnTo>
                  <a:lnTo>
                    <a:pt x="234808" y="33812"/>
                  </a:lnTo>
                  <a:lnTo>
                    <a:pt x="233868" y="34047"/>
                  </a:lnTo>
                  <a:lnTo>
                    <a:pt x="233164" y="34282"/>
                  </a:lnTo>
                  <a:lnTo>
                    <a:pt x="229642" y="35456"/>
                  </a:lnTo>
                  <a:lnTo>
                    <a:pt x="228703" y="35691"/>
                  </a:lnTo>
                  <a:lnTo>
                    <a:pt x="227763" y="35691"/>
                  </a:lnTo>
                  <a:lnTo>
                    <a:pt x="226824" y="35456"/>
                  </a:lnTo>
                  <a:lnTo>
                    <a:pt x="225885" y="34986"/>
                  </a:lnTo>
                  <a:lnTo>
                    <a:pt x="223537" y="31934"/>
                  </a:lnTo>
                  <a:lnTo>
                    <a:pt x="223067" y="30994"/>
                  </a:lnTo>
                  <a:lnTo>
                    <a:pt x="223302" y="29820"/>
                  </a:lnTo>
                  <a:lnTo>
                    <a:pt x="223772" y="29116"/>
                  </a:lnTo>
                  <a:lnTo>
                    <a:pt x="224711" y="28412"/>
                  </a:lnTo>
                  <a:lnTo>
                    <a:pt x="227763" y="26533"/>
                  </a:lnTo>
                  <a:lnTo>
                    <a:pt x="229172" y="26064"/>
                  </a:lnTo>
                  <a:lnTo>
                    <a:pt x="230346" y="26298"/>
                  </a:lnTo>
                  <a:lnTo>
                    <a:pt x="231051" y="26533"/>
                  </a:lnTo>
                  <a:lnTo>
                    <a:pt x="231285" y="26768"/>
                  </a:lnTo>
                  <a:lnTo>
                    <a:pt x="233868" y="26533"/>
                  </a:lnTo>
                  <a:lnTo>
                    <a:pt x="234808" y="26533"/>
                  </a:lnTo>
                  <a:lnTo>
                    <a:pt x="235982" y="27238"/>
                  </a:lnTo>
                  <a:lnTo>
                    <a:pt x="236216" y="27238"/>
                  </a:lnTo>
                  <a:lnTo>
                    <a:pt x="236216" y="27238"/>
                  </a:lnTo>
                  <a:lnTo>
                    <a:pt x="236216" y="27003"/>
                  </a:lnTo>
                  <a:lnTo>
                    <a:pt x="236216" y="27003"/>
                  </a:lnTo>
                  <a:lnTo>
                    <a:pt x="233399" y="23950"/>
                  </a:lnTo>
                  <a:lnTo>
                    <a:pt x="232929" y="23011"/>
                  </a:lnTo>
                  <a:lnTo>
                    <a:pt x="232929" y="21837"/>
                  </a:lnTo>
                  <a:lnTo>
                    <a:pt x="233164" y="21133"/>
                  </a:lnTo>
                  <a:lnTo>
                    <a:pt x="233633" y="20428"/>
                  </a:lnTo>
                  <a:lnTo>
                    <a:pt x="234338" y="19724"/>
                  </a:lnTo>
                  <a:lnTo>
                    <a:pt x="234808" y="19489"/>
                  </a:lnTo>
                  <a:lnTo>
                    <a:pt x="235982" y="18315"/>
                  </a:lnTo>
                  <a:lnTo>
                    <a:pt x="238564" y="14558"/>
                  </a:lnTo>
                  <a:lnTo>
                    <a:pt x="240208" y="13149"/>
                  </a:lnTo>
                  <a:lnTo>
                    <a:pt x="244435" y="10801"/>
                  </a:lnTo>
                  <a:lnTo>
                    <a:pt x="247017" y="9158"/>
                  </a:lnTo>
                  <a:lnTo>
                    <a:pt x="247957" y="8218"/>
                  </a:lnTo>
                  <a:lnTo>
                    <a:pt x="253357" y="2583"/>
                  </a:lnTo>
                  <a:lnTo>
                    <a:pt x="254766" y="1409"/>
                  </a:lnTo>
                  <a:lnTo>
                    <a:pt x="256410" y="235"/>
                  </a:lnTo>
                  <a:lnTo>
                    <a:pt x="257584" y="0"/>
                  </a:lnTo>
                  <a:lnTo>
                    <a:pt x="258758" y="0"/>
                  </a:lnTo>
                  <a:lnTo>
                    <a:pt x="259697" y="470"/>
                  </a:lnTo>
                  <a:lnTo>
                    <a:pt x="260402" y="1174"/>
                  </a:lnTo>
                  <a:lnTo>
                    <a:pt x="261341" y="2583"/>
                  </a:lnTo>
                  <a:lnTo>
                    <a:pt x="262045" y="4226"/>
                  </a:lnTo>
                  <a:lnTo>
                    <a:pt x="262280" y="8218"/>
                  </a:lnTo>
                  <a:lnTo>
                    <a:pt x="262515" y="9392"/>
                  </a:lnTo>
                  <a:lnTo>
                    <a:pt x="265098" y="14088"/>
                  </a:lnTo>
                  <a:lnTo>
                    <a:pt x="265333" y="14088"/>
                  </a:lnTo>
                  <a:lnTo>
                    <a:pt x="266507" y="14558"/>
                  </a:lnTo>
                  <a:lnTo>
                    <a:pt x="268150" y="14793"/>
                  </a:lnTo>
                  <a:lnTo>
                    <a:pt x="270498" y="15497"/>
                  </a:lnTo>
                  <a:lnTo>
                    <a:pt x="271203" y="15967"/>
                  </a:lnTo>
                  <a:lnTo>
                    <a:pt x="272377" y="16671"/>
                  </a:lnTo>
                  <a:lnTo>
                    <a:pt x="273316" y="17845"/>
                  </a:lnTo>
                  <a:lnTo>
                    <a:pt x="273786" y="18315"/>
                  </a:lnTo>
                  <a:lnTo>
                    <a:pt x="274490" y="20193"/>
                  </a:lnTo>
                  <a:lnTo>
                    <a:pt x="275664" y="32873"/>
                  </a:lnTo>
                  <a:lnTo>
                    <a:pt x="275664" y="33343"/>
                  </a:lnTo>
                  <a:lnTo>
                    <a:pt x="275429" y="34047"/>
                  </a:lnTo>
                  <a:lnTo>
                    <a:pt x="275429" y="34517"/>
                  </a:lnTo>
                  <a:lnTo>
                    <a:pt x="275664" y="34751"/>
                  </a:lnTo>
                  <a:lnTo>
                    <a:pt x="275899" y="35221"/>
                  </a:lnTo>
                  <a:lnTo>
                    <a:pt x="275899" y="35221"/>
                  </a:lnTo>
                  <a:lnTo>
                    <a:pt x="276134" y="35221"/>
                  </a:lnTo>
                  <a:lnTo>
                    <a:pt x="276368" y="35221"/>
                  </a:lnTo>
                  <a:lnTo>
                    <a:pt x="276368" y="35221"/>
                  </a:lnTo>
                  <a:lnTo>
                    <a:pt x="276368" y="34751"/>
                  </a:lnTo>
                  <a:lnTo>
                    <a:pt x="276134" y="32169"/>
                  </a:lnTo>
                  <a:lnTo>
                    <a:pt x="276134" y="31464"/>
                  </a:lnTo>
                  <a:lnTo>
                    <a:pt x="276368" y="30760"/>
                  </a:lnTo>
                  <a:lnTo>
                    <a:pt x="276838" y="30055"/>
                  </a:lnTo>
                  <a:lnTo>
                    <a:pt x="277308" y="29586"/>
                  </a:lnTo>
                  <a:lnTo>
                    <a:pt x="278247" y="29116"/>
                  </a:lnTo>
                  <a:lnTo>
                    <a:pt x="279186" y="28881"/>
                  </a:lnTo>
                  <a:lnTo>
                    <a:pt x="282004" y="29116"/>
                  </a:lnTo>
                  <a:lnTo>
                    <a:pt x="283178" y="29351"/>
                  </a:lnTo>
                  <a:lnTo>
                    <a:pt x="284352" y="30055"/>
                  </a:lnTo>
                  <a:lnTo>
                    <a:pt x="284587" y="31229"/>
                  </a:lnTo>
                  <a:lnTo>
                    <a:pt x="284822" y="32638"/>
                  </a:lnTo>
                  <a:lnTo>
                    <a:pt x="284822" y="33108"/>
                  </a:lnTo>
                  <a:lnTo>
                    <a:pt x="285291" y="33812"/>
                  </a:lnTo>
                  <a:lnTo>
                    <a:pt x="285526" y="33812"/>
                  </a:lnTo>
                  <a:lnTo>
                    <a:pt x="285526" y="33812"/>
                  </a:lnTo>
                  <a:lnTo>
                    <a:pt x="285996" y="33812"/>
                  </a:lnTo>
                  <a:lnTo>
                    <a:pt x="286700" y="33343"/>
                  </a:lnTo>
                  <a:lnTo>
                    <a:pt x="287639" y="33108"/>
                  </a:lnTo>
                  <a:lnTo>
                    <a:pt x="289283" y="32638"/>
                  </a:lnTo>
                  <a:lnTo>
                    <a:pt x="290457" y="32873"/>
                  </a:lnTo>
                  <a:lnTo>
                    <a:pt x="291396" y="33108"/>
                  </a:lnTo>
                  <a:lnTo>
                    <a:pt x="292101" y="33812"/>
                  </a:lnTo>
                  <a:lnTo>
                    <a:pt x="292570" y="34517"/>
                  </a:lnTo>
                  <a:lnTo>
                    <a:pt x="293040" y="35456"/>
                  </a:lnTo>
                  <a:lnTo>
                    <a:pt x="293275" y="36395"/>
                  </a:lnTo>
                  <a:lnTo>
                    <a:pt x="293040" y="37334"/>
                  </a:lnTo>
                  <a:lnTo>
                    <a:pt x="292335" y="38978"/>
                  </a:lnTo>
                  <a:lnTo>
                    <a:pt x="292335" y="39447"/>
                  </a:lnTo>
                  <a:lnTo>
                    <a:pt x="292101" y="39917"/>
                  </a:lnTo>
                  <a:lnTo>
                    <a:pt x="292101" y="40152"/>
                  </a:lnTo>
                  <a:lnTo>
                    <a:pt x="292335" y="40857"/>
                  </a:lnTo>
                  <a:lnTo>
                    <a:pt x="292335" y="41091"/>
                  </a:lnTo>
                  <a:lnTo>
                    <a:pt x="292805" y="41796"/>
                  </a:lnTo>
                  <a:lnTo>
                    <a:pt x="294683" y="43205"/>
                  </a:lnTo>
                  <a:lnTo>
                    <a:pt x="295153" y="43439"/>
                  </a:lnTo>
                  <a:lnTo>
                    <a:pt x="295153" y="43674"/>
                  </a:lnTo>
                  <a:lnTo>
                    <a:pt x="295388" y="43439"/>
                  </a:lnTo>
                  <a:lnTo>
                    <a:pt x="297501" y="41561"/>
                  </a:lnTo>
                  <a:lnTo>
                    <a:pt x="298440" y="41091"/>
                  </a:lnTo>
                  <a:lnTo>
                    <a:pt x="299614" y="40622"/>
                  </a:lnTo>
                  <a:lnTo>
                    <a:pt x="301258" y="40622"/>
                  </a:lnTo>
                  <a:lnTo>
                    <a:pt x="302432" y="41091"/>
                  </a:lnTo>
                  <a:lnTo>
                    <a:pt x="302902" y="41796"/>
                  </a:lnTo>
                  <a:lnTo>
                    <a:pt x="303136" y="41796"/>
                  </a:lnTo>
                  <a:lnTo>
                    <a:pt x="303371" y="41796"/>
                  </a:lnTo>
                  <a:lnTo>
                    <a:pt x="304780" y="41561"/>
                  </a:lnTo>
                  <a:lnTo>
                    <a:pt x="306893" y="41091"/>
                  </a:lnTo>
                  <a:lnTo>
                    <a:pt x="307833" y="41326"/>
                  </a:lnTo>
                  <a:lnTo>
                    <a:pt x="312998" y="43439"/>
                  </a:lnTo>
                  <a:lnTo>
                    <a:pt x="314172" y="44144"/>
                  </a:lnTo>
                  <a:lnTo>
                    <a:pt x="316051" y="46727"/>
                  </a:lnTo>
                  <a:lnTo>
                    <a:pt x="316755" y="47431"/>
                  </a:lnTo>
                  <a:lnTo>
                    <a:pt x="317225" y="47666"/>
                  </a:lnTo>
                  <a:lnTo>
                    <a:pt x="317225" y="47666"/>
                  </a:lnTo>
                  <a:lnTo>
                    <a:pt x="317460" y="47666"/>
                  </a:lnTo>
                  <a:lnTo>
                    <a:pt x="317695" y="47196"/>
                  </a:lnTo>
                  <a:lnTo>
                    <a:pt x="317929" y="46962"/>
                  </a:lnTo>
                  <a:lnTo>
                    <a:pt x="318399" y="46022"/>
                  </a:lnTo>
                  <a:lnTo>
                    <a:pt x="318634" y="45318"/>
                  </a:lnTo>
                  <a:lnTo>
                    <a:pt x="319338" y="44613"/>
                  </a:lnTo>
                  <a:lnTo>
                    <a:pt x="320043" y="44379"/>
                  </a:lnTo>
                  <a:lnTo>
                    <a:pt x="321452" y="43674"/>
                  </a:lnTo>
                  <a:lnTo>
                    <a:pt x="321686" y="43674"/>
                  </a:lnTo>
                  <a:lnTo>
                    <a:pt x="321686" y="42500"/>
                  </a:lnTo>
                  <a:lnTo>
                    <a:pt x="321921" y="41561"/>
                  </a:lnTo>
                  <a:lnTo>
                    <a:pt x="322860" y="40857"/>
                  </a:lnTo>
                  <a:lnTo>
                    <a:pt x="323800" y="40387"/>
                  </a:lnTo>
                  <a:lnTo>
                    <a:pt x="327791" y="40152"/>
                  </a:lnTo>
                  <a:lnTo>
                    <a:pt x="328965" y="40387"/>
                  </a:lnTo>
                  <a:lnTo>
                    <a:pt x="330139" y="40622"/>
                  </a:lnTo>
                  <a:lnTo>
                    <a:pt x="332487" y="42500"/>
                  </a:lnTo>
                  <a:lnTo>
                    <a:pt x="332957" y="42500"/>
                  </a:lnTo>
                  <a:lnTo>
                    <a:pt x="333192" y="42500"/>
                  </a:lnTo>
                  <a:lnTo>
                    <a:pt x="333661" y="42265"/>
                  </a:lnTo>
                  <a:lnTo>
                    <a:pt x="334601" y="41796"/>
                  </a:lnTo>
                  <a:lnTo>
                    <a:pt x="335775" y="41561"/>
                  </a:lnTo>
                  <a:lnTo>
                    <a:pt x="337888" y="41326"/>
                  </a:lnTo>
                  <a:lnTo>
                    <a:pt x="339062" y="41326"/>
                  </a:lnTo>
                  <a:lnTo>
                    <a:pt x="340236" y="41561"/>
                  </a:lnTo>
                  <a:lnTo>
                    <a:pt x="367943" y="54945"/>
                  </a:lnTo>
                  <a:lnTo>
                    <a:pt x="368883" y="55180"/>
                  </a:lnTo>
                  <a:lnTo>
                    <a:pt x="368883" y="55180"/>
                  </a:lnTo>
                  <a:lnTo>
                    <a:pt x="370057" y="52597"/>
                  </a:lnTo>
                  <a:lnTo>
                    <a:pt x="370057" y="52362"/>
                  </a:lnTo>
                  <a:lnTo>
                    <a:pt x="370057" y="52127"/>
                  </a:lnTo>
                  <a:lnTo>
                    <a:pt x="370057" y="51892"/>
                  </a:lnTo>
                  <a:lnTo>
                    <a:pt x="368648" y="50014"/>
                  </a:lnTo>
                  <a:lnTo>
                    <a:pt x="366535" y="46022"/>
                  </a:lnTo>
                  <a:lnTo>
                    <a:pt x="366065" y="44379"/>
                  </a:lnTo>
                  <a:lnTo>
                    <a:pt x="365830" y="43439"/>
                  </a:lnTo>
                  <a:lnTo>
                    <a:pt x="366065" y="42500"/>
                  </a:lnTo>
                  <a:lnTo>
                    <a:pt x="366769" y="41326"/>
                  </a:lnTo>
                  <a:lnTo>
                    <a:pt x="374753" y="41091"/>
                  </a:lnTo>
                  <a:lnTo>
                    <a:pt x="375927" y="41326"/>
                  </a:lnTo>
                  <a:lnTo>
                    <a:pt x="376866" y="42031"/>
                  </a:lnTo>
                  <a:lnTo>
                    <a:pt x="383441" y="51658"/>
                  </a:lnTo>
                  <a:lnTo>
                    <a:pt x="387902" y="66216"/>
                  </a:lnTo>
                  <a:lnTo>
                    <a:pt x="390955" y="70442"/>
                  </a:lnTo>
                  <a:lnTo>
                    <a:pt x="391894" y="71616"/>
                  </a:lnTo>
                  <a:lnTo>
                    <a:pt x="392129" y="71616"/>
                  </a:lnTo>
                  <a:lnTo>
                    <a:pt x="392598" y="71616"/>
                  </a:lnTo>
                  <a:lnTo>
                    <a:pt x="393068" y="71382"/>
                  </a:lnTo>
                  <a:lnTo>
                    <a:pt x="393537" y="71147"/>
                  </a:lnTo>
                  <a:lnTo>
                    <a:pt x="396355" y="70208"/>
                  </a:lnTo>
                  <a:lnTo>
                    <a:pt x="397529" y="72321"/>
                  </a:lnTo>
                  <a:lnTo>
                    <a:pt x="397529" y="73964"/>
                  </a:lnTo>
                  <a:lnTo>
                    <a:pt x="397294" y="75843"/>
                  </a:lnTo>
                  <a:lnTo>
                    <a:pt x="397059" y="77252"/>
                  </a:lnTo>
                  <a:lnTo>
                    <a:pt x="396590" y="78426"/>
                  </a:lnTo>
                  <a:lnTo>
                    <a:pt x="396355" y="78661"/>
                  </a:lnTo>
                  <a:lnTo>
                    <a:pt x="396590" y="78895"/>
                  </a:lnTo>
                  <a:lnTo>
                    <a:pt x="396590" y="79365"/>
                  </a:lnTo>
                  <a:lnTo>
                    <a:pt x="397529" y="81243"/>
                  </a:lnTo>
                  <a:lnTo>
                    <a:pt x="397764" y="82417"/>
                  </a:lnTo>
                  <a:lnTo>
                    <a:pt x="397529" y="83591"/>
                  </a:lnTo>
                  <a:lnTo>
                    <a:pt x="395885" y="85000"/>
                  </a:lnTo>
                  <a:lnTo>
                    <a:pt x="394711" y="84765"/>
                  </a:lnTo>
                  <a:lnTo>
                    <a:pt x="393772" y="84061"/>
                  </a:lnTo>
                  <a:lnTo>
                    <a:pt x="391894" y="81478"/>
                  </a:lnTo>
                  <a:lnTo>
                    <a:pt x="391659" y="81478"/>
                  </a:lnTo>
                  <a:lnTo>
                    <a:pt x="391189" y="81713"/>
                  </a:lnTo>
                  <a:lnTo>
                    <a:pt x="389311" y="82183"/>
                  </a:lnTo>
                  <a:lnTo>
                    <a:pt x="389076" y="82417"/>
                  </a:lnTo>
                  <a:lnTo>
                    <a:pt x="389076" y="82652"/>
                  </a:lnTo>
                  <a:lnTo>
                    <a:pt x="389076" y="83357"/>
                  </a:lnTo>
                  <a:lnTo>
                    <a:pt x="390015" y="88522"/>
                  </a:lnTo>
                  <a:lnTo>
                    <a:pt x="390015" y="92514"/>
                  </a:lnTo>
                  <a:lnTo>
                    <a:pt x="390015" y="92749"/>
                  </a:lnTo>
                  <a:lnTo>
                    <a:pt x="390250" y="92984"/>
                  </a:lnTo>
                  <a:lnTo>
                    <a:pt x="390485" y="93218"/>
                  </a:lnTo>
                  <a:lnTo>
                    <a:pt x="390720" y="93453"/>
                  </a:lnTo>
                  <a:lnTo>
                    <a:pt x="394477" y="94393"/>
                  </a:lnTo>
                  <a:lnTo>
                    <a:pt x="395416" y="94627"/>
                  </a:lnTo>
                  <a:lnTo>
                    <a:pt x="396120" y="95332"/>
                  </a:lnTo>
                  <a:lnTo>
                    <a:pt x="398703" y="99558"/>
                  </a:lnTo>
                  <a:lnTo>
                    <a:pt x="398938" y="100497"/>
                  </a:lnTo>
                  <a:lnTo>
                    <a:pt x="398938" y="101907"/>
                  </a:lnTo>
                  <a:lnTo>
                    <a:pt x="397529" y="102846"/>
                  </a:lnTo>
                  <a:lnTo>
                    <a:pt x="393303" y="104724"/>
                  </a:lnTo>
                  <a:lnTo>
                    <a:pt x="392129" y="105429"/>
                  </a:lnTo>
                  <a:lnTo>
                    <a:pt x="391659" y="105663"/>
                  </a:lnTo>
                  <a:lnTo>
                    <a:pt x="391189" y="105898"/>
                  </a:lnTo>
                  <a:lnTo>
                    <a:pt x="390015" y="106837"/>
                  </a:lnTo>
                  <a:lnTo>
                    <a:pt x="389311" y="107072"/>
                  </a:lnTo>
                  <a:lnTo>
                    <a:pt x="388606" y="107307"/>
                  </a:lnTo>
                  <a:lnTo>
                    <a:pt x="387667" y="107542"/>
                  </a:lnTo>
                  <a:lnTo>
                    <a:pt x="386963" y="107542"/>
                  </a:lnTo>
                  <a:lnTo>
                    <a:pt x="385084" y="107307"/>
                  </a:lnTo>
                  <a:lnTo>
                    <a:pt x="384145" y="107777"/>
                  </a:lnTo>
                  <a:lnTo>
                    <a:pt x="382971" y="109420"/>
                  </a:lnTo>
                  <a:lnTo>
                    <a:pt x="378040" y="116934"/>
                  </a:lnTo>
                  <a:lnTo>
                    <a:pt x="377570" y="117169"/>
                  </a:lnTo>
                  <a:lnTo>
                    <a:pt x="377336" y="117404"/>
                  </a:lnTo>
                  <a:lnTo>
                    <a:pt x="376866" y="117639"/>
                  </a:lnTo>
                  <a:lnTo>
                    <a:pt x="376162" y="117873"/>
                  </a:lnTo>
                  <a:lnTo>
                    <a:pt x="375222" y="117873"/>
                  </a:lnTo>
                  <a:lnTo>
                    <a:pt x="374283" y="117639"/>
                  </a:lnTo>
                  <a:lnTo>
                    <a:pt x="373579" y="117169"/>
                  </a:lnTo>
                  <a:lnTo>
                    <a:pt x="372405" y="115760"/>
                  </a:lnTo>
                  <a:lnTo>
                    <a:pt x="372405" y="115760"/>
                  </a:lnTo>
                  <a:lnTo>
                    <a:pt x="371700" y="116230"/>
                  </a:lnTo>
                  <a:lnTo>
                    <a:pt x="370526" y="116464"/>
                  </a:lnTo>
                  <a:lnTo>
                    <a:pt x="369587" y="115760"/>
                  </a:lnTo>
                  <a:lnTo>
                    <a:pt x="368648" y="114351"/>
                  </a:lnTo>
                  <a:lnTo>
                    <a:pt x="368648" y="114351"/>
                  </a:lnTo>
                  <a:lnTo>
                    <a:pt x="368413" y="114351"/>
                  </a:lnTo>
                  <a:lnTo>
                    <a:pt x="368178" y="114351"/>
                  </a:lnTo>
                  <a:lnTo>
                    <a:pt x="367474" y="114351"/>
                  </a:lnTo>
                  <a:lnTo>
                    <a:pt x="367239" y="114586"/>
                  </a:lnTo>
                  <a:lnTo>
                    <a:pt x="367004" y="114586"/>
                  </a:lnTo>
                  <a:lnTo>
                    <a:pt x="367004" y="114586"/>
                  </a:lnTo>
                  <a:lnTo>
                    <a:pt x="367239" y="115056"/>
                  </a:lnTo>
                  <a:lnTo>
                    <a:pt x="367474" y="116230"/>
                  </a:lnTo>
                  <a:lnTo>
                    <a:pt x="367474" y="117404"/>
                  </a:lnTo>
                  <a:lnTo>
                    <a:pt x="367239" y="119047"/>
                  </a:lnTo>
                  <a:lnTo>
                    <a:pt x="367239" y="119517"/>
                  </a:lnTo>
                  <a:lnTo>
                    <a:pt x="367474" y="120221"/>
                  </a:lnTo>
                  <a:lnTo>
                    <a:pt x="374048" y="131727"/>
                  </a:lnTo>
                  <a:lnTo>
                    <a:pt x="375457" y="136893"/>
                  </a:lnTo>
                  <a:lnTo>
                    <a:pt x="373814" y="138771"/>
                  </a:lnTo>
                  <a:lnTo>
                    <a:pt x="371231" y="142059"/>
                  </a:lnTo>
                  <a:lnTo>
                    <a:pt x="369822" y="143467"/>
                  </a:lnTo>
                  <a:lnTo>
                    <a:pt x="368883" y="144407"/>
                  </a:lnTo>
                  <a:lnTo>
                    <a:pt x="366769" y="145815"/>
                  </a:lnTo>
                  <a:lnTo>
                    <a:pt x="366535" y="146050"/>
                  </a:lnTo>
                  <a:lnTo>
                    <a:pt x="366300" y="146520"/>
                  </a:lnTo>
                  <a:lnTo>
                    <a:pt x="366300" y="147224"/>
                  </a:lnTo>
                  <a:lnTo>
                    <a:pt x="366769" y="148633"/>
                  </a:lnTo>
                  <a:lnTo>
                    <a:pt x="367004" y="149103"/>
                  </a:lnTo>
                  <a:lnTo>
                    <a:pt x="367709" y="150981"/>
                  </a:lnTo>
                  <a:lnTo>
                    <a:pt x="367474" y="152155"/>
                  </a:lnTo>
                  <a:lnTo>
                    <a:pt x="366769" y="153094"/>
                  </a:lnTo>
                  <a:lnTo>
                    <a:pt x="365595" y="153799"/>
                  </a:lnTo>
                  <a:lnTo>
                    <a:pt x="364656" y="154268"/>
                  </a:lnTo>
                  <a:lnTo>
                    <a:pt x="364186" y="154503"/>
                  </a:lnTo>
                  <a:lnTo>
                    <a:pt x="363717" y="155442"/>
                  </a:lnTo>
                  <a:lnTo>
                    <a:pt x="362543" y="157321"/>
                  </a:lnTo>
                  <a:lnTo>
                    <a:pt x="361369" y="158730"/>
                  </a:lnTo>
                  <a:lnTo>
                    <a:pt x="359960" y="159904"/>
                  </a:lnTo>
                  <a:lnTo>
                    <a:pt x="359021" y="160139"/>
                  </a:lnTo>
                  <a:lnTo>
                    <a:pt x="357377" y="160608"/>
                  </a:lnTo>
                  <a:lnTo>
                    <a:pt x="355968" y="160608"/>
                  </a:lnTo>
                  <a:lnTo>
                    <a:pt x="353385" y="160608"/>
                  </a:lnTo>
                  <a:lnTo>
                    <a:pt x="352916" y="160608"/>
                  </a:lnTo>
                  <a:lnTo>
                    <a:pt x="352446" y="160843"/>
                  </a:lnTo>
                  <a:lnTo>
                    <a:pt x="351976" y="161078"/>
                  </a:lnTo>
                  <a:lnTo>
                    <a:pt x="351037" y="161547"/>
                  </a:lnTo>
                  <a:lnTo>
                    <a:pt x="352446" y="162956"/>
                  </a:lnTo>
                  <a:lnTo>
                    <a:pt x="352916" y="163895"/>
                  </a:lnTo>
                  <a:lnTo>
                    <a:pt x="353151" y="165070"/>
                  </a:lnTo>
                  <a:lnTo>
                    <a:pt x="352681" y="166244"/>
                  </a:lnTo>
                  <a:lnTo>
                    <a:pt x="351272" y="166948"/>
                  </a:lnTo>
                  <a:lnTo>
                    <a:pt x="350333" y="167183"/>
                  </a:lnTo>
                  <a:lnTo>
                    <a:pt x="349394" y="167418"/>
                  </a:lnTo>
                  <a:lnTo>
                    <a:pt x="346106" y="167183"/>
                  </a:lnTo>
                  <a:lnTo>
                    <a:pt x="342584" y="166244"/>
                  </a:lnTo>
                  <a:lnTo>
                    <a:pt x="341645" y="166009"/>
                  </a:lnTo>
                  <a:lnTo>
                    <a:pt x="341410" y="166009"/>
                  </a:lnTo>
                  <a:lnTo>
                    <a:pt x="340940" y="166244"/>
                  </a:lnTo>
                  <a:lnTo>
                    <a:pt x="340471" y="166244"/>
                  </a:lnTo>
                  <a:lnTo>
                    <a:pt x="340001" y="166479"/>
                  </a:lnTo>
                  <a:lnTo>
                    <a:pt x="339766" y="166713"/>
                  </a:lnTo>
                  <a:lnTo>
                    <a:pt x="336479" y="169296"/>
                  </a:lnTo>
                  <a:lnTo>
                    <a:pt x="334366" y="171409"/>
                  </a:lnTo>
                  <a:lnTo>
                    <a:pt x="334131" y="171644"/>
                  </a:lnTo>
                  <a:lnTo>
                    <a:pt x="333661" y="171879"/>
                  </a:lnTo>
                  <a:lnTo>
                    <a:pt x="332018" y="172584"/>
                  </a:lnTo>
                  <a:lnTo>
                    <a:pt x="331783" y="172818"/>
                  </a:lnTo>
                  <a:lnTo>
                    <a:pt x="331313" y="173288"/>
                  </a:lnTo>
                  <a:lnTo>
                    <a:pt x="329200" y="176575"/>
                  </a:lnTo>
                  <a:lnTo>
                    <a:pt x="328261" y="177514"/>
                  </a:lnTo>
                  <a:lnTo>
                    <a:pt x="327087" y="178219"/>
                  </a:lnTo>
                  <a:lnTo>
                    <a:pt x="326382" y="178454"/>
                  </a:lnTo>
                  <a:lnTo>
                    <a:pt x="324034" y="179158"/>
                  </a:lnTo>
                  <a:lnTo>
                    <a:pt x="323565" y="179158"/>
                  </a:lnTo>
                  <a:lnTo>
                    <a:pt x="323330" y="179393"/>
                  </a:lnTo>
                  <a:lnTo>
                    <a:pt x="323330" y="179628"/>
                  </a:lnTo>
                  <a:lnTo>
                    <a:pt x="323095" y="180097"/>
                  </a:lnTo>
                  <a:lnTo>
                    <a:pt x="323095" y="181506"/>
                  </a:lnTo>
                  <a:lnTo>
                    <a:pt x="323330" y="182915"/>
                  </a:lnTo>
                  <a:lnTo>
                    <a:pt x="324034" y="184559"/>
                  </a:lnTo>
                  <a:lnTo>
                    <a:pt x="324034" y="185498"/>
                  </a:lnTo>
                  <a:lnTo>
                    <a:pt x="323565" y="186672"/>
                  </a:lnTo>
                  <a:lnTo>
                    <a:pt x="322860" y="187611"/>
                  </a:lnTo>
                  <a:lnTo>
                    <a:pt x="321921" y="188081"/>
                  </a:lnTo>
                  <a:lnTo>
                    <a:pt x="320747" y="188785"/>
                  </a:lnTo>
                  <a:lnTo>
                    <a:pt x="319808" y="189020"/>
                  </a:lnTo>
                  <a:lnTo>
                    <a:pt x="319573" y="189020"/>
                  </a:lnTo>
                  <a:lnTo>
                    <a:pt x="318869" y="189255"/>
                  </a:lnTo>
                  <a:lnTo>
                    <a:pt x="317460" y="189724"/>
                  </a:lnTo>
                  <a:lnTo>
                    <a:pt x="315816" y="190664"/>
                  </a:lnTo>
                  <a:lnTo>
                    <a:pt x="314642" y="191133"/>
                  </a:lnTo>
                  <a:lnTo>
                    <a:pt x="313938" y="191838"/>
                  </a:lnTo>
                  <a:lnTo>
                    <a:pt x="313703" y="192072"/>
                  </a:lnTo>
                  <a:lnTo>
                    <a:pt x="313468" y="192777"/>
                  </a:lnTo>
                  <a:lnTo>
                    <a:pt x="313233" y="194420"/>
                  </a:lnTo>
                  <a:lnTo>
                    <a:pt x="313468" y="195594"/>
                  </a:lnTo>
                  <a:lnTo>
                    <a:pt x="313703" y="196064"/>
                  </a:lnTo>
                  <a:lnTo>
                    <a:pt x="313938" y="196534"/>
                  </a:lnTo>
                  <a:lnTo>
                    <a:pt x="314407" y="197473"/>
                  </a:lnTo>
                  <a:lnTo>
                    <a:pt x="314407" y="199352"/>
                  </a:lnTo>
                  <a:lnTo>
                    <a:pt x="314642" y="199586"/>
                  </a:lnTo>
                  <a:lnTo>
                    <a:pt x="314642" y="199821"/>
                  </a:lnTo>
                  <a:lnTo>
                    <a:pt x="314877" y="199821"/>
                  </a:lnTo>
                  <a:lnTo>
                    <a:pt x="315112" y="200056"/>
                  </a:lnTo>
                  <a:lnTo>
                    <a:pt x="316286" y="200056"/>
                  </a:lnTo>
                  <a:lnTo>
                    <a:pt x="317695" y="200526"/>
                  </a:lnTo>
                  <a:lnTo>
                    <a:pt x="318164" y="201934"/>
                  </a:lnTo>
                  <a:lnTo>
                    <a:pt x="317695" y="203578"/>
                  </a:lnTo>
                  <a:lnTo>
                    <a:pt x="316521" y="206161"/>
                  </a:lnTo>
                  <a:lnTo>
                    <a:pt x="315581" y="207335"/>
                  </a:lnTo>
                  <a:lnTo>
                    <a:pt x="314877" y="208274"/>
                  </a:lnTo>
                  <a:lnTo>
                    <a:pt x="314407" y="208744"/>
                  </a:lnTo>
                  <a:lnTo>
                    <a:pt x="314407" y="208979"/>
                  </a:lnTo>
                  <a:lnTo>
                    <a:pt x="314172" y="209448"/>
                  </a:lnTo>
                  <a:lnTo>
                    <a:pt x="313938" y="210387"/>
                  </a:lnTo>
                  <a:lnTo>
                    <a:pt x="313703" y="213675"/>
                  </a:lnTo>
                  <a:lnTo>
                    <a:pt x="312998" y="215553"/>
                  </a:lnTo>
                  <a:lnTo>
                    <a:pt x="311120" y="218840"/>
                  </a:lnTo>
                  <a:lnTo>
                    <a:pt x="310181" y="220015"/>
                  </a:lnTo>
                  <a:lnTo>
                    <a:pt x="309946" y="220249"/>
                  </a:lnTo>
                  <a:lnTo>
                    <a:pt x="309241" y="220484"/>
                  </a:lnTo>
                  <a:lnTo>
                    <a:pt x="308537" y="220719"/>
                  </a:lnTo>
                  <a:lnTo>
                    <a:pt x="307598" y="220954"/>
                  </a:lnTo>
                  <a:lnTo>
                    <a:pt x="306659" y="220954"/>
                  </a:lnTo>
                  <a:lnTo>
                    <a:pt x="305954" y="220719"/>
                  </a:lnTo>
                  <a:lnTo>
                    <a:pt x="305250" y="220484"/>
                  </a:lnTo>
                  <a:lnTo>
                    <a:pt x="304780" y="220015"/>
                  </a:lnTo>
                  <a:lnTo>
                    <a:pt x="300788" y="215788"/>
                  </a:lnTo>
                  <a:lnTo>
                    <a:pt x="300788" y="216023"/>
                  </a:lnTo>
                  <a:lnTo>
                    <a:pt x="300554" y="216258"/>
                  </a:lnTo>
                  <a:lnTo>
                    <a:pt x="299614" y="216962"/>
                  </a:lnTo>
                  <a:lnTo>
                    <a:pt x="298440" y="218840"/>
                  </a:lnTo>
                  <a:lnTo>
                    <a:pt x="296797" y="220484"/>
                  </a:lnTo>
                  <a:lnTo>
                    <a:pt x="296797" y="220719"/>
                  </a:lnTo>
                  <a:lnTo>
                    <a:pt x="296562" y="221423"/>
                  </a:lnTo>
                  <a:lnTo>
                    <a:pt x="296797" y="222597"/>
                  </a:lnTo>
                  <a:lnTo>
                    <a:pt x="297501" y="224241"/>
                  </a:lnTo>
                  <a:lnTo>
                    <a:pt x="305015" y="233399"/>
                  </a:lnTo>
                  <a:lnTo>
                    <a:pt x="305250" y="234573"/>
                  </a:lnTo>
                  <a:lnTo>
                    <a:pt x="305015" y="235747"/>
                  </a:lnTo>
                  <a:lnTo>
                    <a:pt x="304076" y="237390"/>
                  </a:lnTo>
                  <a:lnTo>
                    <a:pt x="303136" y="238799"/>
                  </a:lnTo>
                  <a:lnTo>
                    <a:pt x="301728" y="240208"/>
                  </a:lnTo>
                  <a:lnTo>
                    <a:pt x="300788" y="241617"/>
                  </a:lnTo>
                  <a:lnTo>
                    <a:pt x="298440" y="245374"/>
                  </a:lnTo>
                  <a:lnTo>
                    <a:pt x="297971" y="245843"/>
                  </a:lnTo>
                  <a:lnTo>
                    <a:pt x="297501" y="246548"/>
                  </a:lnTo>
                  <a:lnTo>
                    <a:pt x="296562" y="247017"/>
                  </a:lnTo>
                  <a:lnTo>
                    <a:pt x="295153" y="247487"/>
                  </a:lnTo>
                  <a:lnTo>
                    <a:pt x="293979" y="247957"/>
                  </a:lnTo>
                  <a:lnTo>
                    <a:pt x="293744" y="248191"/>
                  </a:lnTo>
                  <a:lnTo>
                    <a:pt x="293509" y="248426"/>
                  </a:lnTo>
                  <a:lnTo>
                    <a:pt x="293275" y="249131"/>
                  </a:lnTo>
                  <a:lnTo>
                    <a:pt x="293509" y="251714"/>
                  </a:lnTo>
                  <a:lnTo>
                    <a:pt x="297032" y="267211"/>
                  </a:lnTo>
                  <a:lnTo>
                    <a:pt x="297736" y="275429"/>
                  </a:lnTo>
                  <a:lnTo>
                    <a:pt x="297501" y="276603"/>
                  </a:lnTo>
                  <a:lnTo>
                    <a:pt x="296797" y="277542"/>
                  </a:lnTo>
                  <a:lnTo>
                    <a:pt x="295388" y="278951"/>
                  </a:lnTo>
                  <a:lnTo>
                    <a:pt x="294214" y="279421"/>
                  </a:lnTo>
                  <a:lnTo>
                    <a:pt x="293275" y="279656"/>
                  </a:lnTo>
                  <a:lnTo>
                    <a:pt x="291161" y="279656"/>
                  </a:lnTo>
                  <a:lnTo>
                    <a:pt x="289987" y="279890"/>
                  </a:lnTo>
                  <a:lnTo>
                    <a:pt x="289283" y="279890"/>
                  </a:lnTo>
                  <a:lnTo>
                    <a:pt x="288813" y="280125"/>
                  </a:lnTo>
                  <a:lnTo>
                    <a:pt x="288578" y="280125"/>
                  </a:lnTo>
                  <a:lnTo>
                    <a:pt x="288344" y="280830"/>
                  </a:lnTo>
                  <a:lnTo>
                    <a:pt x="287874" y="282473"/>
                  </a:lnTo>
                  <a:lnTo>
                    <a:pt x="287404" y="286230"/>
                  </a:lnTo>
                  <a:lnTo>
                    <a:pt x="287639" y="287874"/>
                  </a:lnTo>
                  <a:lnTo>
                    <a:pt x="287874" y="288579"/>
                  </a:lnTo>
                  <a:lnTo>
                    <a:pt x="292570" y="295388"/>
                  </a:lnTo>
                  <a:lnTo>
                    <a:pt x="297032" y="306659"/>
                  </a:lnTo>
                  <a:lnTo>
                    <a:pt x="296092" y="308302"/>
                  </a:lnTo>
                  <a:lnTo>
                    <a:pt x="294683" y="309711"/>
                  </a:lnTo>
                  <a:lnTo>
                    <a:pt x="289752" y="312764"/>
                  </a:lnTo>
                  <a:lnTo>
                    <a:pt x="288813" y="313468"/>
                  </a:lnTo>
                  <a:lnTo>
                    <a:pt x="288109" y="314407"/>
                  </a:lnTo>
                  <a:lnTo>
                    <a:pt x="288109" y="314877"/>
                  </a:lnTo>
                  <a:lnTo>
                    <a:pt x="287874" y="315581"/>
                  </a:lnTo>
                  <a:lnTo>
                    <a:pt x="287874" y="317225"/>
                  </a:lnTo>
                  <a:lnTo>
                    <a:pt x="286465" y="318399"/>
                  </a:lnTo>
                  <a:lnTo>
                    <a:pt x="285526" y="319338"/>
                  </a:lnTo>
                  <a:lnTo>
                    <a:pt x="276838" y="322626"/>
                  </a:lnTo>
                  <a:lnTo>
                    <a:pt x="274490" y="323800"/>
                  </a:lnTo>
                  <a:close/>
                </a:path>
              </a:pathLst>
            </a:custGeom>
            <a:solidFill>
              <a:srgbClr val="CBD8E7"/>
            </a:solidFill>
            <a:ln w="2347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40" name="Луганская область">
              <a:extLst>
                <a:ext uri="{FF2B5EF4-FFF2-40B4-BE49-F238E27FC236}">
                  <a16:creationId xmlns:a16="http://schemas.microsoft.com/office/drawing/2014/main" id="{00000000-0008-0000-0100-0000B9000000}"/>
                </a:ext>
              </a:extLst>
            </p:cNvPr>
            <p:cNvSpPr/>
            <p:nvPr/>
          </p:nvSpPr>
          <p:spPr>
            <a:xfrm rot="21112225">
              <a:off x="1405173" y="3801384"/>
              <a:ext cx="310421" cy="379188"/>
            </a:xfrm>
            <a:custGeom>
              <a:avLst/>
              <a:gdLst>
                <a:gd name="connsiteX0" fmla="*/ 42500 w 321921"/>
                <a:gd name="connsiteY0" fmla="*/ 375222 h 375926"/>
                <a:gd name="connsiteX1" fmla="*/ 39213 w 321921"/>
                <a:gd name="connsiteY1" fmla="*/ 371935 h 375926"/>
                <a:gd name="connsiteX2" fmla="*/ 34751 w 321921"/>
                <a:gd name="connsiteY2" fmla="*/ 359960 h 375926"/>
                <a:gd name="connsiteX3" fmla="*/ 33108 w 321921"/>
                <a:gd name="connsiteY3" fmla="*/ 357142 h 375926"/>
                <a:gd name="connsiteX4" fmla="*/ 27707 w 321921"/>
                <a:gd name="connsiteY4" fmla="*/ 351977 h 375926"/>
                <a:gd name="connsiteX5" fmla="*/ 26298 w 321921"/>
                <a:gd name="connsiteY5" fmla="*/ 348454 h 375926"/>
                <a:gd name="connsiteX6" fmla="*/ 25359 w 321921"/>
                <a:gd name="connsiteY6" fmla="*/ 345871 h 375926"/>
                <a:gd name="connsiteX7" fmla="*/ 21602 w 321921"/>
                <a:gd name="connsiteY7" fmla="*/ 342584 h 375926"/>
                <a:gd name="connsiteX8" fmla="*/ 19724 w 321921"/>
                <a:gd name="connsiteY8" fmla="*/ 340236 h 375926"/>
                <a:gd name="connsiteX9" fmla="*/ 19254 w 321921"/>
                <a:gd name="connsiteY9" fmla="*/ 337653 h 375926"/>
                <a:gd name="connsiteX10" fmla="*/ 19254 w 321921"/>
                <a:gd name="connsiteY10" fmla="*/ 332722 h 375926"/>
                <a:gd name="connsiteX11" fmla="*/ 18315 w 321921"/>
                <a:gd name="connsiteY11" fmla="*/ 330844 h 375926"/>
                <a:gd name="connsiteX12" fmla="*/ 7279 w 321921"/>
                <a:gd name="connsiteY12" fmla="*/ 317460 h 375926"/>
                <a:gd name="connsiteX13" fmla="*/ 3757 w 321921"/>
                <a:gd name="connsiteY13" fmla="*/ 314407 h 375926"/>
                <a:gd name="connsiteX14" fmla="*/ 1878 w 321921"/>
                <a:gd name="connsiteY14" fmla="*/ 312294 h 375926"/>
                <a:gd name="connsiteX15" fmla="*/ 939 w 321921"/>
                <a:gd name="connsiteY15" fmla="*/ 309476 h 375926"/>
                <a:gd name="connsiteX16" fmla="*/ 939 w 321921"/>
                <a:gd name="connsiteY16" fmla="*/ 301728 h 375926"/>
                <a:gd name="connsiteX17" fmla="*/ 0 w 321921"/>
                <a:gd name="connsiteY17" fmla="*/ 300788 h 375926"/>
                <a:gd name="connsiteX18" fmla="*/ 1409 w 321921"/>
                <a:gd name="connsiteY18" fmla="*/ 300084 h 375926"/>
                <a:gd name="connsiteX19" fmla="*/ 2818 w 321921"/>
                <a:gd name="connsiteY19" fmla="*/ 299380 h 375926"/>
                <a:gd name="connsiteX20" fmla="*/ 11271 w 321921"/>
                <a:gd name="connsiteY20" fmla="*/ 296092 h 375926"/>
                <a:gd name="connsiteX21" fmla="*/ 11975 w 321921"/>
                <a:gd name="connsiteY21" fmla="*/ 295623 h 375926"/>
                <a:gd name="connsiteX22" fmla="*/ 12445 w 321921"/>
                <a:gd name="connsiteY22" fmla="*/ 294918 h 375926"/>
                <a:gd name="connsiteX23" fmla="*/ 12445 w 321921"/>
                <a:gd name="connsiteY23" fmla="*/ 294214 h 375926"/>
                <a:gd name="connsiteX24" fmla="*/ 12680 w 321921"/>
                <a:gd name="connsiteY24" fmla="*/ 293275 h 375926"/>
                <a:gd name="connsiteX25" fmla="*/ 12914 w 321921"/>
                <a:gd name="connsiteY25" fmla="*/ 292101 h 375926"/>
                <a:gd name="connsiteX26" fmla="*/ 13854 w 321921"/>
                <a:gd name="connsiteY26" fmla="*/ 290692 h 375926"/>
                <a:gd name="connsiteX27" fmla="*/ 15262 w 321921"/>
                <a:gd name="connsiteY27" fmla="*/ 289753 h 375926"/>
                <a:gd name="connsiteX28" fmla="*/ 20193 w 321921"/>
                <a:gd name="connsiteY28" fmla="*/ 286700 h 375926"/>
                <a:gd name="connsiteX29" fmla="*/ 21133 w 321921"/>
                <a:gd name="connsiteY29" fmla="*/ 285761 h 375926"/>
                <a:gd name="connsiteX30" fmla="*/ 21368 w 321921"/>
                <a:gd name="connsiteY30" fmla="*/ 285526 h 375926"/>
                <a:gd name="connsiteX31" fmla="*/ 17376 w 321921"/>
                <a:gd name="connsiteY31" fmla="*/ 275429 h 375926"/>
                <a:gd name="connsiteX32" fmla="*/ 12445 w 321921"/>
                <a:gd name="connsiteY32" fmla="*/ 268385 h 375926"/>
                <a:gd name="connsiteX33" fmla="*/ 12210 w 321921"/>
                <a:gd name="connsiteY33" fmla="*/ 266976 h 375926"/>
                <a:gd name="connsiteX34" fmla="*/ 11975 w 321921"/>
                <a:gd name="connsiteY34" fmla="*/ 265098 h 375926"/>
                <a:gd name="connsiteX35" fmla="*/ 12680 w 321921"/>
                <a:gd name="connsiteY35" fmla="*/ 260871 h 375926"/>
                <a:gd name="connsiteX36" fmla="*/ 13149 w 321921"/>
                <a:gd name="connsiteY36" fmla="*/ 258993 h 375926"/>
                <a:gd name="connsiteX37" fmla="*/ 13854 w 321921"/>
                <a:gd name="connsiteY37" fmla="*/ 257349 h 375926"/>
                <a:gd name="connsiteX38" fmla="*/ 14793 w 321921"/>
                <a:gd name="connsiteY38" fmla="*/ 256879 h 375926"/>
                <a:gd name="connsiteX39" fmla="*/ 15732 w 321921"/>
                <a:gd name="connsiteY39" fmla="*/ 256644 h 375926"/>
                <a:gd name="connsiteX40" fmla="*/ 16437 w 321921"/>
                <a:gd name="connsiteY40" fmla="*/ 256410 h 375926"/>
                <a:gd name="connsiteX41" fmla="*/ 17845 w 321921"/>
                <a:gd name="connsiteY41" fmla="*/ 256175 h 375926"/>
                <a:gd name="connsiteX42" fmla="*/ 19959 w 321921"/>
                <a:gd name="connsiteY42" fmla="*/ 256175 h 375926"/>
                <a:gd name="connsiteX43" fmla="*/ 20428 w 321921"/>
                <a:gd name="connsiteY43" fmla="*/ 255940 h 375926"/>
                <a:gd name="connsiteX44" fmla="*/ 20898 w 321921"/>
                <a:gd name="connsiteY44" fmla="*/ 255705 h 375926"/>
                <a:gd name="connsiteX45" fmla="*/ 21837 w 321921"/>
                <a:gd name="connsiteY45" fmla="*/ 255001 h 375926"/>
                <a:gd name="connsiteX46" fmla="*/ 22072 w 321921"/>
                <a:gd name="connsiteY46" fmla="*/ 254531 h 375926"/>
                <a:gd name="connsiteX47" fmla="*/ 22307 w 321921"/>
                <a:gd name="connsiteY47" fmla="*/ 254062 h 375926"/>
                <a:gd name="connsiteX48" fmla="*/ 21837 w 321921"/>
                <a:gd name="connsiteY48" fmla="*/ 246313 h 375926"/>
                <a:gd name="connsiteX49" fmla="*/ 18080 w 321921"/>
                <a:gd name="connsiteY49" fmla="*/ 230816 h 375926"/>
                <a:gd name="connsiteX50" fmla="*/ 17845 w 321921"/>
                <a:gd name="connsiteY50" fmla="*/ 227763 h 375926"/>
                <a:gd name="connsiteX51" fmla="*/ 18315 w 321921"/>
                <a:gd name="connsiteY51" fmla="*/ 226355 h 375926"/>
                <a:gd name="connsiteX52" fmla="*/ 18785 w 321921"/>
                <a:gd name="connsiteY52" fmla="*/ 225180 h 375926"/>
                <a:gd name="connsiteX53" fmla="*/ 19724 w 321921"/>
                <a:gd name="connsiteY53" fmla="*/ 224711 h 375926"/>
                <a:gd name="connsiteX54" fmla="*/ 21133 w 321921"/>
                <a:gd name="connsiteY54" fmla="*/ 224241 h 375926"/>
                <a:gd name="connsiteX55" fmla="*/ 22542 w 321921"/>
                <a:gd name="connsiteY55" fmla="*/ 223537 h 375926"/>
                <a:gd name="connsiteX56" fmla="*/ 22776 w 321921"/>
                <a:gd name="connsiteY56" fmla="*/ 223537 h 375926"/>
                <a:gd name="connsiteX57" fmla="*/ 23011 w 321921"/>
                <a:gd name="connsiteY57" fmla="*/ 223302 h 375926"/>
                <a:gd name="connsiteX58" fmla="*/ 23246 w 321921"/>
                <a:gd name="connsiteY58" fmla="*/ 222832 h 375926"/>
                <a:gd name="connsiteX59" fmla="*/ 25594 w 321921"/>
                <a:gd name="connsiteY59" fmla="*/ 219075 h 375926"/>
                <a:gd name="connsiteX60" fmla="*/ 26768 w 321921"/>
                <a:gd name="connsiteY60" fmla="*/ 217666 h 375926"/>
                <a:gd name="connsiteX61" fmla="*/ 28177 w 321921"/>
                <a:gd name="connsiteY61" fmla="*/ 216258 h 375926"/>
                <a:gd name="connsiteX62" fmla="*/ 29116 w 321921"/>
                <a:gd name="connsiteY62" fmla="*/ 214849 h 375926"/>
                <a:gd name="connsiteX63" fmla="*/ 29821 w 321921"/>
                <a:gd name="connsiteY63" fmla="*/ 213910 h 375926"/>
                <a:gd name="connsiteX64" fmla="*/ 29821 w 321921"/>
                <a:gd name="connsiteY64" fmla="*/ 213440 h 375926"/>
                <a:gd name="connsiteX65" fmla="*/ 29821 w 321921"/>
                <a:gd name="connsiteY65" fmla="*/ 213440 h 375926"/>
                <a:gd name="connsiteX66" fmla="*/ 22307 w 321921"/>
                <a:gd name="connsiteY66" fmla="*/ 204283 h 375926"/>
                <a:gd name="connsiteX67" fmla="*/ 21602 w 321921"/>
                <a:gd name="connsiteY67" fmla="*/ 202169 h 375926"/>
                <a:gd name="connsiteX68" fmla="*/ 21133 w 321921"/>
                <a:gd name="connsiteY68" fmla="*/ 200291 h 375926"/>
                <a:gd name="connsiteX69" fmla="*/ 21368 w 321921"/>
                <a:gd name="connsiteY69" fmla="*/ 198882 h 375926"/>
                <a:gd name="connsiteX70" fmla="*/ 21837 w 321921"/>
                <a:gd name="connsiteY70" fmla="*/ 197943 h 375926"/>
                <a:gd name="connsiteX71" fmla="*/ 23716 w 321921"/>
                <a:gd name="connsiteY71" fmla="*/ 196064 h 375926"/>
                <a:gd name="connsiteX72" fmla="*/ 24890 w 321921"/>
                <a:gd name="connsiteY72" fmla="*/ 194420 h 375926"/>
                <a:gd name="connsiteX73" fmla="*/ 25829 w 321921"/>
                <a:gd name="connsiteY73" fmla="*/ 193246 h 375926"/>
                <a:gd name="connsiteX74" fmla="*/ 26298 w 321921"/>
                <a:gd name="connsiteY74" fmla="*/ 192777 h 375926"/>
                <a:gd name="connsiteX75" fmla="*/ 27238 w 321921"/>
                <a:gd name="connsiteY75" fmla="*/ 192307 h 375926"/>
                <a:gd name="connsiteX76" fmla="*/ 28177 w 321921"/>
                <a:gd name="connsiteY76" fmla="*/ 192307 h 375926"/>
                <a:gd name="connsiteX77" fmla="*/ 28881 w 321921"/>
                <a:gd name="connsiteY77" fmla="*/ 192542 h 375926"/>
                <a:gd name="connsiteX78" fmla="*/ 29351 w 321921"/>
                <a:gd name="connsiteY78" fmla="*/ 193012 h 375926"/>
                <a:gd name="connsiteX79" fmla="*/ 33108 w 321921"/>
                <a:gd name="connsiteY79" fmla="*/ 197004 h 375926"/>
                <a:gd name="connsiteX80" fmla="*/ 33343 w 321921"/>
                <a:gd name="connsiteY80" fmla="*/ 197238 h 375926"/>
                <a:gd name="connsiteX81" fmla="*/ 33812 w 321921"/>
                <a:gd name="connsiteY81" fmla="*/ 197473 h 375926"/>
                <a:gd name="connsiteX82" fmla="*/ 34047 w 321921"/>
                <a:gd name="connsiteY82" fmla="*/ 197473 h 375926"/>
                <a:gd name="connsiteX83" fmla="*/ 34282 w 321921"/>
                <a:gd name="connsiteY83" fmla="*/ 197473 h 375926"/>
                <a:gd name="connsiteX84" fmla="*/ 34751 w 321921"/>
                <a:gd name="connsiteY84" fmla="*/ 197473 h 375926"/>
                <a:gd name="connsiteX85" fmla="*/ 35221 w 321921"/>
                <a:gd name="connsiteY85" fmla="*/ 197238 h 375926"/>
                <a:gd name="connsiteX86" fmla="*/ 35456 w 321921"/>
                <a:gd name="connsiteY86" fmla="*/ 197004 h 375926"/>
                <a:gd name="connsiteX87" fmla="*/ 35926 w 321921"/>
                <a:gd name="connsiteY87" fmla="*/ 196534 h 375926"/>
                <a:gd name="connsiteX88" fmla="*/ 37804 w 321921"/>
                <a:gd name="connsiteY88" fmla="*/ 193481 h 375926"/>
                <a:gd name="connsiteX89" fmla="*/ 38274 w 321921"/>
                <a:gd name="connsiteY89" fmla="*/ 191838 h 375926"/>
                <a:gd name="connsiteX90" fmla="*/ 38508 w 321921"/>
                <a:gd name="connsiteY90" fmla="*/ 188785 h 375926"/>
                <a:gd name="connsiteX91" fmla="*/ 38743 w 321921"/>
                <a:gd name="connsiteY91" fmla="*/ 187846 h 375926"/>
                <a:gd name="connsiteX92" fmla="*/ 39213 w 321921"/>
                <a:gd name="connsiteY92" fmla="*/ 186672 h 375926"/>
                <a:gd name="connsiteX93" fmla="*/ 39682 w 321921"/>
                <a:gd name="connsiteY93" fmla="*/ 186202 h 375926"/>
                <a:gd name="connsiteX94" fmla="*/ 40152 w 321921"/>
                <a:gd name="connsiteY94" fmla="*/ 185498 h 375926"/>
                <a:gd name="connsiteX95" fmla="*/ 40622 w 321921"/>
                <a:gd name="connsiteY95" fmla="*/ 184793 h 375926"/>
                <a:gd name="connsiteX96" fmla="*/ 41326 w 321921"/>
                <a:gd name="connsiteY96" fmla="*/ 183854 h 375926"/>
                <a:gd name="connsiteX97" fmla="*/ 42500 w 321921"/>
                <a:gd name="connsiteY97" fmla="*/ 181741 h 375926"/>
                <a:gd name="connsiteX98" fmla="*/ 42500 w 321921"/>
                <a:gd name="connsiteY98" fmla="*/ 181271 h 375926"/>
                <a:gd name="connsiteX99" fmla="*/ 41796 w 321921"/>
                <a:gd name="connsiteY99" fmla="*/ 181271 h 375926"/>
                <a:gd name="connsiteX100" fmla="*/ 40856 w 321921"/>
                <a:gd name="connsiteY100" fmla="*/ 181037 h 375926"/>
                <a:gd name="connsiteX101" fmla="*/ 40152 w 321921"/>
                <a:gd name="connsiteY101" fmla="*/ 180567 h 375926"/>
                <a:gd name="connsiteX102" fmla="*/ 39448 w 321921"/>
                <a:gd name="connsiteY102" fmla="*/ 179628 h 375926"/>
                <a:gd name="connsiteX103" fmla="*/ 38978 w 321921"/>
                <a:gd name="connsiteY103" fmla="*/ 178688 h 375926"/>
                <a:gd name="connsiteX104" fmla="*/ 38978 w 321921"/>
                <a:gd name="connsiteY104" fmla="*/ 176810 h 375926"/>
                <a:gd name="connsiteX105" fmla="*/ 38743 w 321921"/>
                <a:gd name="connsiteY105" fmla="*/ 176575 h 375926"/>
                <a:gd name="connsiteX106" fmla="*/ 38508 w 321921"/>
                <a:gd name="connsiteY106" fmla="*/ 176106 h 375926"/>
                <a:gd name="connsiteX107" fmla="*/ 38039 w 321921"/>
                <a:gd name="connsiteY107" fmla="*/ 174932 h 375926"/>
                <a:gd name="connsiteX108" fmla="*/ 37804 w 321921"/>
                <a:gd name="connsiteY108" fmla="*/ 173523 h 375926"/>
                <a:gd name="connsiteX109" fmla="*/ 38039 w 321921"/>
                <a:gd name="connsiteY109" fmla="*/ 171175 h 375926"/>
                <a:gd name="connsiteX110" fmla="*/ 38508 w 321921"/>
                <a:gd name="connsiteY110" fmla="*/ 170001 h 375926"/>
                <a:gd name="connsiteX111" fmla="*/ 38978 w 321921"/>
                <a:gd name="connsiteY111" fmla="*/ 169061 h 375926"/>
                <a:gd name="connsiteX112" fmla="*/ 40387 w 321921"/>
                <a:gd name="connsiteY112" fmla="*/ 168122 h 375926"/>
                <a:gd name="connsiteX113" fmla="*/ 41561 w 321921"/>
                <a:gd name="connsiteY113" fmla="*/ 167418 h 375926"/>
                <a:gd name="connsiteX114" fmla="*/ 43674 w 321921"/>
                <a:gd name="connsiteY114" fmla="*/ 166479 h 375926"/>
                <a:gd name="connsiteX115" fmla="*/ 45083 w 321921"/>
                <a:gd name="connsiteY115" fmla="*/ 165774 h 375926"/>
                <a:gd name="connsiteX116" fmla="*/ 46257 w 321921"/>
                <a:gd name="connsiteY116" fmla="*/ 165539 h 375926"/>
                <a:gd name="connsiteX117" fmla="*/ 46257 w 321921"/>
                <a:gd name="connsiteY117" fmla="*/ 165539 h 375926"/>
                <a:gd name="connsiteX118" fmla="*/ 46727 w 321921"/>
                <a:gd name="connsiteY118" fmla="*/ 165539 h 375926"/>
                <a:gd name="connsiteX119" fmla="*/ 47666 w 321921"/>
                <a:gd name="connsiteY119" fmla="*/ 164835 h 375926"/>
                <a:gd name="connsiteX120" fmla="*/ 48136 w 321921"/>
                <a:gd name="connsiteY120" fmla="*/ 164600 h 375926"/>
                <a:gd name="connsiteX121" fmla="*/ 48605 w 321921"/>
                <a:gd name="connsiteY121" fmla="*/ 164365 h 375926"/>
                <a:gd name="connsiteX122" fmla="*/ 48605 w 321921"/>
                <a:gd name="connsiteY122" fmla="*/ 164131 h 375926"/>
                <a:gd name="connsiteX123" fmla="*/ 48605 w 321921"/>
                <a:gd name="connsiteY123" fmla="*/ 163895 h 375926"/>
                <a:gd name="connsiteX124" fmla="*/ 47901 w 321921"/>
                <a:gd name="connsiteY124" fmla="*/ 162252 h 375926"/>
                <a:gd name="connsiteX125" fmla="*/ 47666 w 321921"/>
                <a:gd name="connsiteY125" fmla="*/ 160608 h 375926"/>
                <a:gd name="connsiteX126" fmla="*/ 47666 w 321921"/>
                <a:gd name="connsiteY126" fmla="*/ 158495 h 375926"/>
                <a:gd name="connsiteX127" fmla="*/ 47901 w 321921"/>
                <a:gd name="connsiteY127" fmla="*/ 157321 h 375926"/>
                <a:gd name="connsiteX128" fmla="*/ 48605 w 321921"/>
                <a:gd name="connsiteY128" fmla="*/ 156382 h 375926"/>
                <a:gd name="connsiteX129" fmla="*/ 49544 w 321921"/>
                <a:gd name="connsiteY129" fmla="*/ 155912 h 375926"/>
                <a:gd name="connsiteX130" fmla="*/ 50249 w 321921"/>
                <a:gd name="connsiteY130" fmla="*/ 155677 h 375926"/>
                <a:gd name="connsiteX131" fmla="*/ 52597 w 321921"/>
                <a:gd name="connsiteY131" fmla="*/ 155208 h 375926"/>
                <a:gd name="connsiteX132" fmla="*/ 53067 w 321921"/>
                <a:gd name="connsiteY132" fmla="*/ 154973 h 375926"/>
                <a:gd name="connsiteX133" fmla="*/ 53536 w 321921"/>
                <a:gd name="connsiteY133" fmla="*/ 154503 h 375926"/>
                <a:gd name="connsiteX134" fmla="*/ 54241 w 321921"/>
                <a:gd name="connsiteY134" fmla="*/ 153799 h 375926"/>
                <a:gd name="connsiteX135" fmla="*/ 56354 w 321921"/>
                <a:gd name="connsiteY135" fmla="*/ 150746 h 375926"/>
                <a:gd name="connsiteX136" fmla="*/ 57058 w 321921"/>
                <a:gd name="connsiteY136" fmla="*/ 149807 h 375926"/>
                <a:gd name="connsiteX137" fmla="*/ 57997 w 321921"/>
                <a:gd name="connsiteY137" fmla="*/ 149338 h 375926"/>
                <a:gd name="connsiteX138" fmla="*/ 59406 w 321921"/>
                <a:gd name="connsiteY138" fmla="*/ 148868 h 375926"/>
                <a:gd name="connsiteX139" fmla="*/ 59641 w 321921"/>
                <a:gd name="connsiteY139" fmla="*/ 148633 h 375926"/>
                <a:gd name="connsiteX140" fmla="*/ 61754 w 321921"/>
                <a:gd name="connsiteY140" fmla="*/ 146520 h 375926"/>
                <a:gd name="connsiteX141" fmla="*/ 65276 w 321921"/>
                <a:gd name="connsiteY141" fmla="*/ 143702 h 375926"/>
                <a:gd name="connsiteX142" fmla="*/ 65981 w 321921"/>
                <a:gd name="connsiteY142" fmla="*/ 143233 h 375926"/>
                <a:gd name="connsiteX143" fmla="*/ 66685 w 321921"/>
                <a:gd name="connsiteY143" fmla="*/ 142998 h 375926"/>
                <a:gd name="connsiteX144" fmla="*/ 67625 w 321921"/>
                <a:gd name="connsiteY144" fmla="*/ 142763 h 375926"/>
                <a:gd name="connsiteX145" fmla="*/ 68094 w 321921"/>
                <a:gd name="connsiteY145" fmla="*/ 142528 h 375926"/>
                <a:gd name="connsiteX146" fmla="*/ 68564 w 321921"/>
                <a:gd name="connsiteY146" fmla="*/ 142528 h 375926"/>
                <a:gd name="connsiteX147" fmla="*/ 69973 w 321921"/>
                <a:gd name="connsiteY147" fmla="*/ 142763 h 375926"/>
                <a:gd name="connsiteX148" fmla="*/ 73260 w 321921"/>
                <a:gd name="connsiteY148" fmla="*/ 143702 h 375926"/>
                <a:gd name="connsiteX149" fmla="*/ 76312 w 321921"/>
                <a:gd name="connsiteY149" fmla="*/ 143937 h 375926"/>
                <a:gd name="connsiteX150" fmla="*/ 76782 w 321921"/>
                <a:gd name="connsiteY150" fmla="*/ 143702 h 375926"/>
                <a:gd name="connsiteX151" fmla="*/ 77252 w 321921"/>
                <a:gd name="connsiteY151" fmla="*/ 143702 h 375926"/>
                <a:gd name="connsiteX152" fmla="*/ 77721 w 321921"/>
                <a:gd name="connsiteY152" fmla="*/ 143467 h 375926"/>
                <a:gd name="connsiteX153" fmla="*/ 77486 w 321921"/>
                <a:gd name="connsiteY153" fmla="*/ 143233 h 375926"/>
                <a:gd name="connsiteX154" fmla="*/ 75843 w 321921"/>
                <a:gd name="connsiteY154" fmla="*/ 141589 h 375926"/>
                <a:gd name="connsiteX155" fmla="*/ 75373 w 321921"/>
                <a:gd name="connsiteY155" fmla="*/ 140415 h 375926"/>
                <a:gd name="connsiteX156" fmla="*/ 75843 w 321921"/>
                <a:gd name="connsiteY156" fmla="*/ 139241 h 375926"/>
                <a:gd name="connsiteX157" fmla="*/ 76312 w 321921"/>
                <a:gd name="connsiteY157" fmla="*/ 138771 h 375926"/>
                <a:gd name="connsiteX158" fmla="*/ 77252 w 321921"/>
                <a:gd name="connsiteY158" fmla="*/ 138067 h 375926"/>
                <a:gd name="connsiteX159" fmla="*/ 77721 w 321921"/>
                <a:gd name="connsiteY159" fmla="*/ 137832 h 375926"/>
                <a:gd name="connsiteX160" fmla="*/ 78426 w 321921"/>
                <a:gd name="connsiteY160" fmla="*/ 137597 h 375926"/>
                <a:gd name="connsiteX161" fmla="*/ 79365 w 321921"/>
                <a:gd name="connsiteY161" fmla="*/ 137362 h 375926"/>
                <a:gd name="connsiteX162" fmla="*/ 80304 w 321921"/>
                <a:gd name="connsiteY162" fmla="*/ 137128 h 375926"/>
                <a:gd name="connsiteX163" fmla="*/ 82887 w 321921"/>
                <a:gd name="connsiteY163" fmla="*/ 137128 h 375926"/>
                <a:gd name="connsiteX164" fmla="*/ 84061 w 321921"/>
                <a:gd name="connsiteY164" fmla="*/ 137128 h 375926"/>
                <a:gd name="connsiteX165" fmla="*/ 85235 w 321921"/>
                <a:gd name="connsiteY165" fmla="*/ 136893 h 375926"/>
                <a:gd name="connsiteX166" fmla="*/ 85705 w 321921"/>
                <a:gd name="connsiteY166" fmla="*/ 136658 h 375926"/>
                <a:gd name="connsiteX167" fmla="*/ 86644 w 321921"/>
                <a:gd name="connsiteY167" fmla="*/ 135954 h 375926"/>
                <a:gd name="connsiteX168" fmla="*/ 87583 w 321921"/>
                <a:gd name="connsiteY168" fmla="*/ 134780 h 375926"/>
                <a:gd name="connsiteX169" fmla="*/ 88522 w 321921"/>
                <a:gd name="connsiteY169" fmla="*/ 132901 h 375926"/>
                <a:gd name="connsiteX170" fmla="*/ 89462 w 321921"/>
                <a:gd name="connsiteY170" fmla="*/ 131727 h 375926"/>
                <a:gd name="connsiteX171" fmla="*/ 90636 w 321921"/>
                <a:gd name="connsiteY171" fmla="*/ 131022 h 375926"/>
                <a:gd name="connsiteX172" fmla="*/ 91575 w 321921"/>
                <a:gd name="connsiteY172" fmla="*/ 130553 h 375926"/>
                <a:gd name="connsiteX173" fmla="*/ 92045 w 321921"/>
                <a:gd name="connsiteY173" fmla="*/ 130318 h 375926"/>
                <a:gd name="connsiteX174" fmla="*/ 92279 w 321921"/>
                <a:gd name="connsiteY174" fmla="*/ 130083 h 375926"/>
                <a:gd name="connsiteX175" fmla="*/ 92279 w 321921"/>
                <a:gd name="connsiteY175" fmla="*/ 130083 h 375926"/>
                <a:gd name="connsiteX176" fmla="*/ 91810 w 321921"/>
                <a:gd name="connsiteY176" fmla="*/ 128909 h 375926"/>
                <a:gd name="connsiteX177" fmla="*/ 91575 w 321921"/>
                <a:gd name="connsiteY177" fmla="*/ 128440 h 375926"/>
                <a:gd name="connsiteX178" fmla="*/ 90871 w 321921"/>
                <a:gd name="connsiteY178" fmla="*/ 126326 h 375926"/>
                <a:gd name="connsiteX179" fmla="*/ 90871 w 321921"/>
                <a:gd name="connsiteY179" fmla="*/ 124917 h 375926"/>
                <a:gd name="connsiteX180" fmla="*/ 91340 w 321921"/>
                <a:gd name="connsiteY180" fmla="*/ 123743 h 375926"/>
                <a:gd name="connsiteX181" fmla="*/ 92045 w 321921"/>
                <a:gd name="connsiteY181" fmla="*/ 123039 h 375926"/>
                <a:gd name="connsiteX182" fmla="*/ 94393 w 321921"/>
                <a:gd name="connsiteY182" fmla="*/ 121395 h 375926"/>
                <a:gd name="connsiteX183" fmla="*/ 95097 w 321921"/>
                <a:gd name="connsiteY183" fmla="*/ 120691 h 375926"/>
                <a:gd name="connsiteX184" fmla="*/ 96271 w 321921"/>
                <a:gd name="connsiteY184" fmla="*/ 119517 h 375926"/>
                <a:gd name="connsiteX185" fmla="*/ 98854 w 321921"/>
                <a:gd name="connsiteY185" fmla="*/ 116230 h 375926"/>
                <a:gd name="connsiteX186" fmla="*/ 99793 w 321921"/>
                <a:gd name="connsiteY186" fmla="*/ 115290 h 375926"/>
                <a:gd name="connsiteX187" fmla="*/ 98619 w 321921"/>
                <a:gd name="connsiteY187" fmla="*/ 111534 h 375926"/>
                <a:gd name="connsiteX188" fmla="*/ 92279 w 321921"/>
                <a:gd name="connsiteY188" fmla="*/ 100028 h 375926"/>
                <a:gd name="connsiteX189" fmla="*/ 91810 w 321921"/>
                <a:gd name="connsiteY189" fmla="*/ 98854 h 375926"/>
                <a:gd name="connsiteX190" fmla="*/ 91810 w 321921"/>
                <a:gd name="connsiteY190" fmla="*/ 97680 h 375926"/>
                <a:gd name="connsiteX191" fmla="*/ 92045 w 321921"/>
                <a:gd name="connsiteY191" fmla="*/ 96036 h 375926"/>
                <a:gd name="connsiteX192" fmla="*/ 92045 w 321921"/>
                <a:gd name="connsiteY192" fmla="*/ 95332 h 375926"/>
                <a:gd name="connsiteX193" fmla="*/ 92045 w 321921"/>
                <a:gd name="connsiteY193" fmla="*/ 94627 h 375926"/>
                <a:gd name="connsiteX194" fmla="*/ 91810 w 321921"/>
                <a:gd name="connsiteY194" fmla="*/ 94158 h 375926"/>
                <a:gd name="connsiteX195" fmla="*/ 91575 w 321921"/>
                <a:gd name="connsiteY195" fmla="*/ 92749 h 375926"/>
                <a:gd name="connsiteX196" fmla="*/ 92279 w 321921"/>
                <a:gd name="connsiteY196" fmla="*/ 91810 h 375926"/>
                <a:gd name="connsiteX197" fmla="*/ 93219 w 321921"/>
                <a:gd name="connsiteY197" fmla="*/ 91105 h 375926"/>
                <a:gd name="connsiteX198" fmla="*/ 93923 w 321921"/>
                <a:gd name="connsiteY198" fmla="*/ 90870 h 375926"/>
                <a:gd name="connsiteX199" fmla="*/ 94862 w 321921"/>
                <a:gd name="connsiteY199" fmla="*/ 90870 h 375926"/>
                <a:gd name="connsiteX200" fmla="*/ 95801 w 321921"/>
                <a:gd name="connsiteY200" fmla="*/ 90870 h 375926"/>
                <a:gd name="connsiteX201" fmla="*/ 96741 w 321921"/>
                <a:gd name="connsiteY201" fmla="*/ 91105 h 375926"/>
                <a:gd name="connsiteX202" fmla="*/ 97445 w 321921"/>
                <a:gd name="connsiteY202" fmla="*/ 91810 h 375926"/>
                <a:gd name="connsiteX203" fmla="*/ 97915 w 321921"/>
                <a:gd name="connsiteY203" fmla="*/ 92749 h 375926"/>
                <a:gd name="connsiteX204" fmla="*/ 98854 w 321921"/>
                <a:gd name="connsiteY204" fmla="*/ 92279 h 375926"/>
                <a:gd name="connsiteX205" fmla="*/ 100028 w 321921"/>
                <a:gd name="connsiteY205" fmla="*/ 92044 h 375926"/>
                <a:gd name="connsiteX206" fmla="*/ 100967 w 321921"/>
                <a:gd name="connsiteY206" fmla="*/ 92749 h 375926"/>
                <a:gd name="connsiteX207" fmla="*/ 102141 w 321921"/>
                <a:gd name="connsiteY207" fmla="*/ 94158 h 375926"/>
                <a:gd name="connsiteX208" fmla="*/ 102376 w 321921"/>
                <a:gd name="connsiteY208" fmla="*/ 94393 h 375926"/>
                <a:gd name="connsiteX209" fmla="*/ 102376 w 321921"/>
                <a:gd name="connsiteY209" fmla="*/ 94393 h 375926"/>
                <a:gd name="connsiteX210" fmla="*/ 102611 w 321921"/>
                <a:gd name="connsiteY210" fmla="*/ 94393 h 375926"/>
                <a:gd name="connsiteX211" fmla="*/ 103080 w 321921"/>
                <a:gd name="connsiteY211" fmla="*/ 94158 h 375926"/>
                <a:gd name="connsiteX212" fmla="*/ 103080 w 321921"/>
                <a:gd name="connsiteY212" fmla="*/ 94158 h 375926"/>
                <a:gd name="connsiteX213" fmla="*/ 103080 w 321921"/>
                <a:gd name="connsiteY213" fmla="*/ 94158 h 375926"/>
                <a:gd name="connsiteX214" fmla="*/ 103315 w 321921"/>
                <a:gd name="connsiteY214" fmla="*/ 94158 h 375926"/>
                <a:gd name="connsiteX215" fmla="*/ 108011 w 321921"/>
                <a:gd name="connsiteY215" fmla="*/ 86879 h 375926"/>
                <a:gd name="connsiteX216" fmla="*/ 109420 w 321921"/>
                <a:gd name="connsiteY216" fmla="*/ 85235 h 375926"/>
                <a:gd name="connsiteX217" fmla="*/ 111064 w 321921"/>
                <a:gd name="connsiteY217" fmla="*/ 83826 h 375926"/>
                <a:gd name="connsiteX218" fmla="*/ 112003 w 321921"/>
                <a:gd name="connsiteY218" fmla="*/ 83826 h 375926"/>
                <a:gd name="connsiteX219" fmla="*/ 114116 w 321921"/>
                <a:gd name="connsiteY219" fmla="*/ 84061 h 375926"/>
                <a:gd name="connsiteX220" fmla="*/ 114586 w 321921"/>
                <a:gd name="connsiteY220" fmla="*/ 84061 h 375926"/>
                <a:gd name="connsiteX221" fmla="*/ 115056 w 321921"/>
                <a:gd name="connsiteY221" fmla="*/ 84061 h 375926"/>
                <a:gd name="connsiteX222" fmla="*/ 115525 w 321921"/>
                <a:gd name="connsiteY222" fmla="*/ 83826 h 375926"/>
                <a:gd name="connsiteX223" fmla="*/ 115995 w 321921"/>
                <a:gd name="connsiteY223" fmla="*/ 83591 h 375926"/>
                <a:gd name="connsiteX224" fmla="*/ 116699 w 321921"/>
                <a:gd name="connsiteY224" fmla="*/ 82887 h 375926"/>
                <a:gd name="connsiteX225" fmla="*/ 117169 w 321921"/>
                <a:gd name="connsiteY225" fmla="*/ 82652 h 375926"/>
                <a:gd name="connsiteX226" fmla="*/ 117873 w 321921"/>
                <a:gd name="connsiteY226" fmla="*/ 82183 h 375926"/>
                <a:gd name="connsiteX227" fmla="*/ 119047 w 321921"/>
                <a:gd name="connsiteY227" fmla="*/ 81478 h 375926"/>
                <a:gd name="connsiteX228" fmla="*/ 123509 w 321921"/>
                <a:gd name="connsiteY228" fmla="*/ 79600 h 375926"/>
                <a:gd name="connsiteX229" fmla="*/ 123509 w 321921"/>
                <a:gd name="connsiteY229" fmla="*/ 79600 h 375926"/>
                <a:gd name="connsiteX230" fmla="*/ 121161 w 321921"/>
                <a:gd name="connsiteY230" fmla="*/ 75608 h 375926"/>
                <a:gd name="connsiteX231" fmla="*/ 120926 w 321921"/>
                <a:gd name="connsiteY231" fmla="*/ 75608 h 375926"/>
                <a:gd name="connsiteX232" fmla="*/ 120691 w 321921"/>
                <a:gd name="connsiteY232" fmla="*/ 75373 h 375926"/>
                <a:gd name="connsiteX233" fmla="*/ 116934 w 321921"/>
                <a:gd name="connsiteY233" fmla="*/ 74434 h 375926"/>
                <a:gd name="connsiteX234" fmla="*/ 115995 w 321921"/>
                <a:gd name="connsiteY234" fmla="*/ 73964 h 375926"/>
                <a:gd name="connsiteX235" fmla="*/ 115291 w 321921"/>
                <a:gd name="connsiteY235" fmla="*/ 73495 h 375926"/>
                <a:gd name="connsiteX236" fmla="*/ 114821 w 321921"/>
                <a:gd name="connsiteY236" fmla="*/ 72556 h 375926"/>
                <a:gd name="connsiteX237" fmla="*/ 114586 w 321921"/>
                <a:gd name="connsiteY237" fmla="*/ 71851 h 375926"/>
                <a:gd name="connsiteX238" fmla="*/ 114586 w 321921"/>
                <a:gd name="connsiteY238" fmla="*/ 67624 h 375926"/>
                <a:gd name="connsiteX239" fmla="*/ 113412 w 321921"/>
                <a:gd name="connsiteY239" fmla="*/ 62459 h 375926"/>
                <a:gd name="connsiteX240" fmla="*/ 113647 w 321921"/>
                <a:gd name="connsiteY240" fmla="*/ 60815 h 375926"/>
                <a:gd name="connsiteX241" fmla="*/ 114116 w 321921"/>
                <a:gd name="connsiteY241" fmla="*/ 59641 h 375926"/>
                <a:gd name="connsiteX242" fmla="*/ 115291 w 321921"/>
                <a:gd name="connsiteY242" fmla="*/ 58937 h 375926"/>
                <a:gd name="connsiteX243" fmla="*/ 117639 w 321921"/>
                <a:gd name="connsiteY243" fmla="*/ 58232 h 375926"/>
                <a:gd name="connsiteX244" fmla="*/ 118343 w 321921"/>
                <a:gd name="connsiteY244" fmla="*/ 58232 h 375926"/>
                <a:gd name="connsiteX245" fmla="*/ 119517 w 321921"/>
                <a:gd name="connsiteY245" fmla="*/ 57997 h 375926"/>
                <a:gd name="connsiteX246" fmla="*/ 120456 w 321921"/>
                <a:gd name="connsiteY246" fmla="*/ 58702 h 375926"/>
                <a:gd name="connsiteX247" fmla="*/ 122335 w 321921"/>
                <a:gd name="connsiteY247" fmla="*/ 61285 h 375926"/>
                <a:gd name="connsiteX248" fmla="*/ 122335 w 321921"/>
                <a:gd name="connsiteY248" fmla="*/ 60815 h 375926"/>
                <a:gd name="connsiteX249" fmla="*/ 121396 w 321921"/>
                <a:gd name="connsiteY249" fmla="*/ 59171 h 375926"/>
                <a:gd name="connsiteX250" fmla="*/ 121161 w 321921"/>
                <a:gd name="connsiteY250" fmla="*/ 58232 h 375926"/>
                <a:gd name="connsiteX251" fmla="*/ 120926 w 321921"/>
                <a:gd name="connsiteY251" fmla="*/ 57293 h 375926"/>
                <a:gd name="connsiteX252" fmla="*/ 121161 w 321921"/>
                <a:gd name="connsiteY252" fmla="*/ 56589 h 375926"/>
                <a:gd name="connsiteX253" fmla="*/ 121630 w 321921"/>
                <a:gd name="connsiteY253" fmla="*/ 55415 h 375926"/>
                <a:gd name="connsiteX254" fmla="*/ 121865 w 321921"/>
                <a:gd name="connsiteY254" fmla="*/ 54240 h 375926"/>
                <a:gd name="connsiteX255" fmla="*/ 122100 w 321921"/>
                <a:gd name="connsiteY255" fmla="*/ 52832 h 375926"/>
                <a:gd name="connsiteX256" fmla="*/ 122100 w 321921"/>
                <a:gd name="connsiteY256" fmla="*/ 51892 h 375926"/>
                <a:gd name="connsiteX257" fmla="*/ 120456 w 321921"/>
                <a:gd name="connsiteY257" fmla="*/ 48605 h 375926"/>
                <a:gd name="connsiteX258" fmla="*/ 126561 w 321921"/>
                <a:gd name="connsiteY258" fmla="*/ 50249 h 375926"/>
                <a:gd name="connsiteX259" fmla="*/ 130083 w 321921"/>
                <a:gd name="connsiteY259" fmla="*/ 51658 h 375926"/>
                <a:gd name="connsiteX260" fmla="*/ 132197 w 321921"/>
                <a:gd name="connsiteY260" fmla="*/ 51892 h 375926"/>
                <a:gd name="connsiteX261" fmla="*/ 135014 w 321921"/>
                <a:gd name="connsiteY261" fmla="*/ 51892 h 375926"/>
                <a:gd name="connsiteX262" fmla="*/ 135954 w 321921"/>
                <a:gd name="connsiteY262" fmla="*/ 51658 h 375926"/>
                <a:gd name="connsiteX263" fmla="*/ 136423 w 321921"/>
                <a:gd name="connsiteY263" fmla="*/ 51188 h 375926"/>
                <a:gd name="connsiteX264" fmla="*/ 136658 w 321921"/>
                <a:gd name="connsiteY264" fmla="*/ 51188 h 375926"/>
                <a:gd name="connsiteX265" fmla="*/ 136658 w 321921"/>
                <a:gd name="connsiteY265" fmla="*/ 50718 h 375926"/>
                <a:gd name="connsiteX266" fmla="*/ 136893 w 321921"/>
                <a:gd name="connsiteY266" fmla="*/ 50249 h 375926"/>
                <a:gd name="connsiteX267" fmla="*/ 136893 w 321921"/>
                <a:gd name="connsiteY267" fmla="*/ 50014 h 375926"/>
                <a:gd name="connsiteX268" fmla="*/ 136893 w 321921"/>
                <a:gd name="connsiteY268" fmla="*/ 49544 h 375926"/>
                <a:gd name="connsiteX269" fmla="*/ 136658 w 321921"/>
                <a:gd name="connsiteY269" fmla="*/ 49075 h 375926"/>
                <a:gd name="connsiteX270" fmla="*/ 135719 w 321921"/>
                <a:gd name="connsiteY270" fmla="*/ 47196 h 375926"/>
                <a:gd name="connsiteX271" fmla="*/ 135484 w 321921"/>
                <a:gd name="connsiteY271" fmla="*/ 45787 h 375926"/>
                <a:gd name="connsiteX272" fmla="*/ 136893 w 321921"/>
                <a:gd name="connsiteY272" fmla="*/ 44379 h 375926"/>
                <a:gd name="connsiteX273" fmla="*/ 138771 w 321921"/>
                <a:gd name="connsiteY273" fmla="*/ 42970 h 375926"/>
                <a:gd name="connsiteX274" fmla="*/ 146520 w 321921"/>
                <a:gd name="connsiteY274" fmla="*/ 38743 h 375926"/>
                <a:gd name="connsiteX275" fmla="*/ 147224 w 321921"/>
                <a:gd name="connsiteY275" fmla="*/ 38039 h 375926"/>
                <a:gd name="connsiteX276" fmla="*/ 147929 w 321921"/>
                <a:gd name="connsiteY276" fmla="*/ 37099 h 375926"/>
                <a:gd name="connsiteX277" fmla="*/ 148633 w 321921"/>
                <a:gd name="connsiteY277" fmla="*/ 36395 h 375926"/>
                <a:gd name="connsiteX278" fmla="*/ 148633 w 321921"/>
                <a:gd name="connsiteY278" fmla="*/ 35925 h 375926"/>
                <a:gd name="connsiteX279" fmla="*/ 149103 w 321921"/>
                <a:gd name="connsiteY279" fmla="*/ 34517 h 375926"/>
                <a:gd name="connsiteX280" fmla="*/ 149572 w 321921"/>
                <a:gd name="connsiteY280" fmla="*/ 33577 h 375926"/>
                <a:gd name="connsiteX281" fmla="*/ 150512 w 321921"/>
                <a:gd name="connsiteY281" fmla="*/ 32403 h 375926"/>
                <a:gd name="connsiteX282" fmla="*/ 151451 w 321921"/>
                <a:gd name="connsiteY282" fmla="*/ 31934 h 375926"/>
                <a:gd name="connsiteX283" fmla="*/ 152390 w 321921"/>
                <a:gd name="connsiteY283" fmla="*/ 31699 h 375926"/>
                <a:gd name="connsiteX284" fmla="*/ 155208 w 321921"/>
                <a:gd name="connsiteY284" fmla="*/ 31699 h 375926"/>
                <a:gd name="connsiteX285" fmla="*/ 155912 w 321921"/>
                <a:gd name="connsiteY285" fmla="*/ 31934 h 375926"/>
                <a:gd name="connsiteX286" fmla="*/ 156851 w 321921"/>
                <a:gd name="connsiteY286" fmla="*/ 32403 h 375926"/>
                <a:gd name="connsiteX287" fmla="*/ 158025 w 321921"/>
                <a:gd name="connsiteY287" fmla="*/ 33577 h 375926"/>
                <a:gd name="connsiteX288" fmla="*/ 158260 w 321921"/>
                <a:gd name="connsiteY288" fmla="*/ 33812 h 375926"/>
                <a:gd name="connsiteX289" fmla="*/ 158965 w 321921"/>
                <a:gd name="connsiteY289" fmla="*/ 33812 h 375926"/>
                <a:gd name="connsiteX290" fmla="*/ 160374 w 321921"/>
                <a:gd name="connsiteY290" fmla="*/ 33577 h 375926"/>
                <a:gd name="connsiteX291" fmla="*/ 162956 w 321921"/>
                <a:gd name="connsiteY291" fmla="*/ 32403 h 375926"/>
                <a:gd name="connsiteX292" fmla="*/ 165539 w 321921"/>
                <a:gd name="connsiteY292" fmla="*/ 31229 h 375926"/>
                <a:gd name="connsiteX293" fmla="*/ 166713 w 321921"/>
                <a:gd name="connsiteY293" fmla="*/ 31229 h 375926"/>
                <a:gd name="connsiteX294" fmla="*/ 167653 w 321921"/>
                <a:gd name="connsiteY294" fmla="*/ 31464 h 375926"/>
                <a:gd name="connsiteX295" fmla="*/ 170470 w 321921"/>
                <a:gd name="connsiteY295" fmla="*/ 32638 h 375926"/>
                <a:gd name="connsiteX296" fmla="*/ 170705 w 321921"/>
                <a:gd name="connsiteY296" fmla="*/ 32638 h 375926"/>
                <a:gd name="connsiteX297" fmla="*/ 171644 w 321921"/>
                <a:gd name="connsiteY297" fmla="*/ 32638 h 375926"/>
                <a:gd name="connsiteX298" fmla="*/ 171879 w 321921"/>
                <a:gd name="connsiteY298" fmla="*/ 32403 h 375926"/>
                <a:gd name="connsiteX299" fmla="*/ 172349 w 321921"/>
                <a:gd name="connsiteY299" fmla="*/ 32169 h 375926"/>
                <a:gd name="connsiteX300" fmla="*/ 172584 w 321921"/>
                <a:gd name="connsiteY300" fmla="*/ 31934 h 375926"/>
                <a:gd name="connsiteX301" fmla="*/ 174932 w 321921"/>
                <a:gd name="connsiteY301" fmla="*/ 28881 h 375926"/>
                <a:gd name="connsiteX302" fmla="*/ 176106 w 321921"/>
                <a:gd name="connsiteY302" fmla="*/ 27942 h 375926"/>
                <a:gd name="connsiteX303" fmla="*/ 177280 w 321921"/>
                <a:gd name="connsiteY303" fmla="*/ 28177 h 375926"/>
                <a:gd name="connsiteX304" fmla="*/ 177515 w 321921"/>
                <a:gd name="connsiteY304" fmla="*/ 28412 h 375926"/>
                <a:gd name="connsiteX305" fmla="*/ 177749 w 321921"/>
                <a:gd name="connsiteY305" fmla="*/ 28412 h 375926"/>
                <a:gd name="connsiteX306" fmla="*/ 177984 w 321921"/>
                <a:gd name="connsiteY306" fmla="*/ 27003 h 375926"/>
                <a:gd name="connsiteX307" fmla="*/ 178454 w 321921"/>
                <a:gd name="connsiteY307" fmla="*/ 26533 h 375926"/>
                <a:gd name="connsiteX308" fmla="*/ 180097 w 321921"/>
                <a:gd name="connsiteY308" fmla="*/ 24420 h 375926"/>
                <a:gd name="connsiteX309" fmla="*/ 181037 w 321921"/>
                <a:gd name="connsiteY309" fmla="*/ 23481 h 375926"/>
                <a:gd name="connsiteX310" fmla="*/ 181976 w 321921"/>
                <a:gd name="connsiteY310" fmla="*/ 23246 h 375926"/>
                <a:gd name="connsiteX311" fmla="*/ 182680 w 321921"/>
                <a:gd name="connsiteY311" fmla="*/ 23011 h 375926"/>
                <a:gd name="connsiteX312" fmla="*/ 183385 w 321921"/>
                <a:gd name="connsiteY312" fmla="*/ 23246 h 375926"/>
                <a:gd name="connsiteX313" fmla="*/ 184324 w 321921"/>
                <a:gd name="connsiteY313" fmla="*/ 23950 h 375926"/>
                <a:gd name="connsiteX314" fmla="*/ 184794 w 321921"/>
                <a:gd name="connsiteY314" fmla="*/ 23950 h 375926"/>
                <a:gd name="connsiteX315" fmla="*/ 185733 w 321921"/>
                <a:gd name="connsiteY315" fmla="*/ 23950 h 375926"/>
                <a:gd name="connsiteX316" fmla="*/ 188785 w 321921"/>
                <a:gd name="connsiteY316" fmla="*/ 23011 h 375926"/>
                <a:gd name="connsiteX317" fmla="*/ 189959 w 321921"/>
                <a:gd name="connsiteY317" fmla="*/ 23011 h 375926"/>
                <a:gd name="connsiteX318" fmla="*/ 192073 w 321921"/>
                <a:gd name="connsiteY318" fmla="*/ 23246 h 375926"/>
                <a:gd name="connsiteX319" fmla="*/ 193012 w 321921"/>
                <a:gd name="connsiteY319" fmla="*/ 23246 h 375926"/>
                <a:gd name="connsiteX320" fmla="*/ 193481 w 321921"/>
                <a:gd name="connsiteY320" fmla="*/ 23011 h 375926"/>
                <a:gd name="connsiteX321" fmla="*/ 193951 w 321921"/>
                <a:gd name="connsiteY321" fmla="*/ 22776 h 375926"/>
                <a:gd name="connsiteX322" fmla="*/ 194421 w 321921"/>
                <a:gd name="connsiteY322" fmla="*/ 22541 h 375926"/>
                <a:gd name="connsiteX323" fmla="*/ 194890 w 321921"/>
                <a:gd name="connsiteY323" fmla="*/ 22072 h 375926"/>
                <a:gd name="connsiteX324" fmla="*/ 196769 w 321921"/>
                <a:gd name="connsiteY324" fmla="*/ 20663 h 375926"/>
                <a:gd name="connsiteX325" fmla="*/ 200995 w 321921"/>
                <a:gd name="connsiteY325" fmla="*/ 18080 h 375926"/>
                <a:gd name="connsiteX326" fmla="*/ 201230 w 321921"/>
                <a:gd name="connsiteY326" fmla="*/ 17845 h 375926"/>
                <a:gd name="connsiteX327" fmla="*/ 201465 w 321921"/>
                <a:gd name="connsiteY327" fmla="*/ 17611 h 375926"/>
                <a:gd name="connsiteX328" fmla="*/ 201465 w 321921"/>
                <a:gd name="connsiteY328" fmla="*/ 17376 h 375926"/>
                <a:gd name="connsiteX329" fmla="*/ 201465 w 321921"/>
                <a:gd name="connsiteY329" fmla="*/ 17141 h 375926"/>
                <a:gd name="connsiteX330" fmla="*/ 201465 w 321921"/>
                <a:gd name="connsiteY330" fmla="*/ 16906 h 375926"/>
                <a:gd name="connsiteX331" fmla="*/ 201465 w 321921"/>
                <a:gd name="connsiteY331" fmla="*/ 16671 h 375926"/>
                <a:gd name="connsiteX332" fmla="*/ 201230 w 321921"/>
                <a:gd name="connsiteY332" fmla="*/ 16437 h 375926"/>
                <a:gd name="connsiteX333" fmla="*/ 198412 w 321921"/>
                <a:gd name="connsiteY333" fmla="*/ 14558 h 375926"/>
                <a:gd name="connsiteX334" fmla="*/ 197708 w 321921"/>
                <a:gd name="connsiteY334" fmla="*/ 13384 h 375926"/>
                <a:gd name="connsiteX335" fmla="*/ 197943 w 321921"/>
                <a:gd name="connsiteY335" fmla="*/ 12210 h 375926"/>
                <a:gd name="connsiteX336" fmla="*/ 198882 w 321921"/>
                <a:gd name="connsiteY336" fmla="*/ 10801 h 375926"/>
                <a:gd name="connsiteX337" fmla="*/ 200056 w 321921"/>
                <a:gd name="connsiteY337" fmla="*/ 10332 h 375926"/>
                <a:gd name="connsiteX338" fmla="*/ 200760 w 321921"/>
                <a:gd name="connsiteY338" fmla="*/ 10097 h 375926"/>
                <a:gd name="connsiteX339" fmla="*/ 203578 w 321921"/>
                <a:gd name="connsiteY339" fmla="*/ 10097 h 375926"/>
                <a:gd name="connsiteX340" fmla="*/ 204987 w 321921"/>
                <a:gd name="connsiteY340" fmla="*/ 10097 h 375926"/>
                <a:gd name="connsiteX341" fmla="*/ 205691 w 321921"/>
                <a:gd name="connsiteY341" fmla="*/ 10332 h 375926"/>
                <a:gd name="connsiteX342" fmla="*/ 206631 w 321921"/>
                <a:gd name="connsiteY342" fmla="*/ 10801 h 375926"/>
                <a:gd name="connsiteX343" fmla="*/ 207335 w 321921"/>
                <a:gd name="connsiteY343" fmla="*/ 11506 h 375926"/>
                <a:gd name="connsiteX344" fmla="*/ 208274 w 321921"/>
                <a:gd name="connsiteY344" fmla="*/ 14088 h 375926"/>
                <a:gd name="connsiteX345" fmla="*/ 208979 w 321921"/>
                <a:gd name="connsiteY345" fmla="*/ 14088 h 375926"/>
                <a:gd name="connsiteX346" fmla="*/ 209683 w 321921"/>
                <a:gd name="connsiteY346" fmla="*/ 13854 h 375926"/>
                <a:gd name="connsiteX347" fmla="*/ 210387 w 321921"/>
                <a:gd name="connsiteY347" fmla="*/ 13619 h 375926"/>
                <a:gd name="connsiteX348" fmla="*/ 211092 w 321921"/>
                <a:gd name="connsiteY348" fmla="*/ 13619 h 375926"/>
                <a:gd name="connsiteX349" fmla="*/ 212031 w 321921"/>
                <a:gd name="connsiteY349" fmla="*/ 13619 h 375926"/>
                <a:gd name="connsiteX350" fmla="*/ 212970 w 321921"/>
                <a:gd name="connsiteY350" fmla="*/ 13854 h 375926"/>
                <a:gd name="connsiteX351" fmla="*/ 214614 w 321921"/>
                <a:gd name="connsiteY351" fmla="*/ 14558 h 375926"/>
                <a:gd name="connsiteX352" fmla="*/ 214849 w 321921"/>
                <a:gd name="connsiteY352" fmla="*/ 14793 h 375926"/>
                <a:gd name="connsiteX353" fmla="*/ 215084 w 321921"/>
                <a:gd name="connsiteY353" fmla="*/ 14793 h 375926"/>
                <a:gd name="connsiteX354" fmla="*/ 215553 w 321921"/>
                <a:gd name="connsiteY354" fmla="*/ 8923 h 375926"/>
                <a:gd name="connsiteX355" fmla="*/ 215788 w 321921"/>
                <a:gd name="connsiteY355" fmla="*/ 8218 h 375926"/>
                <a:gd name="connsiteX356" fmla="*/ 216258 w 321921"/>
                <a:gd name="connsiteY356" fmla="*/ 7279 h 375926"/>
                <a:gd name="connsiteX357" fmla="*/ 217197 w 321921"/>
                <a:gd name="connsiteY357" fmla="*/ 6809 h 375926"/>
                <a:gd name="connsiteX358" fmla="*/ 217901 w 321921"/>
                <a:gd name="connsiteY358" fmla="*/ 6809 h 375926"/>
                <a:gd name="connsiteX359" fmla="*/ 219310 w 321921"/>
                <a:gd name="connsiteY359" fmla="*/ 7044 h 375926"/>
                <a:gd name="connsiteX360" fmla="*/ 221423 w 321921"/>
                <a:gd name="connsiteY360" fmla="*/ 8218 h 375926"/>
                <a:gd name="connsiteX361" fmla="*/ 223537 w 321921"/>
                <a:gd name="connsiteY361" fmla="*/ 9862 h 375926"/>
                <a:gd name="connsiteX362" fmla="*/ 225180 w 321921"/>
                <a:gd name="connsiteY362" fmla="*/ 11975 h 375926"/>
                <a:gd name="connsiteX363" fmla="*/ 225415 w 321921"/>
                <a:gd name="connsiteY363" fmla="*/ 12210 h 375926"/>
                <a:gd name="connsiteX364" fmla="*/ 225650 w 321921"/>
                <a:gd name="connsiteY364" fmla="*/ 12210 h 375926"/>
                <a:gd name="connsiteX365" fmla="*/ 225415 w 321921"/>
                <a:gd name="connsiteY365" fmla="*/ 10332 h 375926"/>
                <a:gd name="connsiteX366" fmla="*/ 225650 w 321921"/>
                <a:gd name="connsiteY366" fmla="*/ 9627 h 375926"/>
                <a:gd name="connsiteX367" fmla="*/ 225650 w 321921"/>
                <a:gd name="connsiteY367" fmla="*/ 8923 h 375926"/>
                <a:gd name="connsiteX368" fmla="*/ 226120 w 321921"/>
                <a:gd name="connsiteY368" fmla="*/ 7748 h 375926"/>
                <a:gd name="connsiteX369" fmla="*/ 226355 w 321921"/>
                <a:gd name="connsiteY369" fmla="*/ 7044 h 375926"/>
                <a:gd name="connsiteX370" fmla="*/ 229172 w 321921"/>
                <a:gd name="connsiteY370" fmla="*/ 3052 h 375926"/>
                <a:gd name="connsiteX371" fmla="*/ 230346 w 321921"/>
                <a:gd name="connsiteY371" fmla="*/ 1644 h 375926"/>
                <a:gd name="connsiteX372" fmla="*/ 231755 w 321921"/>
                <a:gd name="connsiteY372" fmla="*/ 235 h 375926"/>
                <a:gd name="connsiteX373" fmla="*/ 238095 w 321921"/>
                <a:gd name="connsiteY373" fmla="*/ 3052 h 375926"/>
                <a:gd name="connsiteX374" fmla="*/ 239504 w 321921"/>
                <a:gd name="connsiteY374" fmla="*/ 4461 h 375926"/>
                <a:gd name="connsiteX375" fmla="*/ 240208 w 321921"/>
                <a:gd name="connsiteY375" fmla="*/ 6105 h 375926"/>
                <a:gd name="connsiteX376" fmla="*/ 240208 w 321921"/>
                <a:gd name="connsiteY376" fmla="*/ 8453 h 375926"/>
                <a:gd name="connsiteX377" fmla="*/ 240443 w 321921"/>
                <a:gd name="connsiteY377" fmla="*/ 8923 h 375926"/>
                <a:gd name="connsiteX378" fmla="*/ 245374 w 321921"/>
                <a:gd name="connsiteY378" fmla="*/ 11036 h 375926"/>
                <a:gd name="connsiteX379" fmla="*/ 251479 w 321921"/>
                <a:gd name="connsiteY379" fmla="*/ 7514 h 375926"/>
                <a:gd name="connsiteX380" fmla="*/ 257819 w 321921"/>
                <a:gd name="connsiteY380" fmla="*/ 2348 h 375926"/>
                <a:gd name="connsiteX381" fmla="*/ 263689 w 321921"/>
                <a:gd name="connsiteY381" fmla="*/ 0 h 375926"/>
                <a:gd name="connsiteX382" fmla="*/ 265567 w 321921"/>
                <a:gd name="connsiteY382" fmla="*/ 1878 h 375926"/>
                <a:gd name="connsiteX383" fmla="*/ 269089 w 321921"/>
                <a:gd name="connsiteY383" fmla="*/ 8453 h 375926"/>
                <a:gd name="connsiteX384" fmla="*/ 271437 w 321921"/>
                <a:gd name="connsiteY384" fmla="*/ 10801 h 375926"/>
                <a:gd name="connsiteX385" fmla="*/ 272611 w 321921"/>
                <a:gd name="connsiteY385" fmla="*/ 13149 h 375926"/>
                <a:gd name="connsiteX386" fmla="*/ 271672 w 321921"/>
                <a:gd name="connsiteY386" fmla="*/ 16202 h 375926"/>
                <a:gd name="connsiteX387" fmla="*/ 265098 w 321921"/>
                <a:gd name="connsiteY387" fmla="*/ 24890 h 375926"/>
                <a:gd name="connsiteX388" fmla="*/ 264393 w 321921"/>
                <a:gd name="connsiteY388" fmla="*/ 26533 h 375926"/>
                <a:gd name="connsiteX389" fmla="*/ 264863 w 321921"/>
                <a:gd name="connsiteY389" fmla="*/ 28646 h 375926"/>
                <a:gd name="connsiteX390" fmla="*/ 267211 w 321921"/>
                <a:gd name="connsiteY390" fmla="*/ 33108 h 375926"/>
                <a:gd name="connsiteX391" fmla="*/ 267681 w 321921"/>
                <a:gd name="connsiteY391" fmla="*/ 35456 h 375926"/>
                <a:gd name="connsiteX392" fmla="*/ 267681 w 321921"/>
                <a:gd name="connsiteY392" fmla="*/ 38743 h 375926"/>
                <a:gd name="connsiteX393" fmla="*/ 268620 w 321921"/>
                <a:gd name="connsiteY393" fmla="*/ 42500 h 375926"/>
                <a:gd name="connsiteX394" fmla="*/ 274255 w 321921"/>
                <a:gd name="connsiteY394" fmla="*/ 48370 h 375926"/>
                <a:gd name="connsiteX395" fmla="*/ 276603 w 321921"/>
                <a:gd name="connsiteY395" fmla="*/ 53536 h 375926"/>
                <a:gd name="connsiteX396" fmla="*/ 277073 w 321921"/>
                <a:gd name="connsiteY396" fmla="*/ 54006 h 375926"/>
                <a:gd name="connsiteX397" fmla="*/ 278247 w 321921"/>
                <a:gd name="connsiteY397" fmla="*/ 54475 h 375926"/>
                <a:gd name="connsiteX398" fmla="*/ 280360 w 321921"/>
                <a:gd name="connsiteY398" fmla="*/ 56119 h 375926"/>
                <a:gd name="connsiteX399" fmla="*/ 285291 w 321921"/>
                <a:gd name="connsiteY399" fmla="*/ 55884 h 375926"/>
                <a:gd name="connsiteX400" fmla="*/ 280830 w 321921"/>
                <a:gd name="connsiteY400" fmla="*/ 58467 h 375926"/>
                <a:gd name="connsiteX401" fmla="*/ 278717 w 321921"/>
                <a:gd name="connsiteY401" fmla="*/ 61050 h 375926"/>
                <a:gd name="connsiteX402" fmla="*/ 276603 w 321921"/>
                <a:gd name="connsiteY402" fmla="*/ 62928 h 375926"/>
                <a:gd name="connsiteX403" fmla="*/ 275899 w 321921"/>
                <a:gd name="connsiteY403" fmla="*/ 63868 h 375926"/>
                <a:gd name="connsiteX404" fmla="*/ 275664 w 321921"/>
                <a:gd name="connsiteY404" fmla="*/ 64572 h 375926"/>
                <a:gd name="connsiteX405" fmla="*/ 275429 w 321921"/>
                <a:gd name="connsiteY405" fmla="*/ 72790 h 375926"/>
                <a:gd name="connsiteX406" fmla="*/ 279421 w 321921"/>
                <a:gd name="connsiteY406" fmla="*/ 84765 h 375926"/>
                <a:gd name="connsiteX407" fmla="*/ 278482 w 321921"/>
                <a:gd name="connsiteY407" fmla="*/ 90401 h 375926"/>
                <a:gd name="connsiteX408" fmla="*/ 276369 w 321921"/>
                <a:gd name="connsiteY408" fmla="*/ 95097 h 375926"/>
                <a:gd name="connsiteX409" fmla="*/ 275899 w 321921"/>
                <a:gd name="connsiteY409" fmla="*/ 98854 h 375926"/>
                <a:gd name="connsiteX410" fmla="*/ 282004 w 321921"/>
                <a:gd name="connsiteY410" fmla="*/ 106837 h 375926"/>
                <a:gd name="connsiteX411" fmla="*/ 283413 w 321921"/>
                <a:gd name="connsiteY411" fmla="*/ 107777 h 375926"/>
                <a:gd name="connsiteX412" fmla="*/ 285761 w 321921"/>
                <a:gd name="connsiteY412" fmla="*/ 108481 h 375926"/>
                <a:gd name="connsiteX413" fmla="*/ 291866 w 321921"/>
                <a:gd name="connsiteY413" fmla="*/ 108481 h 375926"/>
                <a:gd name="connsiteX414" fmla="*/ 295388 w 321921"/>
                <a:gd name="connsiteY414" fmla="*/ 108951 h 375926"/>
                <a:gd name="connsiteX415" fmla="*/ 299849 w 321921"/>
                <a:gd name="connsiteY415" fmla="*/ 112238 h 375926"/>
                <a:gd name="connsiteX416" fmla="*/ 299380 w 321921"/>
                <a:gd name="connsiteY416" fmla="*/ 117169 h 375926"/>
                <a:gd name="connsiteX417" fmla="*/ 289518 w 321921"/>
                <a:gd name="connsiteY417" fmla="*/ 131962 h 375926"/>
                <a:gd name="connsiteX418" fmla="*/ 288109 w 321921"/>
                <a:gd name="connsiteY418" fmla="*/ 135719 h 375926"/>
                <a:gd name="connsiteX419" fmla="*/ 288109 w 321921"/>
                <a:gd name="connsiteY419" fmla="*/ 139241 h 375926"/>
                <a:gd name="connsiteX420" fmla="*/ 289518 w 321921"/>
                <a:gd name="connsiteY420" fmla="*/ 142998 h 375926"/>
                <a:gd name="connsiteX421" fmla="*/ 292570 w 321921"/>
                <a:gd name="connsiteY421" fmla="*/ 145815 h 375926"/>
                <a:gd name="connsiteX422" fmla="*/ 297032 w 321921"/>
                <a:gd name="connsiteY422" fmla="*/ 148398 h 375926"/>
                <a:gd name="connsiteX423" fmla="*/ 300554 w 321921"/>
                <a:gd name="connsiteY423" fmla="*/ 151920 h 375926"/>
                <a:gd name="connsiteX424" fmla="*/ 300554 w 321921"/>
                <a:gd name="connsiteY424" fmla="*/ 157321 h 375926"/>
                <a:gd name="connsiteX425" fmla="*/ 301023 w 321921"/>
                <a:gd name="connsiteY425" fmla="*/ 159199 h 375926"/>
                <a:gd name="connsiteX426" fmla="*/ 304311 w 321921"/>
                <a:gd name="connsiteY426" fmla="*/ 165539 h 375926"/>
                <a:gd name="connsiteX427" fmla="*/ 303606 w 321921"/>
                <a:gd name="connsiteY427" fmla="*/ 168357 h 375926"/>
                <a:gd name="connsiteX428" fmla="*/ 300788 w 321921"/>
                <a:gd name="connsiteY428" fmla="*/ 171879 h 375926"/>
                <a:gd name="connsiteX429" fmla="*/ 295857 w 321921"/>
                <a:gd name="connsiteY429" fmla="*/ 177749 h 375926"/>
                <a:gd name="connsiteX430" fmla="*/ 292805 w 321921"/>
                <a:gd name="connsiteY430" fmla="*/ 183150 h 375926"/>
                <a:gd name="connsiteX431" fmla="*/ 292805 w 321921"/>
                <a:gd name="connsiteY431" fmla="*/ 186907 h 375926"/>
                <a:gd name="connsiteX432" fmla="*/ 294214 w 321921"/>
                <a:gd name="connsiteY432" fmla="*/ 190664 h 375926"/>
                <a:gd name="connsiteX433" fmla="*/ 295153 w 321921"/>
                <a:gd name="connsiteY433" fmla="*/ 196299 h 375926"/>
                <a:gd name="connsiteX434" fmla="*/ 293744 w 321921"/>
                <a:gd name="connsiteY434" fmla="*/ 204283 h 375926"/>
                <a:gd name="connsiteX435" fmla="*/ 294214 w 321921"/>
                <a:gd name="connsiteY435" fmla="*/ 206631 h 375926"/>
                <a:gd name="connsiteX436" fmla="*/ 295623 w 321921"/>
                <a:gd name="connsiteY436" fmla="*/ 208744 h 375926"/>
                <a:gd name="connsiteX437" fmla="*/ 298206 w 321921"/>
                <a:gd name="connsiteY437" fmla="*/ 211327 h 375926"/>
                <a:gd name="connsiteX438" fmla="*/ 301023 w 321921"/>
                <a:gd name="connsiteY438" fmla="*/ 213205 h 375926"/>
                <a:gd name="connsiteX439" fmla="*/ 303841 w 321921"/>
                <a:gd name="connsiteY439" fmla="*/ 214379 h 375926"/>
                <a:gd name="connsiteX440" fmla="*/ 313468 w 321921"/>
                <a:gd name="connsiteY440" fmla="*/ 216023 h 375926"/>
                <a:gd name="connsiteX441" fmla="*/ 316286 w 321921"/>
                <a:gd name="connsiteY441" fmla="*/ 217901 h 375926"/>
                <a:gd name="connsiteX442" fmla="*/ 317695 w 321921"/>
                <a:gd name="connsiteY442" fmla="*/ 220249 h 375926"/>
                <a:gd name="connsiteX443" fmla="*/ 321921 w 321921"/>
                <a:gd name="connsiteY443" fmla="*/ 231520 h 375926"/>
                <a:gd name="connsiteX444" fmla="*/ 321217 w 321921"/>
                <a:gd name="connsiteY444" fmla="*/ 235042 h 375926"/>
                <a:gd name="connsiteX445" fmla="*/ 317225 w 321921"/>
                <a:gd name="connsiteY445" fmla="*/ 236921 h 375926"/>
                <a:gd name="connsiteX446" fmla="*/ 313703 w 321921"/>
                <a:gd name="connsiteY446" fmla="*/ 236921 h 375926"/>
                <a:gd name="connsiteX447" fmla="*/ 308772 w 321921"/>
                <a:gd name="connsiteY447" fmla="*/ 234808 h 375926"/>
                <a:gd name="connsiteX448" fmla="*/ 306659 w 321921"/>
                <a:gd name="connsiteY448" fmla="*/ 234338 h 375926"/>
                <a:gd name="connsiteX449" fmla="*/ 301258 w 321921"/>
                <a:gd name="connsiteY449" fmla="*/ 235747 h 375926"/>
                <a:gd name="connsiteX450" fmla="*/ 297501 w 321921"/>
                <a:gd name="connsiteY450" fmla="*/ 239034 h 375926"/>
                <a:gd name="connsiteX451" fmla="*/ 294683 w 321921"/>
                <a:gd name="connsiteY451" fmla="*/ 243965 h 375926"/>
                <a:gd name="connsiteX452" fmla="*/ 291631 w 321921"/>
                <a:gd name="connsiteY452" fmla="*/ 251479 h 375926"/>
                <a:gd name="connsiteX453" fmla="*/ 289753 w 321921"/>
                <a:gd name="connsiteY453" fmla="*/ 259697 h 375926"/>
                <a:gd name="connsiteX454" fmla="*/ 287874 w 321921"/>
                <a:gd name="connsiteY454" fmla="*/ 262750 h 375926"/>
                <a:gd name="connsiteX455" fmla="*/ 285056 w 321921"/>
                <a:gd name="connsiteY455" fmla="*/ 264393 h 375926"/>
                <a:gd name="connsiteX456" fmla="*/ 279186 w 321921"/>
                <a:gd name="connsiteY456" fmla="*/ 266507 h 375926"/>
                <a:gd name="connsiteX457" fmla="*/ 273786 w 321921"/>
                <a:gd name="connsiteY457" fmla="*/ 270263 h 375926"/>
                <a:gd name="connsiteX458" fmla="*/ 271437 w 321921"/>
                <a:gd name="connsiteY458" fmla="*/ 270498 h 375926"/>
                <a:gd name="connsiteX459" fmla="*/ 268150 w 321921"/>
                <a:gd name="connsiteY459" fmla="*/ 269089 h 375926"/>
                <a:gd name="connsiteX460" fmla="*/ 265802 w 321921"/>
                <a:gd name="connsiteY460" fmla="*/ 268385 h 375926"/>
                <a:gd name="connsiteX461" fmla="*/ 258993 w 321921"/>
                <a:gd name="connsiteY461" fmla="*/ 268620 h 375926"/>
                <a:gd name="connsiteX462" fmla="*/ 255236 w 321921"/>
                <a:gd name="connsiteY462" fmla="*/ 268385 h 375926"/>
                <a:gd name="connsiteX463" fmla="*/ 247487 w 321921"/>
                <a:gd name="connsiteY463" fmla="*/ 265333 h 375926"/>
                <a:gd name="connsiteX464" fmla="*/ 243495 w 321921"/>
                <a:gd name="connsiteY464" fmla="*/ 264628 h 375926"/>
                <a:gd name="connsiteX465" fmla="*/ 239034 w 321921"/>
                <a:gd name="connsiteY465" fmla="*/ 264863 h 375926"/>
                <a:gd name="connsiteX466" fmla="*/ 236921 w 321921"/>
                <a:gd name="connsiteY466" fmla="*/ 265802 h 375926"/>
                <a:gd name="connsiteX467" fmla="*/ 232694 w 321921"/>
                <a:gd name="connsiteY467" fmla="*/ 268385 h 375926"/>
                <a:gd name="connsiteX468" fmla="*/ 230346 w 321921"/>
                <a:gd name="connsiteY468" fmla="*/ 269324 h 375926"/>
                <a:gd name="connsiteX469" fmla="*/ 228233 w 321921"/>
                <a:gd name="connsiteY469" fmla="*/ 268385 h 375926"/>
                <a:gd name="connsiteX470" fmla="*/ 226824 w 321921"/>
                <a:gd name="connsiteY470" fmla="*/ 266507 h 375926"/>
                <a:gd name="connsiteX471" fmla="*/ 225180 w 321921"/>
                <a:gd name="connsiteY471" fmla="*/ 263219 h 375926"/>
                <a:gd name="connsiteX472" fmla="*/ 223537 w 321921"/>
                <a:gd name="connsiteY472" fmla="*/ 260636 h 375926"/>
                <a:gd name="connsiteX473" fmla="*/ 215319 w 321921"/>
                <a:gd name="connsiteY473" fmla="*/ 254766 h 375926"/>
                <a:gd name="connsiteX474" fmla="*/ 212266 w 321921"/>
                <a:gd name="connsiteY474" fmla="*/ 249835 h 375926"/>
                <a:gd name="connsiteX475" fmla="*/ 210857 w 321921"/>
                <a:gd name="connsiteY475" fmla="*/ 249365 h 375926"/>
                <a:gd name="connsiteX476" fmla="*/ 204283 w 321921"/>
                <a:gd name="connsiteY476" fmla="*/ 253122 h 375926"/>
                <a:gd name="connsiteX477" fmla="*/ 203578 w 321921"/>
                <a:gd name="connsiteY477" fmla="*/ 255236 h 375926"/>
                <a:gd name="connsiteX478" fmla="*/ 203578 w 321921"/>
                <a:gd name="connsiteY478" fmla="*/ 257818 h 375926"/>
                <a:gd name="connsiteX479" fmla="*/ 203109 w 321921"/>
                <a:gd name="connsiteY479" fmla="*/ 261106 h 375926"/>
                <a:gd name="connsiteX480" fmla="*/ 201230 w 321921"/>
                <a:gd name="connsiteY480" fmla="*/ 264393 h 375926"/>
                <a:gd name="connsiteX481" fmla="*/ 199821 w 321921"/>
                <a:gd name="connsiteY481" fmla="*/ 266507 h 375926"/>
                <a:gd name="connsiteX482" fmla="*/ 199352 w 321921"/>
                <a:gd name="connsiteY482" fmla="*/ 268150 h 375926"/>
                <a:gd name="connsiteX483" fmla="*/ 199821 w 321921"/>
                <a:gd name="connsiteY483" fmla="*/ 270733 h 375926"/>
                <a:gd name="connsiteX484" fmla="*/ 203343 w 321921"/>
                <a:gd name="connsiteY484" fmla="*/ 279186 h 375926"/>
                <a:gd name="connsiteX485" fmla="*/ 206161 w 321921"/>
                <a:gd name="connsiteY485" fmla="*/ 282239 h 375926"/>
                <a:gd name="connsiteX486" fmla="*/ 206865 w 321921"/>
                <a:gd name="connsiteY486" fmla="*/ 283882 h 375926"/>
                <a:gd name="connsiteX487" fmla="*/ 206631 w 321921"/>
                <a:gd name="connsiteY487" fmla="*/ 285761 h 375926"/>
                <a:gd name="connsiteX488" fmla="*/ 205691 w 321921"/>
                <a:gd name="connsiteY488" fmla="*/ 289048 h 375926"/>
                <a:gd name="connsiteX489" fmla="*/ 205926 w 321921"/>
                <a:gd name="connsiteY489" fmla="*/ 289987 h 375926"/>
                <a:gd name="connsiteX490" fmla="*/ 207805 w 321921"/>
                <a:gd name="connsiteY490" fmla="*/ 290927 h 375926"/>
                <a:gd name="connsiteX491" fmla="*/ 210857 w 321921"/>
                <a:gd name="connsiteY491" fmla="*/ 290927 h 375926"/>
                <a:gd name="connsiteX492" fmla="*/ 214614 w 321921"/>
                <a:gd name="connsiteY492" fmla="*/ 291631 h 375926"/>
                <a:gd name="connsiteX493" fmla="*/ 216493 w 321921"/>
                <a:gd name="connsiteY493" fmla="*/ 295388 h 375926"/>
                <a:gd name="connsiteX494" fmla="*/ 215084 w 321921"/>
                <a:gd name="connsiteY494" fmla="*/ 299614 h 375926"/>
                <a:gd name="connsiteX495" fmla="*/ 211796 w 321921"/>
                <a:gd name="connsiteY495" fmla="*/ 301962 h 375926"/>
                <a:gd name="connsiteX496" fmla="*/ 207570 w 321921"/>
                <a:gd name="connsiteY496" fmla="*/ 302667 h 375926"/>
                <a:gd name="connsiteX497" fmla="*/ 203578 w 321921"/>
                <a:gd name="connsiteY497" fmla="*/ 302432 h 375926"/>
                <a:gd name="connsiteX498" fmla="*/ 197004 w 321921"/>
                <a:gd name="connsiteY498" fmla="*/ 300554 h 375926"/>
                <a:gd name="connsiteX499" fmla="*/ 193481 w 321921"/>
                <a:gd name="connsiteY499" fmla="*/ 296327 h 375926"/>
                <a:gd name="connsiteX500" fmla="*/ 190194 w 321921"/>
                <a:gd name="connsiteY500" fmla="*/ 282943 h 375926"/>
                <a:gd name="connsiteX501" fmla="*/ 188785 w 321921"/>
                <a:gd name="connsiteY501" fmla="*/ 281064 h 375926"/>
                <a:gd name="connsiteX502" fmla="*/ 186672 w 321921"/>
                <a:gd name="connsiteY502" fmla="*/ 279890 h 375926"/>
                <a:gd name="connsiteX503" fmla="*/ 183620 w 321921"/>
                <a:gd name="connsiteY503" fmla="*/ 279656 h 375926"/>
                <a:gd name="connsiteX504" fmla="*/ 181741 w 321921"/>
                <a:gd name="connsiteY504" fmla="*/ 279890 h 375926"/>
                <a:gd name="connsiteX505" fmla="*/ 179628 w 321921"/>
                <a:gd name="connsiteY505" fmla="*/ 280360 h 375926"/>
                <a:gd name="connsiteX506" fmla="*/ 177280 w 321921"/>
                <a:gd name="connsiteY506" fmla="*/ 280595 h 375926"/>
                <a:gd name="connsiteX507" fmla="*/ 174697 w 321921"/>
                <a:gd name="connsiteY507" fmla="*/ 278716 h 375926"/>
                <a:gd name="connsiteX508" fmla="*/ 173523 w 321921"/>
                <a:gd name="connsiteY508" fmla="*/ 278716 h 375926"/>
                <a:gd name="connsiteX509" fmla="*/ 150277 w 321921"/>
                <a:gd name="connsiteY509" fmla="*/ 286465 h 375926"/>
                <a:gd name="connsiteX510" fmla="*/ 147694 w 321921"/>
                <a:gd name="connsiteY510" fmla="*/ 287404 h 375926"/>
                <a:gd name="connsiteX511" fmla="*/ 149338 w 321921"/>
                <a:gd name="connsiteY511" fmla="*/ 289518 h 375926"/>
                <a:gd name="connsiteX512" fmla="*/ 151451 w 321921"/>
                <a:gd name="connsiteY512" fmla="*/ 290927 h 375926"/>
                <a:gd name="connsiteX513" fmla="*/ 158260 w 321921"/>
                <a:gd name="connsiteY513" fmla="*/ 303841 h 375926"/>
                <a:gd name="connsiteX514" fmla="*/ 158730 w 321921"/>
                <a:gd name="connsiteY514" fmla="*/ 307833 h 375926"/>
                <a:gd name="connsiteX515" fmla="*/ 157321 w 321921"/>
                <a:gd name="connsiteY515" fmla="*/ 312059 h 375926"/>
                <a:gd name="connsiteX516" fmla="*/ 154034 w 321921"/>
                <a:gd name="connsiteY516" fmla="*/ 315581 h 375926"/>
                <a:gd name="connsiteX517" fmla="*/ 152860 w 321921"/>
                <a:gd name="connsiteY517" fmla="*/ 316520 h 375926"/>
                <a:gd name="connsiteX518" fmla="*/ 152390 w 321921"/>
                <a:gd name="connsiteY518" fmla="*/ 317225 h 375926"/>
                <a:gd name="connsiteX519" fmla="*/ 152155 w 321921"/>
                <a:gd name="connsiteY519" fmla="*/ 317694 h 375926"/>
                <a:gd name="connsiteX520" fmla="*/ 151451 w 321921"/>
                <a:gd name="connsiteY520" fmla="*/ 318634 h 375926"/>
                <a:gd name="connsiteX521" fmla="*/ 149103 w 321921"/>
                <a:gd name="connsiteY521" fmla="*/ 319338 h 375926"/>
                <a:gd name="connsiteX522" fmla="*/ 147459 w 321921"/>
                <a:gd name="connsiteY522" fmla="*/ 318164 h 375926"/>
                <a:gd name="connsiteX523" fmla="*/ 147224 w 321921"/>
                <a:gd name="connsiteY523" fmla="*/ 317694 h 375926"/>
                <a:gd name="connsiteX524" fmla="*/ 146285 w 321921"/>
                <a:gd name="connsiteY524" fmla="*/ 318399 h 375926"/>
                <a:gd name="connsiteX525" fmla="*/ 146050 w 321921"/>
                <a:gd name="connsiteY525" fmla="*/ 319808 h 375926"/>
                <a:gd name="connsiteX526" fmla="*/ 145815 w 321921"/>
                <a:gd name="connsiteY526" fmla="*/ 321452 h 375926"/>
                <a:gd name="connsiteX527" fmla="*/ 141354 w 321921"/>
                <a:gd name="connsiteY527" fmla="*/ 329435 h 375926"/>
                <a:gd name="connsiteX528" fmla="*/ 138302 w 321921"/>
                <a:gd name="connsiteY528" fmla="*/ 333192 h 375926"/>
                <a:gd name="connsiteX529" fmla="*/ 137128 w 321921"/>
                <a:gd name="connsiteY529" fmla="*/ 335070 h 375926"/>
                <a:gd name="connsiteX530" fmla="*/ 136188 w 321921"/>
                <a:gd name="connsiteY530" fmla="*/ 337653 h 375926"/>
                <a:gd name="connsiteX531" fmla="*/ 131492 w 321921"/>
                <a:gd name="connsiteY531" fmla="*/ 336714 h 375926"/>
                <a:gd name="connsiteX532" fmla="*/ 128205 w 321921"/>
                <a:gd name="connsiteY532" fmla="*/ 336479 h 375926"/>
                <a:gd name="connsiteX533" fmla="*/ 119752 w 321921"/>
                <a:gd name="connsiteY533" fmla="*/ 334131 h 375926"/>
                <a:gd name="connsiteX534" fmla="*/ 120221 w 321921"/>
                <a:gd name="connsiteY534" fmla="*/ 341880 h 375926"/>
                <a:gd name="connsiteX535" fmla="*/ 121396 w 321921"/>
                <a:gd name="connsiteY535" fmla="*/ 343054 h 375926"/>
                <a:gd name="connsiteX536" fmla="*/ 126796 w 321921"/>
                <a:gd name="connsiteY536" fmla="*/ 347045 h 375926"/>
                <a:gd name="connsiteX537" fmla="*/ 128205 w 321921"/>
                <a:gd name="connsiteY537" fmla="*/ 350333 h 375926"/>
                <a:gd name="connsiteX538" fmla="*/ 126326 w 321921"/>
                <a:gd name="connsiteY538" fmla="*/ 354090 h 375926"/>
                <a:gd name="connsiteX539" fmla="*/ 123039 w 321921"/>
                <a:gd name="connsiteY539" fmla="*/ 356203 h 375926"/>
                <a:gd name="connsiteX540" fmla="*/ 119047 w 321921"/>
                <a:gd name="connsiteY540" fmla="*/ 356907 h 375926"/>
                <a:gd name="connsiteX541" fmla="*/ 115760 w 321921"/>
                <a:gd name="connsiteY541" fmla="*/ 356438 h 375926"/>
                <a:gd name="connsiteX542" fmla="*/ 109186 w 321921"/>
                <a:gd name="connsiteY542" fmla="*/ 354325 h 375926"/>
                <a:gd name="connsiteX543" fmla="*/ 105898 w 321921"/>
                <a:gd name="connsiteY543" fmla="*/ 353855 h 375926"/>
                <a:gd name="connsiteX544" fmla="*/ 93688 w 321921"/>
                <a:gd name="connsiteY544" fmla="*/ 355264 h 375926"/>
                <a:gd name="connsiteX545" fmla="*/ 90401 w 321921"/>
                <a:gd name="connsiteY545" fmla="*/ 356203 h 375926"/>
                <a:gd name="connsiteX546" fmla="*/ 87348 w 321921"/>
                <a:gd name="connsiteY546" fmla="*/ 358081 h 375926"/>
                <a:gd name="connsiteX547" fmla="*/ 83826 w 321921"/>
                <a:gd name="connsiteY547" fmla="*/ 362778 h 375926"/>
                <a:gd name="connsiteX548" fmla="*/ 81948 w 321921"/>
                <a:gd name="connsiteY548" fmla="*/ 363952 h 375926"/>
                <a:gd name="connsiteX549" fmla="*/ 80539 w 321921"/>
                <a:gd name="connsiteY549" fmla="*/ 363482 h 375926"/>
                <a:gd name="connsiteX550" fmla="*/ 80069 w 321921"/>
                <a:gd name="connsiteY550" fmla="*/ 362308 h 375926"/>
                <a:gd name="connsiteX551" fmla="*/ 75608 w 321921"/>
                <a:gd name="connsiteY551" fmla="*/ 358081 h 375926"/>
                <a:gd name="connsiteX552" fmla="*/ 74669 w 321921"/>
                <a:gd name="connsiteY552" fmla="*/ 357612 h 375926"/>
                <a:gd name="connsiteX553" fmla="*/ 73730 w 321921"/>
                <a:gd name="connsiteY553" fmla="*/ 357847 h 375926"/>
                <a:gd name="connsiteX554" fmla="*/ 73495 w 321921"/>
                <a:gd name="connsiteY554" fmla="*/ 357847 h 375926"/>
                <a:gd name="connsiteX555" fmla="*/ 73260 w 321921"/>
                <a:gd name="connsiteY555" fmla="*/ 359021 h 375926"/>
                <a:gd name="connsiteX556" fmla="*/ 72321 w 321921"/>
                <a:gd name="connsiteY556" fmla="*/ 361134 h 375926"/>
                <a:gd name="connsiteX557" fmla="*/ 70207 w 321921"/>
                <a:gd name="connsiteY557" fmla="*/ 365126 h 375926"/>
                <a:gd name="connsiteX558" fmla="*/ 68564 w 321921"/>
                <a:gd name="connsiteY558" fmla="*/ 366534 h 375926"/>
                <a:gd name="connsiteX559" fmla="*/ 66216 w 321921"/>
                <a:gd name="connsiteY559" fmla="*/ 367943 h 375926"/>
                <a:gd name="connsiteX560" fmla="*/ 64572 w 321921"/>
                <a:gd name="connsiteY560" fmla="*/ 368413 h 375926"/>
                <a:gd name="connsiteX561" fmla="*/ 61520 w 321921"/>
                <a:gd name="connsiteY561" fmla="*/ 368883 h 375926"/>
                <a:gd name="connsiteX562" fmla="*/ 60346 w 321921"/>
                <a:gd name="connsiteY562" fmla="*/ 369587 h 375926"/>
                <a:gd name="connsiteX563" fmla="*/ 59641 w 321921"/>
                <a:gd name="connsiteY563" fmla="*/ 370057 h 375926"/>
                <a:gd name="connsiteX564" fmla="*/ 57997 w 321921"/>
                <a:gd name="connsiteY564" fmla="*/ 371935 h 375926"/>
                <a:gd name="connsiteX565" fmla="*/ 57058 w 321921"/>
                <a:gd name="connsiteY565" fmla="*/ 372639 h 375926"/>
                <a:gd name="connsiteX566" fmla="*/ 52127 w 321921"/>
                <a:gd name="connsiteY566" fmla="*/ 374987 h 375926"/>
                <a:gd name="connsiteX567" fmla="*/ 47196 w 321921"/>
                <a:gd name="connsiteY567" fmla="*/ 375927 h 37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</a:cxnLst>
              <a:rect l="l" t="t" r="r" b="b"/>
              <a:pathLst>
                <a:path w="321921" h="375926">
                  <a:moveTo>
                    <a:pt x="42500" y="375222"/>
                  </a:moveTo>
                  <a:lnTo>
                    <a:pt x="39213" y="371935"/>
                  </a:lnTo>
                  <a:lnTo>
                    <a:pt x="34751" y="359960"/>
                  </a:lnTo>
                  <a:lnTo>
                    <a:pt x="33108" y="357142"/>
                  </a:lnTo>
                  <a:lnTo>
                    <a:pt x="27707" y="351977"/>
                  </a:lnTo>
                  <a:lnTo>
                    <a:pt x="26298" y="348454"/>
                  </a:lnTo>
                  <a:lnTo>
                    <a:pt x="25359" y="345871"/>
                  </a:lnTo>
                  <a:lnTo>
                    <a:pt x="21602" y="342584"/>
                  </a:lnTo>
                  <a:lnTo>
                    <a:pt x="19724" y="340236"/>
                  </a:lnTo>
                  <a:lnTo>
                    <a:pt x="19254" y="337653"/>
                  </a:lnTo>
                  <a:lnTo>
                    <a:pt x="19254" y="332722"/>
                  </a:lnTo>
                  <a:lnTo>
                    <a:pt x="18315" y="330844"/>
                  </a:lnTo>
                  <a:lnTo>
                    <a:pt x="7279" y="317460"/>
                  </a:lnTo>
                  <a:lnTo>
                    <a:pt x="3757" y="314407"/>
                  </a:lnTo>
                  <a:lnTo>
                    <a:pt x="1878" y="312294"/>
                  </a:lnTo>
                  <a:lnTo>
                    <a:pt x="939" y="309476"/>
                  </a:lnTo>
                  <a:lnTo>
                    <a:pt x="939" y="301728"/>
                  </a:lnTo>
                  <a:lnTo>
                    <a:pt x="0" y="300788"/>
                  </a:lnTo>
                  <a:lnTo>
                    <a:pt x="1409" y="300084"/>
                  </a:lnTo>
                  <a:lnTo>
                    <a:pt x="2818" y="299380"/>
                  </a:lnTo>
                  <a:lnTo>
                    <a:pt x="11271" y="296092"/>
                  </a:lnTo>
                  <a:lnTo>
                    <a:pt x="11975" y="295623"/>
                  </a:lnTo>
                  <a:lnTo>
                    <a:pt x="12445" y="294918"/>
                  </a:lnTo>
                  <a:lnTo>
                    <a:pt x="12445" y="294214"/>
                  </a:lnTo>
                  <a:lnTo>
                    <a:pt x="12680" y="293275"/>
                  </a:lnTo>
                  <a:lnTo>
                    <a:pt x="12914" y="292101"/>
                  </a:lnTo>
                  <a:lnTo>
                    <a:pt x="13854" y="290692"/>
                  </a:lnTo>
                  <a:lnTo>
                    <a:pt x="15262" y="289753"/>
                  </a:lnTo>
                  <a:lnTo>
                    <a:pt x="20193" y="286700"/>
                  </a:lnTo>
                  <a:lnTo>
                    <a:pt x="21133" y="285761"/>
                  </a:lnTo>
                  <a:lnTo>
                    <a:pt x="21368" y="285526"/>
                  </a:lnTo>
                  <a:lnTo>
                    <a:pt x="17376" y="275429"/>
                  </a:lnTo>
                  <a:lnTo>
                    <a:pt x="12445" y="268385"/>
                  </a:lnTo>
                  <a:lnTo>
                    <a:pt x="12210" y="266976"/>
                  </a:lnTo>
                  <a:lnTo>
                    <a:pt x="11975" y="265098"/>
                  </a:lnTo>
                  <a:lnTo>
                    <a:pt x="12680" y="260871"/>
                  </a:lnTo>
                  <a:lnTo>
                    <a:pt x="13149" y="258993"/>
                  </a:lnTo>
                  <a:lnTo>
                    <a:pt x="13854" y="257349"/>
                  </a:lnTo>
                  <a:lnTo>
                    <a:pt x="14793" y="256879"/>
                  </a:lnTo>
                  <a:lnTo>
                    <a:pt x="15732" y="256644"/>
                  </a:lnTo>
                  <a:lnTo>
                    <a:pt x="16437" y="256410"/>
                  </a:lnTo>
                  <a:lnTo>
                    <a:pt x="17845" y="256175"/>
                  </a:lnTo>
                  <a:lnTo>
                    <a:pt x="19959" y="256175"/>
                  </a:lnTo>
                  <a:lnTo>
                    <a:pt x="20428" y="255940"/>
                  </a:lnTo>
                  <a:lnTo>
                    <a:pt x="20898" y="255705"/>
                  </a:lnTo>
                  <a:lnTo>
                    <a:pt x="21837" y="255001"/>
                  </a:lnTo>
                  <a:lnTo>
                    <a:pt x="22072" y="254531"/>
                  </a:lnTo>
                  <a:lnTo>
                    <a:pt x="22307" y="254062"/>
                  </a:lnTo>
                  <a:lnTo>
                    <a:pt x="21837" y="246313"/>
                  </a:lnTo>
                  <a:lnTo>
                    <a:pt x="18080" y="230816"/>
                  </a:lnTo>
                  <a:lnTo>
                    <a:pt x="17845" y="227763"/>
                  </a:lnTo>
                  <a:lnTo>
                    <a:pt x="18315" y="226355"/>
                  </a:lnTo>
                  <a:lnTo>
                    <a:pt x="18785" y="225180"/>
                  </a:lnTo>
                  <a:lnTo>
                    <a:pt x="19724" y="224711"/>
                  </a:lnTo>
                  <a:lnTo>
                    <a:pt x="21133" y="224241"/>
                  </a:lnTo>
                  <a:lnTo>
                    <a:pt x="22542" y="223537"/>
                  </a:lnTo>
                  <a:lnTo>
                    <a:pt x="22776" y="223537"/>
                  </a:lnTo>
                  <a:lnTo>
                    <a:pt x="23011" y="223302"/>
                  </a:lnTo>
                  <a:lnTo>
                    <a:pt x="23246" y="222832"/>
                  </a:lnTo>
                  <a:lnTo>
                    <a:pt x="25594" y="219075"/>
                  </a:lnTo>
                  <a:lnTo>
                    <a:pt x="26768" y="217666"/>
                  </a:lnTo>
                  <a:lnTo>
                    <a:pt x="28177" y="216258"/>
                  </a:lnTo>
                  <a:lnTo>
                    <a:pt x="29116" y="214849"/>
                  </a:lnTo>
                  <a:lnTo>
                    <a:pt x="29821" y="213910"/>
                  </a:lnTo>
                  <a:lnTo>
                    <a:pt x="29821" y="213440"/>
                  </a:lnTo>
                  <a:lnTo>
                    <a:pt x="29821" y="213440"/>
                  </a:lnTo>
                  <a:lnTo>
                    <a:pt x="22307" y="204283"/>
                  </a:lnTo>
                  <a:lnTo>
                    <a:pt x="21602" y="202169"/>
                  </a:lnTo>
                  <a:lnTo>
                    <a:pt x="21133" y="200291"/>
                  </a:lnTo>
                  <a:lnTo>
                    <a:pt x="21368" y="198882"/>
                  </a:lnTo>
                  <a:lnTo>
                    <a:pt x="21837" y="197943"/>
                  </a:lnTo>
                  <a:lnTo>
                    <a:pt x="23716" y="196064"/>
                  </a:lnTo>
                  <a:lnTo>
                    <a:pt x="24890" y="194420"/>
                  </a:lnTo>
                  <a:lnTo>
                    <a:pt x="25829" y="193246"/>
                  </a:lnTo>
                  <a:lnTo>
                    <a:pt x="26298" y="192777"/>
                  </a:lnTo>
                  <a:lnTo>
                    <a:pt x="27238" y="192307"/>
                  </a:lnTo>
                  <a:lnTo>
                    <a:pt x="28177" y="192307"/>
                  </a:lnTo>
                  <a:lnTo>
                    <a:pt x="28881" y="192542"/>
                  </a:lnTo>
                  <a:lnTo>
                    <a:pt x="29351" y="193012"/>
                  </a:lnTo>
                  <a:lnTo>
                    <a:pt x="33108" y="197004"/>
                  </a:lnTo>
                  <a:lnTo>
                    <a:pt x="33343" y="197238"/>
                  </a:lnTo>
                  <a:lnTo>
                    <a:pt x="33812" y="197473"/>
                  </a:lnTo>
                  <a:lnTo>
                    <a:pt x="34047" y="197473"/>
                  </a:lnTo>
                  <a:lnTo>
                    <a:pt x="34282" y="197473"/>
                  </a:lnTo>
                  <a:lnTo>
                    <a:pt x="34751" y="197473"/>
                  </a:lnTo>
                  <a:lnTo>
                    <a:pt x="35221" y="197238"/>
                  </a:lnTo>
                  <a:lnTo>
                    <a:pt x="35456" y="197004"/>
                  </a:lnTo>
                  <a:lnTo>
                    <a:pt x="35926" y="196534"/>
                  </a:lnTo>
                  <a:lnTo>
                    <a:pt x="37804" y="193481"/>
                  </a:lnTo>
                  <a:lnTo>
                    <a:pt x="38274" y="191838"/>
                  </a:lnTo>
                  <a:lnTo>
                    <a:pt x="38508" y="188785"/>
                  </a:lnTo>
                  <a:lnTo>
                    <a:pt x="38743" y="187846"/>
                  </a:lnTo>
                  <a:lnTo>
                    <a:pt x="39213" y="186672"/>
                  </a:lnTo>
                  <a:lnTo>
                    <a:pt x="39682" y="186202"/>
                  </a:lnTo>
                  <a:lnTo>
                    <a:pt x="40152" y="185498"/>
                  </a:lnTo>
                  <a:lnTo>
                    <a:pt x="40622" y="184793"/>
                  </a:lnTo>
                  <a:lnTo>
                    <a:pt x="41326" y="183854"/>
                  </a:lnTo>
                  <a:lnTo>
                    <a:pt x="42500" y="181741"/>
                  </a:lnTo>
                  <a:lnTo>
                    <a:pt x="42500" y="181271"/>
                  </a:lnTo>
                  <a:lnTo>
                    <a:pt x="41796" y="181271"/>
                  </a:lnTo>
                  <a:lnTo>
                    <a:pt x="40856" y="181037"/>
                  </a:lnTo>
                  <a:lnTo>
                    <a:pt x="40152" y="180567"/>
                  </a:lnTo>
                  <a:lnTo>
                    <a:pt x="39448" y="179628"/>
                  </a:lnTo>
                  <a:lnTo>
                    <a:pt x="38978" y="178688"/>
                  </a:lnTo>
                  <a:lnTo>
                    <a:pt x="38978" y="176810"/>
                  </a:lnTo>
                  <a:lnTo>
                    <a:pt x="38743" y="176575"/>
                  </a:lnTo>
                  <a:lnTo>
                    <a:pt x="38508" y="176106"/>
                  </a:lnTo>
                  <a:lnTo>
                    <a:pt x="38039" y="174932"/>
                  </a:lnTo>
                  <a:lnTo>
                    <a:pt x="37804" y="173523"/>
                  </a:lnTo>
                  <a:lnTo>
                    <a:pt x="38039" y="171175"/>
                  </a:lnTo>
                  <a:lnTo>
                    <a:pt x="38508" y="170001"/>
                  </a:lnTo>
                  <a:lnTo>
                    <a:pt x="38978" y="169061"/>
                  </a:lnTo>
                  <a:lnTo>
                    <a:pt x="40387" y="168122"/>
                  </a:lnTo>
                  <a:lnTo>
                    <a:pt x="41561" y="167418"/>
                  </a:lnTo>
                  <a:lnTo>
                    <a:pt x="43674" y="166479"/>
                  </a:lnTo>
                  <a:lnTo>
                    <a:pt x="45083" y="165774"/>
                  </a:lnTo>
                  <a:lnTo>
                    <a:pt x="46257" y="165539"/>
                  </a:lnTo>
                  <a:lnTo>
                    <a:pt x="46257" y="165539"/>
                  </a:lnTo>
                  <a:lnTo>
                    <a:pt x="46727" y="165539"/>
                  </a:lnTo>
                  <a:lnTo>
                    <a:pt x="47666" y="164835"/>
                  </a:lnTo>
                  <a:lnTo>
                    <a:pt x="48136" y="164600"/>
                  </a:lnTo>
                  <a:lnTo>
                    <a:pt x="48605" y="164365"/>
                  </a:lnTo>
                  <a:lnTo>
                    <a:pt x="48605" y="164131"/>
                  </a:lnTo>
                  <a:lnTo>
                    <a:pt x="48605" y="163895"/>
                  </a:lnTo>
                  <a:lnTo>
                    <a:pt x="47901" y="162252"/>
                  </a:lnTo>
                  <a:lnTo>
                    <a:pt x="47666" y="160608"/>
                  </a:lnTo>
                  <a:lnTo>
                    <a:pt x="47666" y="158495"/>
                  </a:lnTo>
                  <a:lnTo>
                    <a:pt x="47901" y="157321"/>
                  </a:lnTo>
                  <a:lnTo>
                    <a:pt x="48605" y="156382"/>
                  </a:lnTo>
                  <a:lnTo>
                    <a:pt x="49544" y="155912"/>
                  </a:lnTo>
                  <a:lnTo>
                    <a:pt x="50249" y="155677"/>
                  </a:lnTo>
                  <a:lnTo>
                    <a:pt x="52597" y="155208"/>
                  </a:lnTo>
                  <a:lnTo>
                    <a:pt x="53067" y="154973"/>
                  </a:lnTo>
                  <a:lnTo>
                    <a:pt x="53536" y="154503"/>
                  </a:lnTo>
                  <a:lnTo>
                    <a:pt x="54241" y="153799"/>
                  </a:lnTo>
                  <a:lnTo>
                    <a:pt x="56354" y="150746"/>
                  </a:lnTo>
                  <a:lnTo>
                    <a:pt x="57058" y="149807"/>
                  </a:lnTo>
                  <a:lnTo>
                    <a:pt x="57997" y="149338"/>
                  </a:lnTo>
                  <a:lnTo>
                    <a:pt x="59406" y="148868"/>
                  </a:lnTo>
                  <a:lnTo>
                    <a:pt x="59641" y="148633"/>
                  </a:lnTo>
                  <a:lnTo>
                    <a:pt x="61754" y="146520"/>
                  </a:lnTo>
                  <a:lnTo>
                    <a:pt x="65276" y="143702"/>
                  </a:lnTo>
                  <a:lnTo>
                    <a:pt x="65981" y="143233"/>
                  </a:lnTo>
                  <a:lnTo>
                    <a:pt x="66685" y="142998"/>
                  </a:lnTo>
                  <a:lnTo>
                    <a:pt x="67625" y="142763"/>
                  </a:lnTo>
                  <a:lnTo>
                    <a:pt x="68094" y="142528"/>
                  </a:lnTo>
                  <a:lnTo>
                    <a:pt x="68564" y="142528"/>
                  </a:lnTo>
                  <a:lnTo>
                    <a:pt x="69973" y="142763"/>
                  </a:lnTo>
                  <a:lnTo>
                    <a:pt x="73260" y="143702"/>
                  </a:lnTo>
                  <a:lnTo>
                    <a:pt x="76312" y="143937"/>
                  </a:lnTo>
                  <a:lnTo>
                    <a:pt x="76782" y="143702"/>
                  </a:lnTo>
                  <a:lnTo>
                    <a:pt x="77252" y="143702"/>
                  </a:lnTo>
                  <a:lnTo>
                    <a:pt x="77721" y="143467"/>
                  </a:lnTo>
                  <a:lnTo>
                    <a:pt x="77486" y="143233"/>
                  </a:lnTo>
                  <a:lnTo>
                    <a:pt x="75843" y="141589"/>
                  </a:lnTo>
                  <a:lnTo>
                    <a:pt x="75373" y="140415"/>
                  </a:lnTo>
                  <a:lnTo>
                    <a:pt x="75843" y="139241"/>
                  </a:lnTo>
                  <a:lnTo>
                    <a:pt x="76312" y="138771"/>
                  </a:lnTo>
                  <a:lnTo>
                    <a:pt x="77252" y="138067"/>
                  </a:lnTo>
                  <a:lnTo>
                    <a:pt x="77721" y="137832"/>
                  </a:lnTo>
                  <a:lnTo>
                    <a:pt x="78426" y="137597"/>
                  </a:lnTo>
                  <a:lnTo>
                    <a:pt x="79365" y="137362"/>
                  </a:lnTo>
                  <a:lnTo>
                    <a:pt x="80304" y="137128"/>
                  </a:lnTo>
                  <a:lnTo>
                    <a:pt x="82887" y="137128"/>
                  </a:lnTo>
                  <a:lnTo>
                    <a:pt x="84061" y="137128"/>
                  </a:lnTo>
                  <a:lnTo>
                    <a:pt x="85235" y="136893"/>
                  </a:lnTo>
                  <a:lnTo>
                    <a:pt x="85705" y="136658"/>
                  </a:lnTo>
                  <a:lnTo>
                    <a:pt x="86644" y="135954"/>
                  </a:lnTo>
                  <a:lnTo>
                    <a:pt x="87583" y="134780"/>
                  </a:lnTo>
                  <a:lnTo>
                    <a:pt x="88522" y="132901"/>
                  </a:lnTo>
                  <a:lnTo>
                    <a:pt x="89462" y="131727"/>
                  </a:lnTo>
                  <a:lnTo>
                    <a:pt x="90636" y="131022"/>
                  </a:lnTo>
                  <a:lnTo>
                    <a:pt x="91575" y="130553"/>
                  </a:lnTo>
                  <a:lnTo>
                    <a:pt x="92045" y="130318"/>
                  </a:lnTo>
                  <a:lnTo>
                    <a:pt x="92279" y="130083"/>
                  </a:lnTo>
                  <a:lnTo>
                    <a:pt x="92279" y="130083"/>
                  </a:lnTo>
                  <a:lnTo>
                    <a:pt x="91810" y="128909"/>
                  </a:lnTo>
                  <a:lnTo>
                    <a:pt x="91575" y="128440"/>
                  </a:lnTo>
                  <a:lnTo>
                    <a:pt x="90871" y="126326"/>
                  </a:lnTo>
                  <a:lnTo>
                    <a:pt x="90871" y="124917"/>
                  </a:lnTo>
                  <a:lnTo>
                    <a:pt x="91340" y="123743"/>
                  </a:lnTo>
                  <a:lnTo>
                    <a:pt x="92045" y="123039"/>
                  </a:lnTo>
                  <a:lnTo>
                    <a:pt x="94393" y="121395"/>
                  </a:lnTo>
                  <a:lnTo>
                    <a:pt x="95097" y="120691"/>
                  </a:lnTo>
                  <a:lnTo>
                    <a:pt x="96271" y="119517"/>
                  </a:lnTo>
                  <a:lnTo>
                    <a:pt x="98854" y="116230"/>
                  </a:lnTo>
                  <a:lnTo>
                    <a:pt x="99793" y="115290"/>
                  </a:lnTo>
                  <a:lnTo>
                    <a:pt x="98619" y="111534"/>
                  </a:lnTo>
                  <a:lnTo>
                    <a:pt x="92279" y="100028"/>
                  </a:lnTo>
                  <a:lnTo>
                    <a:pt x="91810" y="98854"/>
                  </a:lnTo>
                  <a:lnTo>
                    <a:pt x="91810" y="97680"/>
                  </a:lnTo>
                  <a:lnTo>
                    <a:pt x="92045" y="96036"/>
                  </a:lnTo>
                  <a:lnTo>
                    <a:pt x="92045" y="95332"/>
                  </a:lnTo>
                  <a:lnTo>
                    <a:pt x="92045" y="94627"/>
                  </a:lnTo>
                  <a:lnTo>
                    <a:pt x="91810" y="94158"/>
                  </a:lnTo>
                  <a:lnTo>
                    <a:pt x="91575" y="92749"/>
                  </a:lnTo>
                  <a:lnTo>
                    <a:pt x="92279" y="91810"/>
                  </a:lnTo>
                  <a:lnTo>
                    <a:pt x="93219" y="91105"/>
                  </a:lnTo>
                  <a:lnTo>
                    <a:pt x="93923" y="90870"/>
                  </a:lnTo>
                  <a:lnTo>
                    <a:pt x="94862" y="90870"/>
                  </a:lnTo>
                  <a:lnTo>
                    <a:pt x="95801" y="90870"/>
                  </a:lnTo>
                  <a:lnTo>
                    <a:pt x="96741" y="91105"/>
                  </a:lnTo>
                  <a:lnTo>
                    <a:pt x="97445" y="91810"/>
                  </a:lnTo>
                  <a:lnTo>
                    <a:pt x="97915" y="92749"/>
                  </a:lnTo>
                  <a:lnTo>
                    <a:pt x="98854" y="92279"/>
                  </a:lnTo>
                  <a:lnTo>
                    <a:pt x="100028" y="92044"/>
                  </a:lnTo>
                  <a:lnTo>
                    <a:pt x="100967" y="92749"/>
                  </a:lnTo>
                  <a:lnTo>
                    <a:pt x="102141" y="94158"/>
                  </a:lnTo>
                  <a:lnTo>
                    <a:pt x="102376" y="94393"/>
                  </a:lnTo>
                  <a:lnTo>
                    <a:pt x="102376" y="94393"/>
                  </a:lnTo>
                  <a:lnTo>
                    <a:pt x="102611" y="94393"/>
                  </a:lnTo>
                  <a:lnTo>
                    <a:pt x="103080" y="94158"/>
                  </a:lnTo>
                  <a:lnTo>
                    <a:pt x="103080" y="94158"/>
                  </a:lnTo>
                  <a:lnTo>
                    <a:pt x="103080" y="94158"/>
                  </a:lnTo>
                  <a:lnTo>
                    <a:pt x="103315" y="94158"/>
                  </a:lnTo>
                  <a:lnTo>
                    <a:pt x="108011" y="86879"/>
                  </a:lnTo>
                  <a:lnTo>
                    <a:pt x="109420" y="85235"/>
                  </a:lnTo>
                  <a:lnTo>
                    <a:pt x="111064" y="83826"/>
                  </a:lnTo>
                  <a:lnTo>
                    <a:pt x="112003" y="83826"/>
                  </a:lnTo>
                  <a:lnTo>
                    <a:pt x="114116" y="84061"/>
                  </a:lnTo>
                  <a:lnTo>
                    <a:pt x="114586" y="84061"/>
                  </a:lnTo>
                  <a:lnTo>
                    <a:pt x="115056" y="84061"/>
                  </a:lnTo>
                  <a:lnTo>
                    <a:pt x="115525" y="83826"/>
                  </a:lnTo>
                  <a:lnTo>
                    <a:pt x="115995" y="83591"/>
                  </a:lnTo>
                  <a:lnTo>
                    <a:pt x="116699" y="82887"/>
                  </a:lnTo>
                  <a:lnTo>
                    <a:pt x="117169" y="82652"/>
                  </a:lnTo>
                  <a:lnTo>
                    <a:pt x="117873" y="82183"/>
                  </a:lnTo>
                  <a:lnTo>
                    <a:pt x="119047" y="81478"/>
                  </a:lnTo>
                  <a:lnTo>
                    <a:pt x="123509" y="79600"/>
                  </a:lnTo>
                  <a:lnTo>
                    <a:pt x="123509" y="79600"/>
                  </a:lnTo>
                  <a:lnTo>
                    <a:pt x="121161" y="75608"/>
                  </a:lnTo>
                  <a:lnTo>
                    <a:pt x="120926" y="75608"/>
                  </a:lnTo>
                  <a:lnTo>
                    <a:pt x="120691" y="75373"/>
                  </a:lnTo>
                  <a:lnTo>
                    <a:pt x="116934" y="74434"/>
                  </a:lnTo>
                  <a:lnTo>
                    <a:pt x="115995" y="73964"/>
                  </a:lnTo>
                  <a:lnTo>
                    <a:pt x="115291" y="73495"/>
                  </a:lnTo>
                  <a:lnTo>
                    <a:pt x="114821" y="72556"/>
                  </a:lnTo>
                  <a:lnTo>
                    <a:pt x="114586" y="71851"/>
                  </a:lnTo>
                  <a:lnTo>
                    <a:pt x="114586" y="67624"/>
                  </a:lnTo>
                  <a:lnTo>
                    <a:pt x="113412" y="62459"/>
                  </a:lnTo>
                  <a:lnTo>
                    <a:pt x="113647" y="60815"/>
                  </a:lnTo>
                  <a:lnTo>
                    <a:pt x="114116" y="59641"/>
                  </a:lnTo>
                  <a:lnTo>
                    <a:pt x="115291" y="58937"/>
                  </a:lnTo>
                  <a:lnTo>
                    <a:pt x="117639" y="58232"/>
                  </a:lnTo>
                  <a:lnTo>
                    <a:pt x="118343" y="58232"/>
                  </a:lnTo>
                  <a:lnTo>
                    <a:pt x="119517" y="57997"/>
                  </a:lnTo>
                  <a:lnTo>
                    <a:pt x="120456" y="58702"/>
                  </a:lnTo>
                  <a:lnTo>
                    <a:pt x="122335" y="61285"/>
                  </a:lnTo>
                  <a:lnTo>
                    <a:pt x="122335" y="60815"/>
                  </a:lnTo>
                  <a:lnTo>
                    <a:pt x="121396" y="59171"/>
                  </a:lnTo>
                  <a:lnTo>
                    <a:pt x="121161" y="58232"/>
                  </a:lnTo>
                  <a:lnTo>
                    <a:pt x="120926" y="57293"/>
                  </a:lnTo>
                  <a:lnTo>
                    <a:pt x="121161" y="56589"/>
                  </a:lnTo>
                  <a:lnTo>
                    <a:pt x="121630" y="55415"/>
                  </a:lnTo>
                  <a:lnTo>
                    <a:pt x="121865" y="54240"/>
                  </a:lnTo>
                  <a:lnTo>
                    <a:pt x="122100" y="52832"/>
                  </a:lnTo>
                  <a:lnTo>
                    <a:pt x="122100" y="51892"/>
                  </a:lnTo>
                  <a:lnTo>
                    <a:pt x="120456" y="48605"/>
                  </a:lnTo>
                  <a:lnTo>
                    <a:pt x="126561" y="50249"/>
                  </a:lnTo>
                  <a:lnTo>
                    <a:pt x="130083" y="51658"/>
                  </a:lnTo>
                  <a:lnTo>
                    <a:pt x="132197" y="51892"/>
                  </a:lnTo>
                  <a:lnTo>
                    <a:pt x="135014" y="51892"/>
                  </a:lnTo>
                  <a:lnTo>
                    <a:pt x="135954" y="51658"/>
                  </a:lnTo>
                  <a:lnTo>
                    <a:pt x="136423" y="51188"/>
                  </a:lnTo>
                  <a:lnTo>
                    <a:pt x="136658" y="51188"/>
                  </a:lnTo>
                  <a:lnTo>
                    <a:pt x="136658" y="50718"/>
                  </a:lnTo>
                  <a:lnTo>
                    <a:pt x="136893" y="50249"/>
                  </a:lnTo>
                  <a:lnTo>
                    <a:pt x="136893" y="50014"/>
                  </a:lnTo>
                  <a:lnTo>
                    <a:pt x="136893" y="49544"/>
                  </a:lnTo>
                  <a:lnTo>
                    <a:pt x="136658" y="49075"/>
                  </a:lnTo>
                  <a:lnTo>
                    <a:pt x="135719" y="47196"/>
                  </a:lnTo>
                  <a:lnTo>
                    <a:pt x="135484" y="45787"/>
                  </a:lnTo>
                  <a:lnTo>
                    <a:pt x="136893" y="44379"/>
                  </a:lnTo>
                  <a:lnTo>
                    <a:pt x="138771" y="42970"/>
                  </a:lnTo>
                  <a:lnTo>
                    <a:pt x="146520" y="38743"/>
                  </a:lnTo>
                  <a:lnTo>
                    <a:pt x="147224" y="38039"/>
                  </a:lnTo>
                  <a:lnTo>
                    <a:pt x="147929" y="37099"/>
                  </a:lnTo>
                  <a:lnTo>
                    <a:pt x="148633" y="36395"/>
                  </a:lnTo>
                  <a:lnTo>
                    <a:pt x="148633" y="35925"/>
                  </a:lnTo>
                  <a:lnTo>
                    <a:pt x="149103" y="34517"/>
                  </a:lnTo>
                  <a:lnTo>
                    <a:pt x="149572" y="33577"/>
                  </a:lnTo>
                  <a:lnTo>
                    <a:pt x="150512" y="32403"/>
                  </a:lnTo>
                  <a:lnTo>
                    <a:pt x="151451" y="31934"/>
                  </a:lnTo>
                  <a:lnTo>
                    <a:pt x="152390" y="31699"/>
                  </a:lnTo>
                  <a:lnTo>
                    <a:pt x="155208" y="31699"/>
                  </a:lnTo>
                  <a:lnTo>
                    <a:pt x="155912" y="31934"/>
                  </a:lnTo>
                  <a:lnTo>
                    <a:pt x="156851" y="32403"/>
                  </a:lnTo>
                  <a:lnTo>
                    <a:pt x="158025" y="33577"/>
                  </a:lnTo>
                  <a:lnTo>
                    <a:pt x="158260" y="33812"/>
                  </a:lnTo>
                  <a:lnTo>
                    <a:pt x="158965" y="33812"/>
                  </a:lnTo>
                  <a:lnTo>
                    <a:pt x="160374" y="33577"/>
                  </a:lnTo>
                  <a:lnTo>
                    <a:pt x="162956" y="32403"/>
                  </a:lnTo>
                  <a:lnTo>
                    <a:pt x="165539" y="31229"/>
                  </a:lnTo>
                  <a:lnTo>
                    <a:pt x="166713" y="31229"/>
                  </a:lnTo>
                  <a:lnTo>
                    <a:pt x="167653" y="31464"/>
                  </a:lnTo>
                  <a:lnTo>
                    <a:pt x="170470" y="32638"/>
                  </a:lnTo>
                  <a:lnTo>
                    <a:pt x="170705" y="32638"/>
                  </a:lnTo>
                  <a:lnTo>
                    <a:pt x="171644" y="32638"/>
                  </a:lnTo>
                  <a:lnTo>
                    <a:pt x="171879" y="32403"/>
                  </a:lnTo>
                  <a:lnTo>
                    <a:pt x="172349" y="32169"/>
                  </a:lnTo>
                  <a:lnTo>
                    <a:pt x="172584" y="31934"/>
                  </a:lnTo>
                  <a:lnTo>
                    <a:pt x="174932" y="28881"/>
                  </a:lnTo>
                  <a:lnTo>
                    <a:pt x="176106" y="27942"/>
                  </a:lnTo>
                  <a:lnTo>
                    <a:pt x="177280" y="28177"/>
                  </a:lnTo>
                  <a:lnTo>
                    <a:pt x="177515" y="28412"/>
                  </a:lnTo>
                  <a:lnTo>
                    <a:pt x="177749" y="28412"/>
                  </a:lnTo>
                  <a:lnTo>
                    <a:pt x="177984" y="27003"/>
                  </a:lnTo>
                  <a:lnTo>
                    <a:pt x="178454" y="26533"/>
                  </a:lnTo>
                  <a:lnTo>
                    <a:pt x="180097" y="24420"/>
                  </a:lnTo>
                  <a:lnTo>
                    <a:pt x="181037" y="23481"/>
                  </a:lnTo>
                  <a:lnTo>
                    <a:pt x="181976" y="23246"/>
                  </a:lnTo>
                  <a:lnTo>
                    <a:pt x="182680" y="23011"/>
                  </a:lnTo>
                  <a:lnTo>
                    <a:pt x="183385" y="23246"/>
                  </a:lnTo>
                  <a:lnTo>
                    <a:pt x="184324" y="23950"/>
                  </a:lnTo>
                  <a:lnTo>
                    <a:pt x="184794" y="23950"/>
                  </a:lnTo>
                  <a:lnTo>
                    <a:pt x="185733" y="23950"/>
                  </a:lnTo>
                  <a:lnTo>
                    <a:pt x="188785" y="23011"/>
                  </a:lnTo>
                  <a:lnTo>
                    <a:pt x="189959" y="23011"/>
                  </a:lnTo>
                  <a:lnTo>
                    <a:pt x="192073" y="23246"/>
                  </a:lnTo>
                  <a:lnTo>
                    <a:pt x="193012" y="23246"/>
                  </a:lnTo>
                  <a:lnTo>
                    <a:pt x="193481" y="23011"/>
                  </a:lnTo>
                  <a:lnTo>
                    <a:pt x="193951" y="22776"/>
                  </a:lnTo>
                  <a:lnTo>
                    <a:pt x="194421" y="22541"/>
                  </a:lnTo>
                  <a:lnTo>
                    <a:pt x="194890" y="22072"/>
                  </a:lnTo>
                  <a:lnTo>
                    <a:pt x="196769" y="20663"/>
                  </a:lnTo>
                  <a:lnTo>
                    <a:pt x="200995" y="18080"/>
                  </a:lnTo>
                  <a:lnTo>
                    <a:pt x="201230" y="17845"/>
                  </a:lnTo>
                  <a:lnTo>
                    <a:pt x="201465" y="17611"/>
                  </a:lnTo>
                  <a:lnTo>
                    <a:pt x="201465" y="17376"/>
                  </a:lnTo>
                  <a:lnTo>
                    <a:pt x="201465" y="17141"/>
                  </a:lnTo>
                  <a:lnTo>
                    <a:pt x="201465" y="16906"/>
                  </a:lnTo>
                  <a:lnTo>
                    <a:pt x="201465" y="16671"/>
                  </a:lnTo>
                  <a:lnTo>
                    <a:pt x="201230" y="16437"/>
                  </a:lnTo>
                  <a:lnTo>
                    <a:pt x="198412" y="14558"/>
                  </a:lnTo>
                  <a:lnTo>
                    <a:pt x="197708" y="13384"/>
                  </a:lnTo>
                  <a:lnTo>
                    <a:pt x="197943" y="12210"/>
                  </a:lnTo>
                  <a:lnTo>
                    <a:pt x="198882" y="10801"/>
                  </a:lnTo>
                  <a:lnTo>
                    <a:pt x="200056" y="10332"/>
                  </a:lnTo>
                  <a:lnTo>
                    <a:pt x="200760" y="10097"/>
                  </a:lnTo>
                  <a:lnTo>
                    <a:pt x="203578" y="10097"/>
                  </a:lnTo>
                  <a:lnTo>
                    <a:pt x="204987" y="10097"/>
                  </a:lnTo>
                  <a:lnTo>
                    <a:pt x="205691" y="10332"/>
                  </a:lnTo>
                  <a:lnTo>
                    <a:pt x="206631" y="10801"/>
                  </a:lnTo>
                  <a:lnTo>
                    <a:pt x="207335" y="11506"/>
                  </a:lnTo>
                  <a:lnTo>
                    <a:pt x="208274" y="14088"/>
                  </a:lnTo>
                  <a:lnTo>
                    <a:pt x="208979" y="14088"/>
                  </a:lnTo>
                  <a:lnTo>
                    <a:pt x="209683" y="13854"/>
                  </a:lnTo>
                  <a:lnTo>
                    <a:pt x="210387" y="13619"/>
                  </a:lnTo>
                  <a:lnTo>
                    <a:pt x="211092" y="13619"/>
                  </a:lnTo>
                  <a:lnTo>
                    <a:pt x="212031" y="13619"/>
                  </a:lnTo>
                  <a:lnTo>
                    <a:pt x="212970" y="13854"/>
                  </a:lnTo>
                  <a:lnTo>
                    <a:pt x="214614" y="14558"/>
                  </a:lnTo>
                  <a:lnTo>
                    <a:pt x="214849" y="14793"/>
                  </a:lnTo>
                  <a:lnTo>
                    <a:pt x="215084" y="14793"/>
                  </a:lnTo>
                  <a:lnTo>
                    <a:pt x="215553" y="8923"/>
                  </a:lnTo>
                  <a:lnTo>
                    <a:pt x="215788" y="8218"/>
                  </a:lnTo>
                  <a:lnTo>
                    <a:pt x="216258" y="7279"/>
                  </a:lnTo>
                  <a:lnTo>
                    <a:pt x="217197" y="6809"/>
                  </a:lnTo>
                  <a:lnTo>
                    <a:pt x="217901" y="6809"/>
                  </a:lnTo>
                  <a:lnTo>
                    <a:pt x="219310" y="7044"/>
                  </a:lnTo>
                  <a:lnTo>
                    <a:pt x="221423" y="8218"/>
                  </a:lnTo>
                  <a:lnTo>
                    <a:pt x="223537" y="9862"/>
                  </a:lnTo>
                  <a:lnTo>
                    <a:pt x="225180" y="11975"/>
                  </a:lnTo>
                  <a:lnTo>
                    <a:pt x="225415" y="12210"/>
                  </a:lnTo>
                  <a:lnTo>
                    <a:pt x="225650" y="12210"/>
                  </a:lnTo>
                  <a:lnTo>
                    <a:pt x="225415" y="10332"/>
                  </a:lnTo>
                  <a:lnTo>
                    <a:pt x="225650" y="9627"/>
                  </a:lnTo>
                  <a:lnTo>
                    <a:pt x="225650" y="8923"/>
                  </a:lnTo>
                  <a:lnTo>
                    <a:pt x="226120" y="7748"/>
                  </a:lnTo>
                  <a:lnTo>
                    <a:pt x="226355" y="7044"/>
                  </a:lnTo>
                  <a:lnTo>
                    <a:pt x="229172" y="3052"/>
                  </a:lnTo>
                  <a:lnTo>
                    <a:pt x="230346" y="1644"/>
                  </a:lnTo>
                  <a:lnTo>
                    <a:pt x="231755" y="235"/>
                  </a:lnTo>
                  <a:lnTo>
                    <a:pt x="238095" y="3052"/>
                  </a:lnTo>
                  <a:lnTo>
                    <a:pt x="239504" y="4461"/>
                  </a:lnTo>
                  <a:lnTo>
                    <a:pt x="240208" y="6105"/>
                  </a:lnTo>
                  <a:lnTo>
                    <a:pt x="240208" y="8453"/>
                  </a:lnTo>
                  <a:lnTo>
                    <a:pt x="240443" y="8923"/>
                  </a:lnTo>
                  <a:lnTo>
                    <a:pt x="245374" y="11036"/>
                  </a:lnTo>
                  <a:lnTo>
                    <a:pt x="251479" y="7514"/>
                  </a:lnTo>
                  <a:lnTo>
                    <a:pt x="257819" y="2348"/>
                  </a:lnTo>
                  <a:lnTo>
                    <a:pt x="263689" y="0"/>
                  </a:lnTo>
                  <a:lnTo>
                    <a:pt x="265567" y="1878"/>
                  </a:lnTo>
                  <a:lnTo>
                    <a:pt x="269089" y="8453"/>
                  </a:lnTo>
                  <a:lnTo>
                    <a:pt x="271437" y="10801"/>
                  </a:lnTo>
                  <a:lnTo>
                    <a:pt x="272611" y="13149"/>
                  </a:lnTo>
                  <a:lnTo>
                    <a:pt x="271672" y="16202"/>
                  </a:lnTo>
                  <a:lnTo>
                    <a:pt x="265098" y="24890"/>
                  </a:lnTo>
                  <a:lnTo>
                    <a:pt x="264393" y="26533"/>
                  </a:lnTo>
                  <a:lnTo>
                    <a:pt x="264863" y="28646"/>
                  </a:lnTo>
                  <a:lnTo>
                    <a:pt x="267211" y="33108"/>
                  </a:lnTo>
                  <a:lnTo>
                    <a:pt x="267681" y="35456"/>
                  </a:lnTo>
                  <a:lnTo>
                    <a:pt x="267681" y="38743"/>
                  </a:lnTo>
                  <a:lnTo>
                    <a:pt x="268620" y="42500"/>
                  </a:lnTo>
                  <a:lnTo>
                    <a:pt x="274255" y="48370"/>
                  </a:lnTo>
                  <a:lnTo>
                    <a:pt x="276603" y="53536"/>
                  </a:lnTo>
                  <a:lnTo>
                    <a:pt x="277073" y="54006"/>
                  </a:lnTo>
                  <a:lnTo>
                    <a:pt x="278247" y="54475"/>
                  </a:lnTo>
                  <a:lnTo>
                    <a:pt x="280360" y="56119"/>
                  </a:lnTo>
                  <a:lnTo>
                    <a:pt x="285291" y="55884"/>
                  </a:lnTo>
                  <a:lnTo>
                    <a:pt x="280830" y="58467"/>
                  </a:lnTo>
                  <a:lnTo>
                    <a:pt x="278717" y="61050"/>
                  </a:lnTo>
                  <a:lnTo>
                    <a:pt x="276603" y="62928"/>
                  </a:lnTo>
                  <a:lnTo>
                    <a:pt x="275899" y="63868"/>
                  </a:lnTo>
                  <a:lnTo>
                    <a:pt x="275664" y="64572"/>
                  </a:lnTo>
                  <a:lnTo>
                    <a:pt x="275429" y="72790"/>
                  </a:lnTo>
                  <a:lnTo>
                    <a:pt x="279421" y="84765"/>
                  </a:lnTo>
                  <a:lnTo>
                    <a:pt x="278482" y="90401"/>
                  </a:lnTo>
                  <a:lnTo>
                    <a:pt x="276369" y="95097"/>
                  </a:lnTo>
                  <a:lnTo>
                    <a:pt x="275899" y="98854"/>
                  </a:lnTo>
                  <a:lnTo>
                    <a:pt x="282004" y="106837"/>
                  </a:lnTo>
                  <a:lnTo>
                    <a:pt x="283413" y="107777"/>
                  </a:lnTo>
                  <a:lnTo>
                    <a:pt x="285761" y="108481"/>
                  </a:lnTo>
                  <a:lnTo>
                    <a:pt x="291866" y="108481"/>
                  </a:lnTo>
                  <a:lnTo>
                    <a:pt x="295388" y="108951"/>
                  </a:lnTo>
                  <a:lnTo>
                    <a:pt x="299849" y="112238"/>
                  </a:lnTo>
                  <a:lnTo>
                    <a:pt x="299380" y="117169"/>
                  </a:lnTo>
                  <a:lnTo>
                    <a:pt x="289518" y="131962"/>
                  </a:lnTo>
                  <a:lnTo>
                    <a:pt x="288109" y="135719"/>
                  </a:lnTo>
                  <a:lnTo>
                    <a:pt x="288109" y="139241"/>
                  </a:lnTo>
                  <a:lnTo>
                    <a:pt x="289518" y="142998"/>
                  </a:lnTo>
                  <a:lnTo>
                    <a:pt x="292570" y="145815"/>
                  </a:lnTo>
                  <a:lnTo>
                    <a:pt x="297032" y="148398"/>
                  </a:lnTo>
                  <a:lnTo>
                    <a:pt x="300554" y="151920"/>
                  </a:lnTo>
                  <a:lnTo>
                    <a:pt x="300554" y="157321"/>
                  </a:lnTo>
                  <a:lnTo>
                    <a:pt x="301023" y="159199"/>
                  </a:lnTo>
                  <a:lnTo>
                    <a:pt x="304311" y="165539"/>
                  </a:lnTo>
                  <a:lnTo>
                    <a:pt x="303606" y="168357"/>
                  </a:lnTo>
                  <a:lnTo>
                    <a:pt x="300788" y="171879"/>
                  </a:lnTo>
                  <a:lnTo>
                    <a:pt x="295857" y="177749"/>
                  </a:lnTo>
                  <a:lnTo>
                    <a:pt x="292805" y="183150"/>
                  </a:lnTo>
                  <a:lnTo>
                    <a:pt x="292805" y="186907"/>
                  </a:lnTo>
                  <a:lnTo>
                    <a:pt x="294214" y="190664"/>
                  </a:lnTo>
                  <a:lnTo>
                    <a:pt x="295153" y="196299"/>
                  </a:lnTo>
                  <a:lnTo>
                    <a:pt x="293744" y="204283"/>
                  </a:lnTo>
                  <a:lnTo>
                    <a:pt x="294214" y="206631"/>
                  </a:lnTo>
                  <a:lnTo>
                    <a:pt x="295623" y="208744"/>
                  </a:lnTo>
                  <a:lnTo>
                    <a:pt x="298206" y="211327"/>
                  </a:lnTo>
                  <a:lnTo>
                    <a:pt x="301023" y="213205"/>
                  </a:lnTo>
                  <a:lnTo>
                    <a:pt x="303841" y="214379"/>
                  </a:lnTo>
                  <a:lnTo>
                    <a:pt x="313468" y="216023"/>
                  </a:lnTo>
                  <a:lnTo>
                    <a:pt x="316286" y="217901"/>
                  </a:lnTo>
                  <a:lnTo>
                    <a:pt x="317695" y="220249"/>
                  </a:lnTo>
                  <a:lnTo>
                    <a:pt x="321921" y="231520"/>
                  </a:lnTo>
                  <a:lnTo>
                    <a:pt x="321217" y="235042"/>
                  </a:lnTo>
                  <a:lnTo>
                    <a:pt x="317225" y="236921"/>
                  </a:lnTo>
                  <a:lnTo>
                    <a:pt x="313703" y="236921"/>
                  </a:lnTo>
                  <a:lnTo>
                    <a:pt x="308772" y="234808"/>
                  </a:lnTo>
                  <a:lnTo>
                    <a:pt x="306659" y="234338"/>
                  </a:lnTo>
                  <a:lnTo>
                    <a:pt x="301258" y="235747"/>
                  </a:lnTo>
                  <a:lnTo>
                    <a:pt x="297501" y="239034"/>
                  </a:lnTo>
                  <a:lnTo>
                    <a:pt x="294683" y="243965"/>
                  </a:lnTo>
                  <a:lnTo>
                    <a:pt x="291631" y="251479"/>
                  </a:lnTo>
                  <a:lnTo>
                    <a:pt x="289753" y="259697"/>
                  </a:lnTo>
                  <a:lnTo>
                    <a:pt x="287874" y="262750"/>
                  </a:lnTo>
                  <a:lnTo>
                    <a:pt x="285056" y="264393"/>
                  </a:lnTo>
                  <a:lnTo>
                    <a:pt x="279186" y="266507"/>
                  </a:lnTo>
                  <a:lnTo>
                    <a:pt x="273786" y="270263"/>
                  </a:lnTo>
                  <a:lnTo>
                    <a:pt x="271437" y="270498"/>
                  </a:lnTo>
                  <a:lnTo>
                    <a:pt x="268150" y="269089"/>
                  </a:lnTo>
                  <a:lnTo>
                    <a:pt x="265802" y="268385"/>
                  </a:lnTo>
                  <a:lnTo>
                    <a:pt x="258993" y="268620"/>
                  </a:lnTo>
                  <a:lnTo>
                    <a:pt x="255236" y="268385"/>
                  </a:lnTo>
                  <a:lnTo>
                    <a:pt x="247487" y="265333"/>
                  </a:lnTo>
                  <a:lnTo>
                    <a:pt x="243495" y="264628"/>
                  </a:lnTo>
                  <a:lnTo>
                    <a:pt x="239034" y="264863"/>
                  </a:lnTo>
                  <a:lnTo>
                    <a:pt x="236921" y="265802"/>
                  </a:lnTo>
                  <a:lnTo>
                    <a:pt x="232694" y="268385"/>
                  </a:lnTo>
                  <a:lnTo>
                    <a:pt x="230346" y="269324"/>
                  </a:lnTo>
                  <a:lnTo>
                    <a:pt x="228233" y="268385"/>
                  </a:lnTo>
                  <a:lnTo>
                    <a:pt x="226824" y="266507"/>
                  </a:lnTo>
                  <a:lnTo>
                    <a:pt x="225180" y="263219"/>
                  </a:lnTo>
                  <a:lnTo>
                    <a:pt x="223537" y="260636"/>
                  </a:lnTo>
                  <a:lnTo>
                    <a:pt x="215319" y="254766"/>
                  </a:lnTo>
                  <a:lnTo>
                    <a:pt x="212266" y="249835"/>
                  </a:lnTo>
                  <a:lnTo>
                    <a:pt x="210857" y="249365"/>
                  </a:lnTo>
                  <a:lnTo>
                    <a:pt x="204283" y="253122"/>
                  </a:lnTo>
                  <a:lnTo>
                    <a:pt x="203578" y="255236"/>
                  </a:lnTo>
                  <a:lnTo>
                    <a:pt x="203578" y="257818"/>
                  </a:lnTo>
                  <a:lnTo>
                    <a:pt x="203109" y="261106"/>
                  </a:lnTo>
                  <a:lnTo>
                    <a:pt x="201230" y="264393"/>
                  </a:lnTo>
                  <a:lnTo>
                    <a:pt x="199821" y="266507"/>
                  </a:lnTo>
                  <a:lnTo>
                    <a:pt x="199352" y="268150"/>
                  </a:lnTo>
                  <a:lnTo>
                    <a:pt x="199821" y="270733"/>
                  </a:lnTo>
                  <a:lnTo>
                    <a:pt x="203343" y="279186"/>
                  </a:lnTo>
                  <a:lnTo>
                    <a:pt x="206161" y="282239"/>
                  </a:lnTo>
                  <a:lnTo>
                    <a:pt x="206865" y="283882"/>
                  </a:lnTo>
                  <a:lnTo>
                    <a:pt x="206631" y="285761"/>
                  </a:lnTo>
                  <a:lnTo>
                    <a:pt x="205691" y="289048"/>
                  </a:lnTo>
                  <a:lnTo>
                    <a:pt x="205926" y="289987"/>
                  </a:lnTo>
                  <a:lnTo>
                    <a:pt x="207805" y="290927"/>
                  </a:lnTo>
                  <a:lnTo>
                    <a:pt x="210857" y="290927"/>
                  </a:lnTo>
                  <a:lnTo>
                    <a:pt x="214614" y="291631"/>
                  </a:lnTo>
                  <a:lnTo>
                    <a:pt x="216493" y="295388"/>
                  </a:lnTo>
                  <a:lnTo>
                    <a:pt x="215084" y="299614"/>
                  </a:lnTo>
                  <a:lnTo>
                    <a:pt x="211796" y="301962"/>
                  </a:lnTo>
                  <a:lnTo>
                    <a:pt x="207570" y="302667"/>
                  </a:lnTo>
                  <a:lnTo>
                    <a:pt x="203578" y="302432"/>
                  </a:lnTo>
                  <a:lnTo>
                    <a:pt x="197004" y="300554"/>
                  </a:lnTo>
                  <a:lnTo>
                    <a:pt x="193481" y="296327"/>
                  </a:lnTo>
                  <a:lnTo>
                    <a:pt x="190194" y="282943"/>
                  </a:lnTo>
                  <a:lnTo>
                    <a:pt x="188785" y="281064"/>
                  </a:lnTo>
                  <a:lnTo>
                    <a:pt x="186672" y="279890"/>
                  </a:lnTo>
                  <a:lnTo>
                    <a:pt x="183620" y="279656"/>
                  </a:lnTo>
                  <a:lnTo>
                    <a:pt x="181741" y="279890"/>
                  </a:lnTo>
                  <a:lnTo>
                    <a:pt x="179628" y="280360"/>
                  </a:lnTo>
                  <a:lnTo>
                    <a:pt x="177280" y="280595"/>
                  </a:lnTo>
                  <a:lnTo>
                    <a:pt x="174697" y="278716"/>
                  </a:lnTo>
                  <a:lnTo>
                    <a:pt x="173523" y="278716"/>
                  </a:lnTo>
                  <a:lnTo>
                    <a:pt x="150277" y="286465"/>
                  </a:lnTo>
                  <a:lnTo>
                    <a:pt x="147694" y="287404"/>
                  </a:lnTo>
                  <a:lnTo>
                    <a:pt x="149338" y="289518"/>
                  </a:lnTo>
                  <a:lnTo>
                    <a:pt x="151451" y="290927"/>
                  </a:lnTo>
                  <a:lnTo>
                    <a:pt x="158260" y="303841"/>
                  </a:lnTo>
                  <a:lnTo>
                    <a:pt x="158730" y="307833"/>
                  </a:lnTo>
                  <a:lnTo>
                    <a:pt x="157321" y="312059"/>
                  </a:lnTo>
                  <a:lnTo>
                    <a:pt x="154034" y="315581"/>
                  </a:lnTo>
                  <a:lnTo>
                    <a:pt x="152860" y="316520"/>
                  </a:lnTo>
                  <a:lnTo>
                    <a:pt x="152390" y="317225"/>
                  </a:lnTo>
                  <a:lnTo>
                    <a:pt x="152155" y="317694"/>
                  </a:lnTo>
                  <a:lnTo>
                    <a:pt x="151451" y="318634"/>
                  </a:lnTo>
                  <a:lnTo>
                    <a:pt x="149103" y="319338"/>
                  </a:lnTo>
                  <a:lnTo>
                    <a:pt x="147459" y="318164"/>
                  </a:lnTo>
                  <a:lnTo>
                    <a:pt x="147224" y="317694"/>
                  </a:lnTo>
                  <a:lnTo>
                    <a:pt x="146285" y="318399"/>
                  </a:lnTo>
                  <a:lnTo>
                    <a:pt x="146050" y="319808"/>
                  </a:lnTo>
                  <a:lnTo>
                    <a:pt x="145815" y="321452"/>
                  </a:lnTo>
                  <a:lnTo>
                    <a:pt x="141354" y="329435"/>
                  </a:lnTo>
                  <a:lnTo>
                    <a:pt x="138302" y="333192"/>
                  </a:lnTo>
                  <a:lnTo>
                    <a:pt x="137128" y="335070"/>
                  </a:lnTo>
                  <a:lnTo>
                    <a:pt x="136188" y="337653"/>
                  </a:lnTo>
                  <a:lnTo>
                    <a:pt x="131492" y="336714"/>
                  </a:lnTo>
                  <a:lnTo>
                    <a:pt x="128205" y="336479"/>
                  </a:lnTo>
                  <a:lnTo>
                    <a:pt x="119752" y="334131"/>
                  </a:lnTo>
                  <a:lnTo>
                    <a:pt x="120221" y="341880"/>
                  </a:lnTo>
                  <a:lnTo>
                    <a:pt x="121396" y="343054"/>
                  </a:lnTo>
                  <a:lnTo>
                    <a:pt x="126796" y="347045"/>
                  </a:lnTo>
                  <a:lnTo>
                    <a:pt x="128205" y="350333"/>
                  </a:lnTo>
                  <a:lnTo>
                    <a:pt x="126326" y="354090"/>
                  </a:lnTo>
                  <a:lnTo>
                    <a:pt x="123039" y="356203"/>
                  </a:lnTo>
                  <a:lnTo>
                    <a:pt x="119047" y="356907"/>
                  </a:lnTo>
                  <a:lnTo>
                    <a:pt x="115760" y="356438"/>
                  </a:lnTo>
                  <a:lnTo>
                    <a:pt x="109186" y="354325"/>
                  </a:lnTo>
                  <a:lnTo>
                    <a:pt x="105898" y="353855"/>
                  </a:lnTo>
                  <a:lnTo>
                    <a:pt x="93688" y="355264"/>
                  </a:lnTo>
                  <a:lnTo>
                    <a:pt x="90401" y="356203"/>
                  </a:lnTo>
                  <a:lnTo>
                    <a:pt x="87348" y="358081"/>
                  </a:lnTo>
                  <a:lnTo>
                    <a:pt x="83826" y="362778"/>
                  </a:lnTo>
                  <a:lnTo>
                    <a:pt x="81948" y="363952"/>
                  </a:lnTo>
                  <a:lnTo>
                    <a:pt x="80539" y="363482"/>
                  </a:lnTo>
                  <a:lnTo>
                    <a:pt x="80069" y="362308"/>
                  </a:lnTo>
                  <a:lnTo>
                    <a:pt x="75608" y="358081"/>
                  </a:lnTo>
                  <a:lnTo>
                    <a:pt x="74669" y="357612"/>
                  </a:lnTo>
                  <a:lnTo>
                    <a:pt x="73730" y="357847"/>
                  </a:lnTo>
                  <a:lnTo>
                    <a:pt x="73495" y="357847"/>
                  </a:lnTo>
                  <a:lnTo>
                    <a:pt x="73260" y="359021"/>
                  </a:lnTo>
                  <a:lnTo>
                    <a:pt x="72321" y="361134"/>
                  </a:lnTo>
                  <a:lnTo>
                    <a:pt x="70207" y="365126"/>
                  </a:lnTo>
                  <a:lnTo>
                    <a:pt x="68564" y="366534"/>
                  </a:lnTo>
                  <a:lnTo>
                    <a:pt x="66216" y="367943"/>
                  </a:lnTo>
                  <a:lnTo>
                    <a:pt x="64572" y="368413"/>
                  </a:lnTo>
                  <a:lnTo>
                    <a:pt x="61520" y="368883"/>
                  </a:lnTo>
                  <a:lnTo>
                    <a:pt x="60346" y="369587"/>
                  </a:lnTo>
                  <a:lnTo>
                    <a:pt x="59641" y="370057"/>
                  </a:lnTo>
                  <a:lnTo>
                    <a:pt x="57997" y="371935"/>
                  </a:lnTo>
                  <a:lnTo>
                    <a:pt x="57058" y="372639"/>
                  </a:lnTo>
                  <a:lnTo>
                    <a:pt x="52127" y="374987"/>
                  </a:lnTo>
                  <a:lnTo>
                    <a:pt x="47196" y="375927"/>
                  </a:lnTo>
                  <a:close/>
                </a:path>
              </a:pathLst>
            </a:custGeom>
            <a:solidFill>
              <a:srgbClr val="CBD8E7"/>
            </a:solidFill>
            <a:ln w="2347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41" name="Овал 140"/>
            <p:cNvSpPr>
              <a:spLocks noChangeAspect="1"/>
            </p:cNvSpPr>
            <p:nvPr/>
          </p:nvSpPr>
          <p:spPr>
            <a:xfrm>
              <a:off x="920432" y="3702151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785664" y="3568120"/>
              <a:ext cx="554051" cy="169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500" dirty="0"/>
                <a:t>Херсон</a:t>
              </a:r>
            </a:p>
          </p:txBody>
        </p:sp>
        <p:sp>
          <p:nvSpPr>
            <p:cNvPr id="143" name="Freeform 38"/>
            <p:cNvSpPr>
              <a:spLocks/>
            </p:cNvSpPr>
            <p:nvPr/>
          </p:nvSpPr>
          <p:spPr bwMode="auto">
            <a:xfrm>
              <a:off x="3984971" y="4431486"/>
              <a:ext cx="861936" cy="701971"/>
            </a:xfrm>
            <a:custGeom>
              <a:avLst/>
              <a:gdLst>
                <a:gd name="T0" fmla="*/ 194569 w 497"/>
                <a:gd name="T1" fmla="*/ 539750 h 373"/>
                <a:gd name="T2" fmla="*/ 222365 w 497"/>
                <a:gd name="T3" fmla="*/ 568325 h 373"/>
                <a:gd name="T4" fmla="*/ 248698 w 497"/>
                <a:gd name="T5" fmla="*/ 588962 h 373"/>
                <a:gd name="T6" fmla="*/ 294048 w 497"/>
                <a:gd name="T7" fmla="*/ 574675 h 373"/>
                <a:gd name="T8" fmla="*/ 308678 w 497"/>
                <a:gd name="T9" fmla="*/ 515937 h 373"/>
                <a:gd name="T10" fmla="*/ 327696 w 497"/>
                <a:gd name="T11" fmla="*/ 506412 h 373"/>
                <a:gd name="T12" fmla="*/ 329159 w 497"/>
                <a:gd name="T13" fmla="*/ 495300 h 373"/>
                <a:gd name="T14" fmla="*/ 351103 w 497"/>
                <a:gd name="T15" fmla="*/ 481012 h 373"/>
                <a:gd name="T16" fmla="*/ 367195 w 497"/>
                <a:gd name="T17" fmla="*/ 457200 h 373"/>
                <a:gd name="T18" fmla="*/ 381824 w 497"/>
                <a:gd name="T19" fmla="*/ 447675 h 373"/>
                <a:gd name="T20" fmla="*/ 405231 w 497"/>
                <a:gd name="T21" fmla="*/ 447675 h 373"/>
                <a:gd name="T22" fmla="*/ 416934 w 497"/>
                <a:gd name="T23" fmla="*/ 436562 h 373"/>
                <a:gd name="T24" fmla="*/ 418397 w 497"/>
                <a:gd name="T25" fmla="*/ 392112 h 373"/>
                <a:gd name="T26" fmla="*/ 399379 w 497"/>
                <a:gd name="T27" fmla="*/ 298450 h 373"/>
                <a:gd name="T28" fmla="*/ 424249 w 497"/>
                <a:gd name="T29" fmla="*/ 233362 h 373"/>
                <a:gd name="T30" fmla="*/ 452045 w 497"/>
                <a:gd name="T31" fmla="*/ 211137 h 373"/>
                <a:gd name="T32" fmla="*/ 469600 w 497"/>
                <a:gd name="T33" fmla="*/ 212725 h 373"/>
                <a:gd name="T34" fmla="*/ 472526 w 497"/>
                <a:gd name="T35" fmla="*/ 280987 h 373"/>
                <a:gd name="T36" fmla="*/ 548598 w 497"/>
                <a:gd name="T37" fmla="*/ 319087 h 373"/>
                <a:gd name="T38" fmla="*/ 612967 w 497"/>
                <a:gd name="T39" fmla="*/ 319087 h 373"/>
                <a:gd name="T40" fmla="*/ 683187 w 497"/>
                <a:gd name="T41" fmla="*/ 322262 h 373"/>
                <a:gd name="T42" fmla="*/ 727075 w 497"/>
                <a:gd name="T43" fmla="*/ 298450 h 373"/>
                <a:gd name="T44" fmla="*/ 691965 w 497"/>
                <a:gd name="T45" fmla="*/ 284162 h 373"/>
                <a:gd name="T46" fmla="*/ 672947 w 497"/>
                <a:gd name="T47" fmla="*/ 260350 h 373"/>
                <a:gd name="T48" fmla="*/ 651003 w 497"/>
                <a:gd name="T49" fmla="*/ 236537 h 373"/>
                <a:gd name="T50" fmla="*/ 615893 w 497"/>
                <a:gd name="T51" fmla="*/ 231775 h 373"/>
                <a:gd name="T52" fmla="*/ 612967 w 497"/>
                <a:gd name="T53" fmla="*/ 190500 h 373"/>
                <a:gd name="T54" fmla="*/ 589560 w 497"/>
                <a:gd name="T55" fmla="*/ 114300 h 373"/>
                <a:gd name="T56" fmla="*/ 564690 w 497"/>
                <a:gd name="T57" fmla="*/ 55562 h 373"/>
                <a:gd name="T58" fmla="*/ 523728 w 497"/>
                <a:gd name="T59" fmla="*/ 39687 h 373"/>
                <a:gd name="T60" fmla="*/ 469600 w 497"/>
                <a:gd name="T61" fmla="*/ 46037 h 373"/>
                <a:gd name="T62" fmla="*/ 421323 w 497"/>
                <a:gd name="T63" fmla="*/ 17462 h 373"/>
                <a:gd name="T64" fmla="*/ 340862 w 497"/>
                <a:gd name="T65" fmla="*/ 42862 h 373"/>
                <a:gd name="T66" fmla="*/ 270642 w 497"/>
                <a:gd name="T67" fmla="*/ 52387 h 373"/>
                <a:gd name="T68" fmla="*/ 216513 w 497"/>
                <a:gd name="T69" fmla="*/ 58737 h 373"/>
                <a:gd name="T70" fmla="*/ 188718 w 497"/>
                <a:gd name="T71" fmla="*/ 46037 h 373"/>
                <a:gd name="T72" fmla="*/ 175551 w 497"/>
                <a:gd name="T73" fmla="*/ 66675 h 373"/>
                <a:gd name="T74" fmla="*/ 172625 w 497"/>
                <a:gd name="T75" fmla="*/ 101600 h 373"/>
                <a:gd name="T76" fmla="*/ 169700 w 497"/>
                <a:gd name="T77" fmla="*/ 114300 h 373"/>
                <a:gd name="T78" fmla="*/ 108257 w 497"/>
                <a:gd name="T79" fmla="*/ 128587 h 373"/>
                <a:gd name="T80" fmla="*/ 73146 w 497"/>
                <a:gd name="T81" fmla="*/ 119062 h 373"/>
                <a:gd name="T82" fmla="*/ 45351 w 497"/>
                <a:gd name="T83" fmla="*/ 169862 h 373"/>
                <a:gd name="T84" fmla="*/ 10240 w 497"/>
                <a:gd name="T85" fmla="*/ 231775 h 373"/>
                <a:gd name="T86" fmla="*/ 0 w 497"/>
                <a:gd name="T87" fmla="*/ 257175 h 373"/>
                <a:gd name="T88" fmla="*/ 10240 w 497"/>
                <a:gd name="T89" fmla="*/ 287337 h 373"/>
                <a:gd name="T90" fmla="*/ 51202 w 497"/>
                <a:gd name="T91" fmla="*/ 336550 h 373"/>
                <a:gd name="T92" fmla="*/ 89239 w 497"/>
                <a:gd name="T93" fmla="*/ 374650 h 373"/>
                <a:gd name="T94" fmla="*/ 133126 w 497"/>
                <a:gd name="T95" fmla="*/ 444500 h 373"/>
                <a:gd name="T96" fmla="*/ 168237 w 497"/>
                <a:gd name="T97" fmla="*/ 492125 h 373"/>
                <a:gd name="T98" fmla="*/ 169700 w 497"/>
                <a:gd name="T99" fmla="*/ 506412 h 373"/>
                <a:gd name="T100" fmla="*/ 168237 w 497"/>
                <a:gd name="T101" fmla="*/ 533400 h 3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97"/>
                <a:gd name="T154" fmla="*/ 0 h 373"/>
                <a:gd name="T155" fmla="*/ 497 w 497"/>
                <a:gd name="T156" fmla="*/ 373 h 3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97" h="373">
                  <a:moveTo>
                    <a:pt x="115" y="336"/>
                  </a:moveTo>
                  <a:lnTo>
                    <a:pt x="124" y="338"/>
                  </a:lnTo>
                  <a:lnTo>
                    <a:pt x="133" y="340"/>
                  </a:lnTo>
                  <a:lnTo>
                    <a:pt x="140" y="345"/>
                  </a:lnTo>
                  <a:lnTo>
                    <a:pt x="146" y="349"/>
                  </a:lnTo>
                  <a:lnTo>
                    <a:pt x="152" y="358"/>
                  </a:lnTo>
                  <a:lnTo>
                    <a:pt x="157" y="364"/>
                  </a:lnTo>
                  <a:lnTo>
                    <a:pt x="164" y="367"/>
                  </a:lnTo>
                  <a:lnTo>
                    <a:pt x="170" y="371"/>
                  </a:lnTo>
                  <a:lnTo>
                    <a:pt x="183" y="373"/>
                  </a:lnTo>
                  <a:lnTo>
                    <a:pt x="198" y="371"/>
                  </a:lnTo>
                  <a:lnTo>
                    <a:pt x="201" y="362"/>
                  </a:lnTo>
                  <a:lnTo>
                    <a:pt x="205" y="353"/>
                  </a:lnTo>
                  <a:lnTo>
                    <a:pt x="207" y="340"/>
                  </a:lnTo>
                  <a:lnTo>
                    <a:pt x="211" y="325"/>
                  </a:lnTo>
                  <a:lnTo>
                    <a:pt x="216" y="323"/>
                  </a:lnTo>
                  <a:lnTo>
                    <a:pt x="222" y="319"/>
                  </a:lnTo>
                  <a:lnTo>
                    <a:pt x="224" y="319"/>
                  </a:lnTo>
                  <a:lnTo>
                    <a:pt x="225" y="317"/>
                  </a:lnTo>
                  <a:lnTo>
                    <a:pt x="227" y="314"/>
                  </a:lnTo>
                  <a:lnTo>
                    <a:pt x="225" y="312"/>
                  </a:lnTo>
                  <a:lnTo>
                    <a:pt x="233" y="314"/>
                  </a:lnTo>
                  <a:lnTo>
                    <a:pt x="240" y="314"/>
                  </a:lnTo>
                  <a:lnTo>
                    <a:pt x="240" y="303"/>
                  </a:lnTo>
                  <a:lnTo>
                    <a:pt x="242" y="292"/>
                  </a:lnTo>
                  <a:lnTo>
                    <a:pt x="246" y="290"/>
                  </a:lnTo>
                  <a:lnTo>
                    <a:pt x="251" y="288"/>
                  </a:lnTo>
                  <a:lnTo>
                    <a:pt x="255" y="284"/>
                  </a:lnTo>
                  <a:lnTo>
                    <a:pt x="255" y="277"/>
                  </a:lnTo>
                  <a:lnTo>
                    <a:pt x="261" y="282"/>
                  </a:lnTo>
                  <a:lnTo>
                    <a:pt x="266" y="284"/>
                  </a:lnTo>
                  <a:lnTo>
                    <a:pt x="272" y="284"/>
                  </a:lnTo>
                  <a:lnTo>
                    <a:pt x="277" y="282"/>
                  </a:lnTo>
                  <a:lnTo>
                    <a:pt x="279" y="280"/>
                  </a:lnTo>
                  <a:lnTo>
                    <a:pt x="283" y="279"/>
                  </a:lnTo>
                  <a:lnTo>
                    <a:pt x="285" y="275"/>
                  </a:lnTo>
                  <a:lnTo>
                    <a:pt x="286" y="269"/>
                  </a:lnTo>
                  <a:lnTo>
                    <a:pt x="286" y="260"/>
                  </a:lnTo>
                  <a:lnTo>
                    <a:pt x="286" y="247"/>
                  </a:lnTo>
                  <a:lnTo>
                    <a:pt x="281" y="231"/>
                  </a:lnTo>
                  <a:lnTo>
                    <a:pt x="275" y="210"/>
                  </a:lnTo>
                  <a:lnTo>
                    <a:pt x="273" y="188"/>
                  </a:lnTo>
                  <a:lnTo>
                    <a:pt x="275" y="168"/>
                  </a:lnTo>
                  <a:lnTo>
                    <a:pt x="283" y="157"/>
                  </a:lnTo>
                  <a:lnTo>
                    <a:pt x="290" y="147"/>
                  </a:lnTo>
                  <a:lnTo>
                    <a:pt x="296" y="140"/>
                  </a:lnTo>
                  <a:lnTo>
                    <a:pt x="303" y="136"/>
                  </a:lnTo>
                  <a:lnTo>
                    <a:pt x="309" y="133"/>
                  </a:lnTo>
                  <a:lnTo>
                    <a:pt x="314" y="131"/>
                  </a:lnTo>
                  <a:lnTo>
                    <a:pt x="318" y="133"/>
                  </a:lnTo>
                  <a:lnTo>
                    <a:pt x="321" y="134"/>
                  </a:lnTo>
                  <a:lnTo>
                    <a:pt x="314" y="155"/>
                  </a:lnTo>
                  <a:lnTo>
                    <a:pt x="309" y="175"/>
                  </a:lnTo>
                  <a:lnTo>
                    <a:pt x="323" y="177"/>
                  </a:lnTo>
                  <a:lnTo>
                    <a:pt x="338" y="177"/>
                  </a:lnTo>
                  <a:lnTo>
                    <a:pt x="357" y="190"/>
                  </a:lnTo>
                  <a:lnTo>
                    <a:pt x="375" y="201"/>
                  </a:lnTo>
                  <a:lnTo>
                    <a:pt x="390" y="197"/>
                  </a:lnTo>
                  <a:lnTo>
                    <a:pt x="405" y="192"/>
                  </a:lnTo>
                  <a:lnTo>
                    <a:pt x="419" y="201"/>
                  </a:lnTo>
                  <a:lnTo>
                    <a:pt x="438" y="210"/>
                  </a:lnTo>
                  <a:lnTo>
                    <a:pt x="453" y="208"/>
                  </a:lnTo>
                  <a:lnTo>
                    <a:pt x="467" y="203"/>
                  </a:lnTo>
                  <a:lnTo>
                    <a:pt x="482" y="197"/>
                  </a:lnTo>
                  <a:lnTo>
                    <a:pt x="497" y="188"/>
                  </a:lnTo>
                  <a:lnTo>
                    <a:pt x="482" y="184"/>
                  </a:lnTo>
                  <a:lnTo>
                    <a:pt x="473" y="179"/>
                  </a:lnTo>
                  <a:lnTo>
                    <a:pt x="467" y="175"/>
                  </a:lnTo>
                  <a:lnTo>
                    <a:pt x="462" y="170"/>
                  </a:lnTo>
                  <a:lnTo>
                    <a:pt x="460" y="164"/>
                  </a:lnTo>
                  <a:lnTo>
                    <a:pt x="456" y="158"/>
                  </a:lnTo>
                  <a:lnTo>
                    <a:pt x="453" y="155"/>
                  </a:lnTo>
                  <a:lnTo>
                    <a:pt x="445" y="149"/>
                  </a:lnTo>
                  <a:lnTo>
                    <a:pt x="440" y="149"/>
                  </a:lnTo>
                  <a:lnTo>
                    <a:pt x="430" y="147"/>
                  </a:lnTo>
                  <a:lnTo>
                    <a:pt x="421" y="146"/>
                  </a:lnTo>
                  <a:lnTo>
                    <a:pt x="414" y="140"/>
                  </a:lnTo>
                  <a:lnTo>
                    <a:pt x="416" y="127"/>
                  </a:lnTo>
                  <a:lnTo>
                    <a:pt x="419" y="120"/>
                  </a:lnTo>
                  <a:lnTo>
                    <a:pt x="412" y="109"/>
                  </a:lnTo>
                  <a:lnTo>
                    <a:pt x="403" y="96"/>
                  </a:lnTo>
                  <a:lnTo>
                    <a:pt x="403" y="72"/>
                  </a:lnTo>
                  <a:lnTo>
                    <a:pt x="399" y="55"/>
                  </a:lnTo>
                  <a:lnTo>
                    <a:pt x="394" y="44"/>
                  </a:lnTo>
                  <a:lnTo>
                    <a:pt x="386" y="35"/>
                  </a:lnTo>
                  <a:lnTo>
                    <a:pt x="377" y="29"/>
                  </a:lnTo>
                  <a:lnTo>
                    <a:pt x="368" y="25"/>
                  </a:lnTo>
                  <a:lnTo>
                    <a:pt x="358" y="25"/>
                  </a:lnTo>
                  <a:lnTo>
                    <a:pt x="349" y="25"/>
                  </a:lnTo>
                  <a:lnTo>
                    <a:pt x="334" y="29"/>
                  </a:lnTo>
                  <a:lnTo>
                    <a:pt x="321" y="29"/>
                  </a:lnTo>
                  <a:lnTo>
                    <a:pt x="314" y="14"/>
                  </a:lnTo>
                  <a:lnTo>
                    <a:pt x="305" y="0"/>
                  </a:lnTo>
                  <a:lnTo>
                    <a:pt x="288" y="11"/>
                  </a:lnTo>
                  <a:lnTo>
                    <a:pt x="261" y="27"/>
                  </a:lnTo>
                  <a:lnTo>
                    <a:pt x="248" y="29"/>
                  </a:lnTo>
                  <a:lnTo>
                    <a:pt x="233" y="27"/>
                  </a:lnTo>
                  <a:lnTo>
                    <a:pt x="218" y="27"/>
                  </a:lnTo>
                  <a:lnTo>
                    <a:pt x="205" y="29"/>
                  </a:lnTo>
                  <a:lnTo>
                    <a:pt x="185" y="33"/>
                  </a:lnTo>
                  <a:lnTo>
                    <a:pt x="166" y="37"/>
                  </a:lnTo>
                  <a:lnTo>
                    <a:pt x="157" y="38"/>
                  </a:lnTo>
                  <a:lnTo>
                    <a:pt x="148" y="37"/>
                  </a:lnTo>
                  <a:lnTo>
                    <a:pt x="139" y="35"/>
                  </a:lnTo>
                  <a:lnTo>
                    <a:pt x="129" y="29"/>
                  </a:lnTo>
                  <a:lnTo>
                    <a:pt x="124" y="35"/>
                  </a:lnTo>
                  <a:lnTo>
                    <a:pt x="120" y="42"/>
                  </a:lnTo>
                  <a:lnTo>
                    <a:pt x="118" y="51"/>
                  </a:lnTo>
                  <a:lnTo>
                    <a:pt x="118" y="61"/>
                  </a:lnTo>
                  <a:lnTo>
                    <a:pt x="118" y="64"/>
                  </a:lnTo>
                  <a:lnTo>
                    <a:pt x="118" y="68"/>
                  </a:lnTo>
                  <a:lnTo>
                    <a:pt x="118" y="72"/>
                  </a:lnTo>
                  <a:lnTo>
                    <a:pt x="116" y="72"/>
                  </a:lnTo>
                  <a:lnTo>
                    <a:pt x="100" y="77"/>
                  </a:lnTo>
                  <a:lnTo>
                    <a:pt x="83" y="83"/>
                  </a:lnTo>
                  <a:lnTo>
                    <a:pt x="74" y="81"/>
                  </a:lnTo>
                  <a:lnTo>
                    <a:pt x="63" y="75"/>
                  </a:lnTo>
                  <a:lnTo>
                    <a:pt x="57" y="75"/>
                  </a:lnTo>
                  <a:lnTo>
                    <a:pt x="50" y="75"/>
                  </a:lnTo>
                  <a:lnTo>
                    <a:pt x="43" y="79"/>
                  </a:lnTo>
                  <a:lnTo>
                    <a:pt x="35" y="86"/>
                  </a:lnTo>
                  <a:lnTo>
                    <a:pt x="31" y="107"/>
                  </a:lnTo>
                  <a:lnTo>
                    <a:pt x="26" y="125"/>
                  </a:lnTo>
                  <a:lnTo>
                    <a:pt x="17" y="136"/>
                  </a:lnTo>
                  <a:lnTo>
                    <a:pt x="7" y="146"/>
                  </a:lnTo>
                  <a:lnTo>
                    <a:pt x="4" y="151"/>
                  </a:lnTo>
                  <a:lnTo>
                    <a:pt x="2" y="157"/>
                  </a:lnTo>
                  <a:lnTo>
                    <a:pt x="0" y="162"/>
                  </a:lnTo>
                  <a:lnTo>
                    <a:pt x="0" y="166"/>
                  </a:lnTo>
                  <a:lnTo>
                    <a:pt x="2" y="173"/>
                  </a:lnTo>
                  <a:lnTo>
                    <a:pt x="7" y="181"/>
                  </a:lnTo>
                  <a:lnTo>
                    <a:pt x="15" y="190"/>
                  </a:lnTo>
                  <a:lnTo>
                    <a:pt x="26" y="201"/>
                  </a:lnTo>
                  <a:lnTo>
                    <a:pt x="35" y="212"/>
                  </a:lnTo>
                  <a:lnTo>
                    <a:pt x="44" y="225"/>
                  </a:lnTo>
                  <a:lnTo>
                    <a:pt x="52" y="231"/>
                  </a:lnTo>
                  <a:lnTo>
                    <a:pt x="61" y="236"/>
                  </a:lnTo>
                  <a:lnTo>
                    <a:pt x="68" y="253"/>
                  </a:lnTo>
                  <a:lnTo>
                    <a:pt x="76" y="271"/>
                  </a:lnTo>
                  <a:lnTo>
                    <a:pt x="91" y="280"/>
                  </a:lnTo>
                  <a:lnTo>
                    <a:pt x="104" y="288"/>
                  </a:lnTo>
                  <a:lnTo>
                    <a:pt x="109" y="303"/>
                  </a:lnTo>
                  <a:lnTo>
                    <a:pt x="115" y="310"/>
                  </a:lnTo>
                  <a:lnTo>
                    <a:pt x="116" y="312"/>
                  </a:lnTo>
                  <a:lnTo>
                    <a:pt x="116" y="316"/>
                  </a:lnTo>
                  <a:lnTo>
                    <a:pt x="116" y="319"/>
                  </a:lnTo>
                  <a:lnTo>
                    <a:pt x="116" y="323"/>
                  </a:lnTo>
                  <a:lnTo>
                    <a:pt x="116" y="330"/>
                  </a:lnTo>
                  <a:lnTo>
                    <a:pt x="115" y="336"/>
                  </a:lnTo>
                  <a:close/>
                </a:path>
              </a:pathLst>
            </a:custGeom>
            <a:solidFill>
              <a:srgbClr val="CBD8E7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3742341" y="4779804"/>
              <a:ext cx="347305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Курган</a:t>
              </a:r>
            </a:p>
          </p:txBody>
        </p:sp>
        <p:sp>
          <p:nvSpPr>
            <p:cNvPr id="145" name="TextBox 144"/>
            <p:cNvSpPr txBox="1"/>
            <p:nvPr/>
          </p:nvSpPr>
          <p:spPr>
            <a:xfrm>
              <a:off x="3973328" y="4712130"/>
              <a:ext cx="347305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Тюмень</a:t>
              </a:r>
            </a:p>
          </p:txBody>
        </p:sp>
        <p:sp>
          <p:nvSpPr>
            <p:cNvPr id="146" name="Овал 145"/>
            <p:cNvSpPr>
              <a:spLocks noChangeAspect="1"/>
            </p:cNvSpPr>
            <p:nvPr/>
          </p:nvSpPr>
          <p:spPr>
            <a:xfrm>
              <a:off x="2294610" y="301785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2111938" y="2928740"/>
              <a:ext cx="42024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Тверь</a:t>
              </a:r>
            </a:p>
          </p:txBody>
        </p:sp>
        <p:sp>
          <p:nvSpPr>
            <p:cNvPr id="148" name="Овал 147"/>
            <p:cNvSpPr>
              <a:spLocks noChangeAspect="1"/>
            </p:cNvSpPr>
            <p:nvPr/>
          </p:nvSpPr>
          <p:spPr>
            <a:xfrm>
              <a:off x="2449697" y="2372882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49" name="Овал 148"/>
            <p:cNvSpPr>
              <a:spLocks noChangeAspect="1"/>
            </p:cNvSpPr>
            <p:nvPr/>
          </p:nvSpPr>
          <p:spPr>
            <a:xfrm>
              <a:off x="2084193" y="2419581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50" name="TextBox 149"/>
            <p:cNvSpPr txBox="1"/>
            <p:nvPr/>
          </p:nvSpPr>
          <p:spPr>
            <a:xfrm>
              <a:off x="1886245" y="2438493"/>
              <a:ext cx="42024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Псков</a:t>
              </a:r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2165685" y="2276355"/>
              <a:ext cx="671293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Санкт-Петербург</a:t>
              </a:r>
            </a:p>
          </p:txBody>
        </p:sp>
        <p:sp>
          <p:nvSpPr>
            <p:cNvPr id="152" name="Овал 151"/>
            <p:cNvSpPr>
              <a:spLocks noChangeAspect="1"/>
            </p:cNvSpPr>
            <p:nvPr/>
          </p:nvSpPr>
          <p:spPr>
            <a:xfrm>
              <a:off x="2821556" y="2486592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53" name="TextBox 152"/>
            <p:cNvSpPr txBox="1"/>
            <p:nvPr/>
          </p:nvSpPr>
          <p:spPr>
            <a:xfrm>
              <a:off x="2532166" y="2402678"/>
              <a:ext cx="671293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Петрозаводск</a:t>
              </a:r>
            </a:p>
          </p:txBody>
        </p:sp>
        <p:sp>
          <p:nvSpPr>
            <p:cNvPr id="154" name="Овал 153"/>
            <p:cNvSpPr>
              <a:spLocks noChangeAspect="1"/>
            </p:cNvSpPr>
            <p:nvPr/>
          </p:nvSpPr>
          <p:spPr>
            <a:xfrm>
              <a:off x="1506855" y="2122237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55" name="TextBox 154"/>
            <p:cNvSpPr txBox="1"/>
            <p:nvPr/>
          </p:nvSpPr>
          <p:spPr>
            <a:xfrm>
              <a:off x="1273913" y="2041168"/>
              <a:ext cx="671293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Калининград</a:t>
              </a:r>
            </a:p>
          </p:txBody>
        </p:sp>
        <p:sp>
          <p:nvSpPr>
            <p:cNvPr id="156" name="TextBox 155"/>
            <p:cNvSpPr txBox="1"/>
            <p:nvPr/>
          </p:nvSpPr>
          <p:spPr>
            <a:xfrm>
              <a:off x="3448992" y="1707945"/>
              <a:ext cx="42024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Мурманск</a:t>
              </a: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3149965" y="2504303"/>
              <a:ext cx="506147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Архангельск</a:t>
              </a: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2006164" y="2591934"/>
              <a:ext cx="759084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Великий Новгород</a:t>
              </a:r>
            </a:p>
          </p:txBody>
        </p:sp>
        <p:sp>
          <p:nvSpPr>
            <p:cNvPr id="159" name="Овал 158"/>
            <p:cNvSpPr>
              <a:spLocks noChangeAspect="1"/>
            </p:cNvSpPr>
            <p:nvPr/>
          </p:nvSpPr>
          <p:spPr>
            <a:xfrm>
              <a:off x="2027214" y="3034952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60" name="TextBox 159"/>
            <p:cNvSpPr txBox="1"/>
            <p:nvPr/>
          </p:nvSpPr>
          <p:spPr>
            <a:xfrm>
              <a:off x="1816953" y="2945596"/>
              <a:ext cx="42024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Смоленск</a:t>
              </a: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2565069" y="2941456"/>
              <a:ext cx="42024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Вологда</a:t>
              </a: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2391125" y="3110745"/>
              <a:ext cx="42024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Ярославль</a:t>
              </a:r>
            </a:p>
          </p:txBody>
        </p:sp>
        <p:sp>
          <p:nvSpPr>
            <p:cNvPr id="163" name="Овал 162"/>
            <p:cNvSpPr>
              <a:spLocks noChangeAspect="1"/>
            </p:cNvSpPr>
            <p:nvPr/>
          </p:nvSpPr>
          <p:spPr>
            <a:xfrm>
              <a:off x="2262719" y="3239966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64" name="TextBox 163"/>
            <p:cNvSpPr txBox="1"/>
            <p:nvPr/>
          </p:nvSpPr>
          <p:spPr>
            <a:xfrm>
              <a:off x="2140115" y="3149849"/>
              <a:ext cx="420240" cy="123111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800" dirty="0">
                  <a:latin typeface="Calibri" panose="020F0502020204030204" pitchFamily="34" charset="0"/>
                  <a:cs typeface="Calibri" panose="020F0502020204030204" pitchFamily="34" charset="0"/>
                </a:rPr>
                <a:t>Москва</a:t>
              </a:r>
            </a:p>
          </p:txBody>
        </p:sp>
        <p:sp>
          <p:nvSpPr>
            <p:cNvPr id="165" name="Овал 164"/>
            <p:cNvSpPr>
              <a:spLocks noChangeAspect="1"/>
            </p:cNvSpPr>
            <p:nvPr/>
          </p:nvSpPr>
          <p:spPr>
            <a:xfrm>
              <a:off x="2062661" y="324897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1842790" y="3160136"/>
              <a:ext cx="42024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Калуга</a:t>
              </a:r>
            </a:p>
          </p:txBody>
        </p:sp>
        <p:sp>
          <p:nvSpPr>
            <p:cNvPr id="167" name="Овал 166"/>
            <p:cNvSpPr>
              <a:spLocks noChangeAspect="1"/>
            </p:cNvSpPr>
            <p:nvPr/>
          </p:nvSpPr>
          <p:spPr>
            <a:xfrm>
              <a:off x="1802459" y="322769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68" name="TextBox 167"/>
            <p:cNvSpPr txBox="1"/>
            <p:nvPr/>
          </p:nvSpPr>
          <p:spPr>
            <a:xfrm>
              <a:off x="1595544" y="3147821"/>
              <a:ext cx="42024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Брянск</a:t>
              </a:r>
            </a:p>
          </p:txBody>
        </p:sp>
        <p:sp>
          <p:nvSpPr>
            <p:cNvPr id="169" name="Овал 168"/>
            <p:cNvSpPr>
              <a:spLocks noChangeAspect="1"/>
            </p:cNvSpPr>
            <p:nvPr/>
          </p:nvSpPr>
          <p:spPr>
            <a:xfrm>
              <a:off x="1595397" y="3668465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70" name="TextBox 169"/>
            <p:cNvSpPr txBox="1"/>
            <p:nvPr/>
          </p:nvSpPr>
          <p:spPr>
            <a:xfrm>
              <a:off x="1392952" y="3582337"/>
              <a:ext cx="42024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Белгород</a:t>
              </a:r>
            </a:p>
          </p:txBody>
        </p:sp>
        <p:sp>
          <p:nvSpPr>
            <p:cNvPr id="171" name="Овал 170"/>
            <p:cNvSpPr>
              <a:spLocks noChangeAspect="1"/>
            </p:cNvSpPr>
            <p:nvPr/>
          </p:nvSpPr>
          <p:spPr>
            <a:xfrm>
              <a:off x="1744090" y="3474952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72" name="TextBox 171"/>
            <p:cNvSpPr txBox="1"/>
            <p:nvPr/>
          </p:nvSpPr>
          <p:spPr>
            <a:xfrm>
              <a:off x="1601531" y="3389038"/>
              <a:ext cx="292911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Курск</a:t>
              </a:r>
            </a:p>
          </p:txBody>
        </p:sp>
        <p:sp>
          <p:nvSpPr>
            <p:cNvPr id="173" name="Овал 172"/>
            <p:cNvSpPr>
              <a:spLocks noChangeAspect="1"/>
            </p:cNvSpPr>
            <p:nvPr/>
          </p:nvSpPr>
          <p:spPr>
            <a:xfrm>
              <a:off x="1871515" y="3396446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74" name="TextBox 173"/>
            <p:cNvSpPr txBox="1"/>
            <p:nvPr/>
          </p:nvSpPr>
          <p:spPr>
            <a:xfrm>
              <a:off x="1729223" y="3317300"/>
              <a:ext cx="292911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Орел</a:t>
              </a:r>
            </a:p>
          </p:txBody>
        </p:sp>
        <p:sp>
          <p:nvSpPr>
            <p:cNvPr id="175" name="Овал 174"/>
            <p:cNvSpPr>
              <a:spLocks noChangeAspect="1"/>
            </p:cNvSpPr>
            <p:nvPr/>
          </p:nvSpPr>
          <p:spPr>
            <a:xfrm>
              <a:off x="2059417" y="3406283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76" name="TextBox 175"/>
            <p:cNvSpPr txBox="1"/>
            <p:nvPr/>
          </p:nvSpPr>
          <p:spPr>
            <a:xfrm>
              <a:off x="1922684" y="3329790"/>
              <a:ext cx="292911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Тула</a:t>
              </a:r>
            </a:p>
          </p:txBody>
        </p:sp>
        <p:sp>
          <p:nvSpPr>
            <p:cNvPr id="177" name="Овал 176"/>
            <p:cNvSpPr>
              <a:spLocks noChangeAspect="1"/>
            </p:cNvSpPr>
            <p:nvPr/>
          </p:nvSpPr>
          <p:spPr>
            <a:xfrm>
              <a:off x="2684639" y="3293381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78" name="TextBox 177"/>
            <p:cNvSpPr txBox="1"/>
            <p:nvPr/>
          </p:nvSpPr>
          <p:spPr>
            <a:xfrm>
              <a:off x="2614143" y="3216542"/>
              <a:ext cx="42024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Кострома</a:t>
              </a:r>
            </a:p>
          </p:txBody>
        </p:sp>
        <p:sp>
          <p:nvSpPr>
            <p:cNvPr id="179" name="Овал 178"/>
            <p:cNvSpPr>
              <a:spLocks noChangeAspect="1"/>
            </p:cNvSpPr>
            <p:nvPr/>
          </p:nvSpPr>
          <p:spPr>
            <a:xfrm>
              <a:off x="2576729" y="3337697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80" name="TextBox 179"/>
            <p:cNvSpPr txBox="1"/>
            <p:nvPr/>
          </p:nvSpPr>
          <p:spPr>
            <a:xfrm>
              <a:off x="2578907" y="3342496"/>
              <a:ext cx="362533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Иваново</a:t>
              </a:r>
            </a:p>
          </p:txBody>
        </p:sp>
        <p:sp>
          <p:nvSpPr>
            <p:cNvPr id="181" name="Овал 180"/>
            <p:cNvSpPr>
              <a:spLocks noChangeAspect="1"/>
            </p:cNvSpPr>
            <p:nvPr/>
          </p:nvSpPr>
          <p:spPr>
            <a:xfrm>
              <a:off x="2456579" y="3398171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82" name="TextBox 181"/>
            <p:cNvSpPr txBox="1"/>
            <p:nvPr/>
          </p:nvSpPr>
          <p:spPr>
            <a:xfrm>
              <a:off x="2178785" y="3318634"/>
              <a:ext cx="42024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Владимир</a:t>
              </a:r>
            </a:p>
          </p:txBody>
        </p:sp>
        <p:sp>
          <p:nvSpPr>
            <p:cNvPr id="183" name="Овал 182"/>
            <p:cNvSpPr>
              <a:spLocks noChangeAspect="1"/>
            </p:cNvSpPr>
            <p:nvPr/>
          </p:nvSpPr>
          <p:spPr>
            <a:xfrm>
              <a:off x="2265292" y="3542017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84" name="TextBox 183"/>
            <p:cNvSpPr txBox="1"/>
            <p:nvPr/>
          </p:nvSpPr>
          <p:spPr>
            <a:xfrm>
              <a:off x="2113233" y="3464016"/>
              <a:ext cx="33064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Рязань</a:t>
              </a:r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2379187" y="3521033"/>
              <a:ext cx="55857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Н.Новгород</a:t>
              </a:r>
              <a:endParaRPr lang="ru-RU" sz="6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6" name="TextBox 185"/>
            <p:cNvSpPr txBox="1"/>
            <p:nvPr/>
          </p:nvSpPr>
          <p:spPr>
            <a:xfrm>
              <a:off x="1834670" y="3626460"/>
              <a:ext cx="33064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Липецк</a:t>
              </a:r>
            </a:p>
          </p:txBody>
        </p:sp>
        <p:sp>
          <p:nvSpPr>
            <p:cNvPr id="187" name="Овал 186"/>
            <p:cNvSpPr>
              <a:spLocks noChangeAspect="1"/>
            </p:cNvSpPr>
            <p:nvPr/>
          </p:nvSpPr>
          <p:spPr>
            <a:xfrm>
              <a:off x="1881762" y="3754838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88" name="TextBox 187"/>
            <p:cNvSpPr txBox="1"/>
            <p:nvPr/>
          </p:nvSpPr>
          <p:spPr>
            <a:xfrm>
              <a:off x="1682673" y="3775293"/>
              <a:ext cx="377824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Воронеж</a:t>
              </a:r>
            </a:p>
          </p:txBody>
        </p:sp>
        <p:sp>
          <p:nvSpPr>
            <p:cNvPr id="189" name="Овал 188"/>
            <p:cNvSpPr>
              <a:spLocks noChangeAspect="1"/>
            </p:cNvSpPr>
            <p:nvPr/>
          </p:nvSpPr>
          <p:spPr>
            <a:xfrm>
              <a:off x="1585776" y="3995541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90" name="TextBox 189"/>
            <p:cNvSpPr txBox="1"/>
            <p:nvPr/>
          </p:nvSpPr>
          <p:spPr>
            <a:xfrm>
              <a:off x="1428788" y="3916370"/>
              <a:ext cx="377824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Луганск</a:t>
              </a:r>
            </a:p>
          </p:txBody>
        </p:sp>
        <p:sp>
          <p:nvSpPr>
            <p:cNvPr id="191" name="Овал 190"/>
            <p:cNvSpPr>
              <a:spLocks noChangeAspect="1"/>
            </p:cNvSpPr>
            <p:nvPr/>
          </p:nvSpPr>
          <p:spPr>
            <a:xfrm>
              <a:off x="1129244" y="3888255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954708" y="3805589"/>
              <a:ext cx="54576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Мелитополь</a:t>
              </a:r>
            </a:p>
          </p:txBody>
        </p:sp>
        <p:sp>
          <p:nvSpPr>
            <p:cNvPr id="193" name="Овал 192"/>
            <p:cNvSpPr>
              <a:spLocks noChangeAspect="1"/>
            </p:cNvSpPr>
            <p:nvPr/>
          </p:nvSpPr>
          <p:spPr>
            <a:xfrm>
              <a:off x="1344380" y="3988556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94" name="TextBox 193"/>
            <p:cNvSpPr txBox="1"/>
            <p:nvPr/>
          </p:nvSpPr>
          <p:spPr>
            <a:xfrm>
              <a:off x="1159872" y="3900563"/>
              <a:ext cx="377824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Донецк</a:t>
              </a:r>
            </a:p>
          </p:txBody>
        </p:sp>
        <p:sp>
          <p:nvSpPr>
            <p:cNvPr id="195" name="Овал 194"/>
            <p:cNvSpPr>
              <a:spLocks noChangeAspect="1"/>
            </p:cNvSpPr>
            <p:nvPr/>
          </p:nvSpPr>
          <p:spPr>
            <a:xfrm>
              <a:off x="888121" y="3942943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96" name="TextBox 195"/>
            <p:cNvSpPr txBox="1"/>
            <p:nvPr/>
          </p:nvSpPr>
          <p:spPr>
            <a:xfrm>
              <a:off x="654428" y="3967180"/>
              <a:ext cx="54576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Симферополь</a:t>
              </a:r>
            </a:p>
          </p:txBody>
        </p:sp>
        <p:sp>
          <p:nvSpPr>
            <p:cNvPr id="197" name="Овал 196"/>
            <p:cNvSpPr>
              <a:spLocks noChangeAspect="1"/>
            </p:cNvSpPr>
            <p:nvPr/>
          </p:nvSpPr>
          <p:spPr>
            <a:xfrm>
              <a:off x="1389922" y="420131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198" name="TextBox 197"/>
            <p:cNvSpPr txBox="1"/>
            <p:nvPr/>
          </p:nvSpPr>
          <p:spPr>
            <a:xfrm>
              <a:off x="1127477" y="4120828"/>
              <a:ext cx="640815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Ростов-на-Дону</a:t>
              </a:r>
            </a:p>
          </p:txBody>
        </p:sp>
        <p:sp>
          <p:nvSpPr>
            <p:cNvPr id="199" name="Овал 198"/>
            <p:cNvSpPr>
              <a:spLocks noChangeAspect="1"/>
            </p:cNvSpPr>
            <p:nvPr/>
          </p:nvSpPr>
          <p:spPr>
            <a:xfrm>
              <a:off x="1131681" y="4369381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00" name="TextBox 199"/>
            <p:cNvSpPr txBox="1"/>
            <p:nvPr/>
          </p:nvSpPr>
          <p:spPr>
            <a:xfrm>
              <a:off x="905139" y="4285848"/>
              <a:ext cx="487814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Краснодар</a:t>
              </a:r>
            </a:p>
          </p:txBody>
        </p:sp>
        <p:sp>
          <p:nvSpPr>
            <p:cNvPr id="201" name="TextBox 200"/>
            <p:cNvSpPr txBox="1"/>
            <p:nvPr/>
          </p:nvSpPr>
          <p:spPr>
            <a:xfrm>
              <a:off x="895544" y="4431232"/>
              <a:ext cx="487814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Майкоп</a:t>
              </a:r>
            </a:p>
          </p:txBody>
        </p:sp>
        <p:sp>
          <p:nvSpPr>
            <p:cNvPr id="202" name="Овал 201"/>
            <p:cNvSpPr>
              <a:spLocks noChangeAspect="1"/>
            </p:cNvSpPr>
            <p:nvPr/>
          </p:nvSpPr>
          <p:spPr>
            <a:xfrm>
              <a:off x="1879167" y="4473292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03" name="TextBox 202"/>
            <p:cNvSpPr txBox="1"/>
            <p:nvPr/>
          </p:nvSpPr>
          <p:spPr>
            <a:xfrm>
              <a:off x="1656493" y="4386318"/>
              <a:ext cx="487814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Волгоград</a:t>
              </a:r>
            </a:p>
          </p:txBody>
        </p:sp>
        <p:sp>
          <p:nvSpPr>
            <p:cNvPr id="204" name="Овал 203"/>
            <p:cNvSpPr>
              <a:spLocks noChangeAspect="1"/>
            </p:cNvSpPr>
            <p:nvPr/>
          </p:nvSpPr>
          <p:spPr>
            <a:xfrm>
              <a:off x="1341395" y="4652028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1151473" y="4560835"/>
              <a:ext cx="487814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Ставрополь</a:t>
              </a:r>
            </a:p>
          </p:txBody>
        </p:sp>
        <p:sp>
          <p:nvSpPr>
            <p:cNvPr id="206" name="Овал 205"/>
            <p:cNvSpPr>
              <a:spLocks noChangeAspect="1"/>
            </p:cNvSpPr>
            <p:nvPr/>
          </p:nvSpPr>
          <p:spPr>
            <a:xfrm>
              <a:off x="1621924" y="4690012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07" name="TextBox 206"/>
            <p:cNvSpPr txBox="1"/>
            <p:nvPr/>
          </p:nvSpPr>
          <p:spPr>
            <a:xfrm>
              <a:off x="1475817" y="4710617"/>
              <a:ext cx="350891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Элиста</a:t>
              </a:r>
            </a:p>
          </p:txBody>
        </p:sp>
        <p:sp>
          <p:nvSpPr>
            <p:cNvPr id="208" name="Овал 207"/>
            <p:cNvSpPr>
              <a:spLocks noChangeAspect="1"/>
            </p:cNvSpPr>
            <p:nvPr/>
          </p:nvSpPr>
          <p:spPr>
            <a:xfrm>
              <a:off x="1225778" y="474653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986539" y="4665354"/>
              <a:ext cx="412147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Черкесск</a:t>
              </a:r>
            </a:p>
          </p:txBody>
        </p:sp>
        <p:sp>
          <p:nvSpPr>
            <p:cNvPr id="210" name="Овал 209"/>
            <p:cNvSpPr>
              <a:spLocks noChangeAspect="1"/>
            </p:cNvSpPr>
            <p:nvPr/>
          </p:nvSpPr>
          <p:spPr>
            <a:xfrm>
              <a:off x="1244052" y="4937859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11" name="TextBox 210"/>
            <p:cNvSpPr txBox="1"/>
            <p:nvPr/>
          </p:nvSpPr>
          <p:spPr>
            <a:xfrm>
              <a:off x="1103716" y="4854374"/>
              <a:ext cx="350891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Нальчик</a:t>
              </a:r>
            </a:p>
          </p:txBody>
        </p:sp>
        <p:sp>
          <p:nvSpPr>
            <p:cNvPr id="212" name="TextBox 211"/>
            <p:cNvSpPr txBox="1"/>
            <p:nvPr/>
          </p:nvSpPr>
          <p:spPr>
            <a:xfrm>
              <a:off x="1311979" y="5045398"/>
              <a:ext cx="350891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Магас</a:t>
              </a:r>
              <a:endParaRPr lang="ru-RU" sz="6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3" name="TextBox 212"/>
            <p:cNvSpPr txBox="1"/>
            <p:nvPr/>
          </p:nvSpPr>
          <p:spPr>
            <a:xfrm>
              <a:off x="1393950" y="5147844"/>
              <a:ext cx="350891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Грозный</a:t>
              </a:r>
            </a:p>
          </p:txBody>
        </p:sp>
        <p:sp>
          <p:nvSpPr>
            <p:cNvPr id="214" name="Овал 213"/>
            <p:cNvSpPr>
              <a:spLocks noChangeAspect="1"/>
            </p:cNvSpPr>
            <p:nvPr/>
          </p:nvSpPr>
          <p:spPr>
            <a:xfrm>
              <a:off x="1259898" y="5064458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15" name="TextBox 214"/>
            <p:cNvSpPr txBox="1"/>
            <p:nvPr/>
          </p:nvSpPr>
          <p:spPr>
            <a:xfrm>
              <a:off x="1042118" y="4970502"/>
              <a:ext cx="516315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Владикавказ</a:t>
              </a:r>
            </a:p>
          </p:txBody>
        </p:sp>
        <p:sp>
          <p:nvSpPr>
            <p:cNvPr id="216" name="Овал 215"/>
            <p:cNvSpPr>
              <a:spLocks noChangeAspect="1"/>
            </p:cNvSpPr>
            <p:nvPr/>
          </p:nvSpPr>
          <p:spPr>
            <a:xfrm>
              <a:off x="1450093" y="5363381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17" name="TextBox 216"/>
            <p:cNvSpPr txBox="1"/>
            <p:nvPr/>
          </p:nvSpPr>
          <p:spPr>
            <a:xfrm>
              <a:off x="1194968" y="5276934"/>
              <a:ext cx="516315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Махачкала</a:t>
              </a:r>
            </a:p>
          </p:txBody>
        </p:sp>
        <p:sp>
          <p:nvSpPr>
            <p:cNvPr id="218" name="Овал 217"/>
            <p:cNvSpPr>
              <a:spLocks noChangeAspect="1"/>
            </p:cNvSpPr>
            <p:nvPr/>
          </p:nvSpPr>
          <p:spPr>
            <a:xfrm>
              <a:off x="1859177" y="5013018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19" name="TextBox 218"/>
            <p:cNvSpPr txBox="1"/>
            <p:nvPr/>
          </p:nvSpPr>
          <p:spPr>
            <a:xfrm>
              <a:off x="1616478" y="4931163"/>
              <a:ext cx="516315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Астрахань</a:t>
              </a:r>
            </a:p>
          </p:txBody>
        </p:sp>
        <p:sp>
          <p:nvSpPr>
            <p:cNvPr id="220" name="TextBox 219"/>
            <p:cNvSpPr txBox="1"/>
            <p:nvPr/>
          </p:nvSpPr>
          <p:spPr>
            <a:xfrm>
              <a:off x="3013507" y="3610967"/>
              <a:ext cx="32633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Киров</a:t>
              </a:r>
            </a:p>
          </p:txBody>
        </p:sp>
        <p:sp>
          <p:nvSpPr>
            <p:cNvPr id="221" name="TextBox 220"/>
            <p:cNvSpPr txBox="1"/>
            <p:nvPr/>
          </p:nvSpPr>
          <p:spPr>
            <a:xfrm>
              <a:off x="2661011" y="3734756"/>
              <a:ext cx="55857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Йошкар-Ола</a:t>
              </a:r>
            </a:p>
          </p:txBody>
        </p:sp>
        <p:sp>
          <p:nvSpPr>
            <p:cNvPr id="222" name="TextBox 221"/>
            <p:cNvSpPr txBox="1"/>
            <p:nvPr/>
          </p:nvSpPr>
          <p:spPr>
            <a:xfrm>
              <a:off x="3290428" y="3309834"/>
              <a:ext cx="55857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Сыктывкар</a:t>
              </a:r>
            </a:p>
          </p:txBody>
        </p:sp>
        <p:sp>
          <p:nvSpPr>
            <p:cNvPr id="223" name="TextBox 222"/>
            <p:cNvSpPr txBox="1"/>
            <p:nvPr/>
          </p:nvSpPr>
          <p:spPr>
            <a:xfrm>
              <a:off x="2270423" y="3816460"/>
              <a:ext cx="43279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Саранск</a:t>
              </a:r>
            </a:p>
          </p:txBody>
        </p:sp>
        <p:sp>
          <p:nvSpPr>
            <p:cNvPr id="224" name="TextBox 223"/>
            <p:cNvSpPr txBox="1"/>
            <p:nvPr/>
          </p:nvSpPr>
          <p:spPr>
            <a:xfrm>
              <a:off x="2209951" y="3943688"/>
              <a:ext cx="34403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Пенза</a:t>
              </a:r>
            </a:p>
          </p:txBody>
        </p:sp>
        <p:sp>
          <p:nvSpPr>
            <p:cNvPr id="225" name="TextBox 224"/>
            <p:cNvSpPr txBox="1"/>
            <p:nvPr/>
          </p:nvSpPr>
          <p:spPr>
            <a:xfrm>
              <a:off x="2016996" y="3718699"/>
              <a:ext cx="34403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Тамбов</a:t>
              </a:r>
            </a:p>
          </p:txBody>
        </p:sp>
        <p:sp>
          <p:nvSpPr>
            <p:cNvPr id="226" name="TextBox 225"/>
            <p:cNvSpPr txBox="1"/>
            <p:nvPr/>
          </p:nvSpPr>
          <p:spPr>
            <a:xfrm>
              <a:off x="2519757" y="3867577"/>
              <a:ext cx="55857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Чебоксары</a:t>
              </a:r>
            </a:p>
          </p:txBody>
        </p:sp>
        <p:sp>
          <p:nvSpPr>
            <p:cNvPr id="227" name="Овал 226"/>
            <p:cNvSpPr>
              <a:spLocks noChangeAspect="1"/>
            </p:cNvSpPr>
            <p:nvPr/>
          </p:nvSpPr>
          <p:spPr>
            <a:xfrm>
              <a:off x="2906245" y="4010712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28" name="TextBox 227"/>
            <p:cNvSpPr txBox="1"/>
            <p:nvPr/>
          </p:nvSpPr>
          <p:spPr>
            <a:xfrm>
              <a:off x="2758562" y="4024804"/>
              <a:ext cx="344030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Казань</a:t>
              </a:r>
            </a:p>
          </p:txBody>
        </p:sp>
        <p:sp>
          <p:nvSpPr>
            <p:cNvPr id="229" name="Овал 228"/>
            <p:cNvSpPr>
              <a:spLocks noChangeAspect="1"/>
            </p:cNvSpPr>
            <p:nvPr/>
          </p:nvSpPr>
          <p:spPr>
            <a:xfrm>
              <a:off x="3722072" y="4473292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30" name="TextBox 229"/>
            <p:cNvSpPr txBox="1"/>
            <p:nvPr/>
          </p:nvSpPr>
          <p:spPr>
            <a:xfrm>
              <a:off x="3450479" y="4386931"/>
              <a:ext cx="55857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Екатеринбург</a:t>
              </a:r>
            </a:p>
          </p:txBody>
        </p:sp>
        <p:sp>
          <p:nvSpPr>
            <p:cNvPr id="231" name="Овал 230"/>
            <p:cNvSpPr>
              <a:spLocks noChangeAspect="1"/>
            </p:cNvSpPr>
            <p:nvPr/>
          </p:nvSpPr>
          <p:spPr>
            <a:xfrm>
              <a:off x="3510025" y="4128370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3339977" y="4040038"/>
              <a:ext cx="347305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Пермь</a:t>
              </a:r>
            </a:p>
          </p:txBody>
        </p:sp>
        <p:sp>
          <p:nvSpPr>
            <p:cNvPr id="233" name="TextBox 232"/>
            <p:cNvSpPr txBox="1"/>
            <p:nvPr/>
          </p:nvSpPr>
          <p:spPr>
            <a:xfrm>
              <a:off x="3091603" y="3970167"/>
              <a:ext cx="32633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Ижевск</a:t>
              </a:r>
            </a:p>
          </p:txBody>
        </p:sp>
        <p:sp>
          <p:nvSpPr>
            <p:cNvPr id="234" name="TextBox 233"/>
            <p:cNvSpPr txBox="1"/>
            <p:nvPr/>
          </p:nvSpPr>
          <p:spPr>
            <a:xfrm>
              <a:off x="2446343" y="4109262"/>
              <a:ext cx="488965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Ульяновск</a:t>
              </a:r>
            </a:p>
          </p:txBody>
        </p:sp>
        <p:sp>
          <p:nvSpPr>
            <p:cNvPr id="235" name="Овал 234"/>
            <p:cNvSpPr>
              <a:spLocks noChangeAspect="1"/>
            </p:cNvSpPr>
            <p:nvPr/>
          </p:nvSpPr>
          <p:spPr>
            <a:xfrm>
              <a:off x="3224367" y="4505701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36" name="TextBox 235"/>
            <p:cNvSpPr txBox="1"/>
            <p:nvPr/>
          </p:nvSpPr>
          <p:spPr>
            <a:xfrm>
              <a:off x="3053875" y="4420014"/>
              <a:ext cx="32633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Уфа</a:t>
              </a:r>
            </a:p>
          </p:txBody>
        </p:sp>
        <p:sp>
          <p:nvSpPr>
            <p:cNvPr id="237" name="Овал 236"/>
            <p:cNvSpPr>
              <a:spLocks noChangeAspect="1"/>
            </p:cNvSpPr>
            <p:nvPr/>
          </p:nvSpPr>
          <p:spPr>
            <a:xfrm>
              <a:off x="2931351" y="4834751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38" name="TextBox 237"/>
            <p:cNvSpPr txBox="1"/>
            <p:nvPr/>
          </p:nvSpPr>
          <p:spPr>
            <a:xfrm>
              <a:off x="2730050" y="4742552"/>
              <a:ext cx="453839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Оренбург</a:t>
              </a:r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2565169" y="4259804"/>
              <a:ext cx="32633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Самара</a:t>
              </a:r>
            </a:p>
          </p:txBody>
        </p:sp>
        <p:sp>
          <p:nvSpPr>
            <p:cNvPr id="240" name="Овал 239"/>
            <p:cNvSpPr>
              <a:spLocks noChangeAspect="1"/>
            </p:cNvSpPr>
            <p:nvPr/>
          </p:nvSpPr>
          <p:spPr>
            <a:xfrm>
              <a:off x="2292969" y="4239526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41" name="TextBox 240"/>
            <p:cNvSpPr txBox="1"/>
            <p:nvPr/>
          </p:nvSpPr>
          <p:spPr>
            <a:xfrm>
              <a:off x="2103709" y="4156500"/>
              <a:ext cx="377824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Саратов</a:t>
              </a:r>
            </a:p>
          </p:txBody>
        </p:sp>
        <p:sp>
          <p:nvSpPr>
            <p:cNvPr id="242" name="Овал 241"/>
            <p:cNvSpPr>
              <a:spLocks noChangeAspect="1"/>
            </p:cNvSpPr>
            <p:nvPr/>
          </p:nvSpPr>
          <p:spPr>
            <a:xfrm>
              <a:off x="3648030" y="4739088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43" name="TextBox 242"/>
            <p:cNvSpPr txBox="1"/>
            <p:nvPr/>
          </p:nvSpPr>
          <p:spPr>
            <a:xfrm>
              <a:off x="3407225" y="4634781"/>
              <a:ext cx="55857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Челябинск</a:t>
              </a:r>
            </a:p>
          </p:txBody>
        </p:sp>
        <p:sp>
          <p:nvSpPr>
            <p:cNvPr id="244" name="Овал 243"/>
            <p:cNvSpPr>
              <a:spLocks noChangeAspect="1"/>
            </p:cNvSpPr>
            <p:nvPr/>
          </p:nvSpPr>
          <p:spPr>
            <a:xfrm>
              <a:off x="3898977" y="4878492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45" name="Овал 244"/>
            <p:cNvSpPr>
              <a:spLocks noChangeAspect="1"/>
            </p:cNvSpPr>
            <p:nvPr/>
          </p:nvSpPr>
          <p:spPr>
            <a:xfrm>
              <a:off x="4145513" y="4793641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46" name="TextBox 245"/>
            <p:cNvSpPr txBox="1"/>
            <p:nvPr/>
          </p:nvSpPr>
          <p:spPr>
            <a:xfrm>
              <a:off x="4318364" y="5174038"/>
              <a:ext cx="347305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Омск</a:t>
              </a:r>
            </a:p>
          </p:txBody>
        </p:sp>
        <p:sp>
          <p:nvSpPr>
            <p:cNvPr id="247" name="TextBox 246"/>
            <p:cNvSpPr txBox="1"/>
            <p:nvPr/>
          </p:nvSpPr>
          <p:spPr>
            <a:xfrm>
              <a:off x="5280252" y="5235226"/>
              <a:ext cx="347305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Томск</a:t>
              </a: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4850472" y="5449442"/>
              <a:ext cx="604332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Новосибирск</a:t>
              </a:r>
            </a:p>
          </p:txBody>
        </p:sp>
        <p:sp>
          <p:nvSpPr>
            <p:cNvPr id="249" name="TextBox 248"/>
            <p:cNvSpPr txBox="1"/>
            <p:nvPr/>
          </p:nvSpPr>
          <p:spPr>
            <a:xfrm>
              <a:off x="5031698" y="5690790"/>
              <a:ext cx="347305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Барнаул</a:t>
              </a:r>
            </a:p>
          </p:txBody>
        </p:sp>
        <p:sp>
          <p:nvSpPr>
            <p:cNvPr id="250" name="Овал 249"/>
            <p:cNvSpPr>
              <a:spLocks noChangeAspect="1"/>
            </p:cNvSpPr>
            <p:nvPr/>
          </p:nvSpPr>
          <p:spPr>
            <a:xfrm>
              <a:off x="5871268" y="5864353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51" name="TextBox 250"/>
            <p:cNvSpPr txBox="1"/>
            <p:nvPr/>
          </p:nvSpPr>
          <p:spPr>
            <a:xfrm>
              <a:off x="5697910" y="5766762"/>
              <a:ext cx="347305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Абакан</a:t>
              </a:r>
            </a:p>
          </p:txBody>
        </p:sp>
        <p:sp>
          <p:nvSpPr>
            <p:cNvPr id="252" name="Овал 251"/>
            <p:cNvSpPr>
              <a:spLocks noChangeAspect="1"/>
            </p:cNvSpPr>
            <p:nvPr/>
          </p:nvSpPr>
          <p:spPr>
            <a:xfrm>
              <a:off x="6035844" y="5618662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53" name="TextBox 252"/>
            <p:cNvSpPr txBox="1"/>
            <p:nvPr/>
          </p:nvSpPr>
          <p:spPr>
            <a:xfrm>
              <a:off x="5820412" y="5526716"/>
              <a:ext cx="46757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Красноярск</a:t>
              </a:r>
            </a:p>
          </p:txBody>
        </p:sp>
        <p:sp>
          <p:nvSpPr>
            <p:cNvPr id="254" name="TextBox 253"/>
            <p:cNvSpPr txBox="1"/>
            <p:nvPr/>
          </p:nvSpPr>
          <p:spPr>
            <a:xfrm>
              <a:off x="5353390" y="5434511"/>
              <a:ext cx="453797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Кемерово</a:t>
              </a:r>
            </a:p>
          </p:txBody>
        </p:sp>
        <p:sp>
          <p:nvSpPr>
            <p:cNvPr id="255" name="TextBox 254"/>
            <p:cNvSpPr txBox="1"/>
            <p:nvPr/>
          </p:nvSpPr>
          <p:spPr>
            <a:xfrm>
              <a:off x="5065213" y="5964945"/>
              <a:ext cx="604332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Горно-Алтайск</a:t>
              </a:r>
            </a:p>
          </p:txBody>
        </p:sp>
        <p:sp>
          <p:nvSpPr>
            <p:cNvPr id="256" name="TextBox 255"/>
            <p:cNvSpPr txBox="1"/>
            <p:nvPr/>
          </p:nvSpPr>
          <p:spPr>
            <a:xfrm>
              <a:off x="5949330" y="6132622"/>
              <a:ext cx="347305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Кызыл</a:t>
              </a:r>
            </a:p>
          </p:txBody>
        </p:sp>
        <p:sp>
          <p:nvSpPr>
            <p:cNvPr id="257" name="Овал 256"/>
            <p:cNvSpPr>
              <a:spLocks noChangeAspect="1"/>
            </p:cNvSpPr>
            <p:nvPr/>
          </p:nvSpPr>
          <p:spPr>
            <a:xfrm>
              <a:off x="7328389" y="616443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7141059" y="6078636"/>
              <a:ext cx="389518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Улан-Удэ</a:t>
              </a:r>
            </a:p>
          </p:txBody>
        </p:sp>
        <p:sp>
          <p:nvSpPr>
            <p:cNvPr id="259" name="Овал 258"/>
            <p:cNvSpPr>
              <a:spLocks noChangeAspect="1"/>
            </p:cNvSpPr>
            <p:nvPr/>
          </p:nvSpPr>
          <p:spPr>
            <a:xfrm>
              <a:off x="7804197" y="6090017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60" name="TextBox 259"/>
            <p:cNvSpPr txBox="1"/>
            <p:nvPr/>
          </p:nvSpPr>
          <p:spPr>
            <a:xfrm>
              <a:off x="7610245" y="5992511"/>
              <a:ext cx="389518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Чита</a:t>
              </a:r>
            </a:p>
          </p:txBody>
        </p:sp>
        <p:sp>
          <p:nvSpPr>
            <p:cNvPr id="261" name="TextBox 260"/>
            <p:cNvSpPr txBox="1"/>
            <p:nvPr/>
          </p:nvSpPr>
          <p:spPr>
            <a:xfrm>
              <a:off x="6794668" y="6035130"/>
              <a:ext cx="347305" cy="9476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Иркутск</a:t>
              </a:r>
            </a:p>
          </p:txBody>
        </p:sp>
        <p:sp>
          <p:nvSpPr>
            <p:cNvPr id="262" name="TextBox 261"/>
            <p:cNvSpPr txBox="1"/>
            <p:nvPr/>
          </p:nvSpPr>
          <p:spPr>
            <a:xfrm>
              <a:off x="8191986" y="4070970"/>
              <a:ext cx="697473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Якутск</a:t>
              </a:r>
            </a:p>
          </p:txBody>
        </p:sp>
        <p:sp>
          <p:nvSpPr>
            <p:cNvPr id="263" name="Овал 262"/>
            <p:cNvSpPr>
              <a:spLocks noChangeAspect="1"/>
            </p:cNvSpPr>
            <p:nvPr/>
          </p:nvSpPr>
          <p:spPr>
            <a:xfrm>
              <a:off x="8542562" y="4176373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64" name="Freeform 17"/>
            <p:cNvSpPr>
              <a:spLocks/>
            </p:cNvSpPr>
            <p:nvPr/>
          </p:nvSpPr>
          <p:spPr bwMode="auto">
            <a:xfrm>
              <a:off x="7388489" y="2233360"/>
              <a:ext cx="1642949" cy="1562024"/>
            </a:xfrm>
            <a:custGeom>
              <a:avLst/>
              <a:gdLst>
                <a:gd name="T0" fmla="*/ 1232063 w 946"/>
                <a:gd name="T1" fmla="*/ 474663 h 830"/>
                <a:gd name="T2" fmla="*/ 1264293 w 946"/>
                <a:gd name="T3" fmla="*/ 492125 h 830"/>
                <a:gd name="T4" fmla="*/ 1191043 w 946"/>
                <a:gd name="T5" fmla="*/ 566738 h 830"/>
                <a:gd name="T6" fmla="*/ 1085564 w 946"/>
                <a:gd name="T7" fmla="*/ 647700 h 830"/>
                <a:gd name="T8" fmla="*/ 1111933 w 946"/>
                <a:gd name="T9" fmla="*/ 577850 h 830"/>
                <a:gd name="T10" fmla="*/ 1215948 w 946"/>
                <a:gd name="T11" fmla="*/ 449263 h 830"/>
                <a:gd name="T12" fmla="*/ 1264293 w 946"/>
                <a:gd name="T13" fmla="*/ 384175 h 830"/>
                <a:gd name="T14" fmla="*/ 1305313 w 946"/>
                <a:gd name="T15" fmla="*/ 328613 h 830"/>
                <a:gd name="T16" fmla="*/ 1305313 w 946"/>
                <a:gd name="T17" fmla="*/ 258763 h 830"/>
                <a:gd name="T18" fmla="*/ 1299453 w 946"/>
                <a:gd name="T19" fmla="*/ 231775 h 830"/>
                <a:gd name="T20" fmla="*/ 1293593 w 946"/>
                <a:gd name="T21" fmla="*/ 161925 h 830"/>
                <a:gd name="T22" fmla="*/ 1264293 w 946"/>
                <a:gd name="T23" fmla="*/ 146050 h 830"/>
                <a:gd name="T24" fmla="*/ 1213018 w 946"/>
                <a:gd name="T25" fmla="*/ 103188 h 830"/>
                <a:gd name="T26" fmla="*/ 1120723 w 946"/>
                <a:gd name="T27" fmla="*/ 146050 h 830"/>
                <a:gd name="T28" fmla="*/ 1094353 w 946"/>
                <a:gd name="T29" fmla="*/ 87312 h 830"/>
                <a:gd name="T30" fmla="*/ 1021104 w 946"/>
                <a:gd name="T31" fmla="*/ 85725 h 830"/>
                <a:gd name="T32" fmla="*/ 1031359 w 946"/>
                <a:gd name="T33" fmla="*/ 23812 h 830"/>
                <a:gd name="T34" fmla="*/ 980084 w 946"/>
                <a:gd name="T35" fmla="*/ 14288 h 830"/>
                <a:gd name="T36" fmla="*/ 934669 w 946"/>
                <a:gd name="T37" fmla="*/ 52388 h 830"/>
                <a:gd name="T38" fmla="*/ 912694 w 946"/>
                <a:gd name="T39" fmla="*/ 149225 h 830"/>
                <a:gd name="T40" fmla="*/ 900974 w 946"/>
                <a:gd name="T41" fmla="*/ 173037 h 830"/>
                <a:gd name="T42" fmla="*/ 861419 w 946"/>
                <a:gd name="T43" fmla="*/ 217488 h 830"/>
                <a:gd name="T44" fmla="*/ 753009 w 946"/>
                <a:gd name="T45" fmla="*/ 238125 h 830"/>
                <a:gd name="T46" fmla="*/ 663644 w 946"/>
                <a:gd name="T47" fmla="*/ 214313 h 830"/>
                <a:gd name="T48" fmla="*/ 625554 w 946"/>
                <a:gd name="T49" fmla="*/ 255588 h 830"/>
                <a:gd name="T50" fmla="*/ 544979 w 946"/>
                <a:gd name="T51" fmla="*/ 276225 h 830"/>
                <a:gd name="T52" fmla="*/ 476124 w 946"/>
                <a:gd name="T53" fmla="*/ 342900 h 830"/>
                <a:gd name="T54" fmla="*/ 449754 w 946"/>
                <a:gd name="T55" fmla="*/ 377825 h 830"/>
                <a:gd name="T56" fmla="*/ 449754 w 946"/>
                <a:gd name="T57" fmla="*/ 487363 h 830"/>
                <a:gd name="T58" fmla="*/ 417524 w 946"/>
                <a:gd name="T59" fmla="*/ 473075 h 830"/>
                <a:gd name="T60" fmla="*/ 241725 w 946"/>
                <a:gd name="T61" fmla="*/ 454025 h 830"/>
                <a:gd name="T62" fmla="*/ 184590 w 946"/>
                <a:gd name="T63" fmla="*/ 554038 h 830"/>
                <a:gd name="T64" fmla="*/ 232935 w 946"/>
                <a:gd name="T65" fmla="*/ 677862 h 830"/>
                <a:gd name="T66" fmla="*/ 230005 w 946"/>
                <a:gd name="T67" fmla="*/ 833438 h 830"/>
                <a:gd name="T68" fmla="*/ 230005 w 946"/>
                <a:gd name="T69" fmla="*/ 992188 h 830"/>
                <a:gd name="T70" fmla="*/ 178730 w 946"/>
                <a:gd name="T71" fmla="*/ 912813 h 830"/>
                <a:gd name="T72" fmla="*/ 208030 w 946"/>
                <a:gd name="T73" fmla="*/ 806450 h 830"/>
                <a:gd name="T74" fmla="*/ 172870 w 946"/>
                <a:gd name="T75" fmla="*/ 788987 h 830"/>
                <a:gd name="T76" fmla="*/ 219750 w 946"/>
                <a:gd name="T77" fmla="*/ 701675 h 830"/>
                <a:gd name="T78" fmla="*/ 84970 w 946"/>
                <a:gd name="T79" fmla="*/ 577850 h 830"/>
                <a:gd name="T80" fmla="*/ 92295 w 946"/>
                <a:gd name="T81" fmla="*/ 665162 h 830"/>
                <a:gd name="T82" fmla="*/ 108410 w 946"/>
                <a:gd name="T83" fmla="*/ 762000 h 830"/>
                <a:gd name="T84" fmla="*/ 41020 w 946"/>
                <a:gd name="T85" fmla="*/ 868363 h 830"/>
                <a:gd name="T86" fmla="*/ 19045 w 946"/>
                <a:gd name="T87" fmla="*/ 954088 h 830"/>
                <a:gd name="T88" fmla="*/ 120130 w 946"/>
                <a:gd name="T89" fmla="*/ 1012825 h 830"/>
                <a:gd name="T90" fmla="*/ 124525 w 946"/>
                <a:gd name="T91" fmla="*/ 1144588 h 830"/>
                <a:gd name="T92" fmla="*/ 187520 w 946"/>
                <a:gd name="T93" fmla="*/ 1293813 h 830"/>
                <a:gd name="T94" fmla="*/ 279815 w 946"/>
                <a:gd name="T95" fmla="*/ 1203325 h 830"/>
                <a:gd name="T96" fmla="*/ 351599 w 946"/>
                <a:gd name="T97" fmla="*/ 1311275 h 830"/>
                <a:gd name="T98" fmla="*/ 587464 w 946"/>
                <a:gd name="T99" fmla="*/ 1204913 h 830"/>
                <a:gd name="T100" fmla="*/ 650459 w 946"/>
                <a:gd name="T101" fmla="*/ 1111250 h 830"/>
                <a:gd name="T102" fmla="*/ 864349 w 946"/>
                <a:gd name="T103" fmla="*/ 1012825 h 830"/>
                <a:gd name="T104" fmla="*/ 1021104 w 946"/>
                <a:gd name="T105" fmla="*/ 1096963 h 830"/>
                <a:gd name="T106" fmla="*/ 1110468 w 946"/>
                <a:gd name="T107" fmla="*/ 1085850 h 830"/>
                <a:gd name="T108" fmla="*/ 1201298 w 946"/>
                <a:gd name="T109" fmla="*/ 1031875 h 830"/>
                <a:gd name="T110" fmla="*/ 1318498 w 946"/>
                <a:gd name="T111" fmla="*/ 909638 h 830"/>
                <a:gd name="T112" fmla="*/ 1350728 w 946"/>
                <a:gd name="T113" fmla="*/ 747712 h 830"/>
                <a:gd name="T114" fmla="*/ 1271618 w 946"/>
                <a:gd name="T115" fmla="*/ 609600 h 830"/>
                <a:gd name="T116" fmla="*/ 1267223 w 946"/>
                <a:gd name="T117" fmla="*/ 504825 h 8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6"/>
                <a:gd name="T178" fmla="*/ 0 h 830"/>
                <a:gd name="T179" fmla="*/ 946 w 946"/>
                <a:gd name="T180" fmla="*/ 830 h 8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6" h="830">
                  <a:moveTo>
                    <a:pt x="874" y="303"/>
                  </a:moveTo>
                  <a:lnTo>
                    <a:pt x="874" y="303"/>
                  </a:lnTo>
                  <a:lnTo>
                    <a:pt x="872" y="301"/>
                  </a:lnTo>
                  <a:lnTo>
                    <a:pt x="872" y="294"/>
                  </a:lnTo>
                  <a:lnTo>
                    <a:pt x="867" y="286"/>
                  </a:lnTo>
                  <a:lnTo>
                    <a:pt x="861" y="294"/>
                  </a:lnTo>
                  <a:lnTo>
                    <a:pt x="854" y="299"/>
                  </a:lnTo>
                  <a:lnTo>
                    <a:pt x="850" y="296"/>
                  </a:lnTo>
                  <a:lnTo>
                    <a:pt x="844" y="294"/>
                  </a:lnTo>
                  <a:lnTo>
                    <a:pt x="841" y="299"/>
                  </a:lnTo>
                  <a:lnTo>
                    <a:pt x="833" y="305"/>
                  </a:lnTo>
                  <a:lnTo>
                    <a:pt x="830" y="312"/>
                  </a:lnTo>
                  <a:lnTo>
                    <a:pt x="828" y="318"/>
                  </a:lnTo>
                  <a:lnTo>
                    <a:pt x="833" y="320"/>
                  </a:lnTo>
                  <a:lnTo>
                    <a:pt x="839" y="318"/>
                  </a:lnTo>
                  <a:lnTo>
                    <a:pt x="846" y="314"/>
                  </a:lnTo>
                  <a:lnTo>
                    <a:pt x="854" y="309"/>
                  </a:lnTo>
                  <a:lnTo>
                    <a:pt x="859" y="309"/>
                  </a:lnTo>
                  <a:lnTo>
                    <a:pt x="863" y="309"/>
                  </a:lnTo>
                  <a:lnTo>
                    <a:pt x="863" y="310"/>
                  </a:lnTo>
                  <a:lnTo>
                    <a:pt x="865" y="312"/>
                  </a:lnTo>
                  <a:lnTo>
                    <a:pt x="861" y="320"/>
                  </a:lnTo>
                  <a:lnTo>
                    <a:pt x="856" y="329"/>
                  </a:lnTo>
                  <a:lnTo>
                    <a:pt x="850" y="334"/>
                  </a:lnTo>
                  <a:lnTo>
                    <a:pt x="844" y="344"/>
                  </a:lnTo>
                  <a:lnTo>
                    <a:pt x="832" y="338"/>
                  </a:lnTo>
                  <a:lnTo>
                    <a:pt x="822" y="333"/>
                  </a:lnTo>
                  <a:lnTo>
                    <a:pt x="820" y="344"/>
                  </a:lnTo>
                  <a:lnTo>
                    <a:pt x="820" y="355"/>
                  </a:lnTo>
                  <a:lnTo>
                    <a:pt x="813" y="357"/>
                  </a:lnTo>
                  <a:lnTo>
                    <a:pt x="806" y="357"/>
                  </a:lnTo>
                  <a:lnTo>
                    <a:pt x="804" y="366"/>
                  </a:lnTo>
                  <a:lnTo>
                    <a:pt x="800" y="375"/>
                  </a:lnTo>
                  <a:lnTo>
                    <a:pt x="780" y="375"/>
                  </a:lnTo>
                  <a:lnTo>
                    <a:pt x="765" y="375"/>
                  </a:lnTo>
                  <a:lnTo>
                    <a:pt x="759" y="384"/>
                  </a:lnTo>
                  <a:lnTo>
                    <a:pt x="754" y="395"/>
                  </a:lnTo>
                  <a:lnTo>
                    <a:pt x="752" y="401"/>
                  </a:lnTo>
                  <a:lnTo>
                    <a:pt x="747" y="405"/>
                  </a:lnTo>
                  <a:lnTo>
                    <a:pt x="741" y="408"/>
                  </a:lnTo>
                  <a:lnTo>
                    <a:pt x="734" y="410"/>
                  </a:lnTo>
                  <a:lnTo>
                    <a:pt x="732" y="408"/>
                  </a:lnTo>
                  <a:lnTo>
                    <a:pt x="730" y="407"/>
                  </a:lnTo>
                  <a:lnTo>
                    <a:pt x="732" y="403"/>
                  </a:lnTo>
                  <a:lnTo>
                    <a:pt x="735" y="399"/>
                  </a:lnTo>
                  <a:lnTo>
                    <a:pt x="743" y="390"/>
                  </a:lnTo>
                  <a:lnTo>
                    <a:pt x="748" y="386"/>
                  </a:lnTo>
                  <a:lnTo>
                    <a:pt x="748" y="381"/>
                  </a:lnTo>
                  <a:lnTo>
                    <a:pt x="747" y="375"/>
                  </a:lnTo>
                  <a:lnTo>
                    <a:pt x="759" y="364"/>
                  </a:lnTo>
                  <a:lnTo>
                    <a:pt x="774" y="355"/>
                  </a:lnTo>
                  <a:lnTo>
                    <a:pt x="774" y="346"/>
                  </a:lnTo>
                  <a:lnTo>
                    <a:pt x="774" y="336"/>
                  </a:lnTo>
                  <a:lnTo>
                    <a:pt x="787" y="333"/>
                  </a:lnTo>
                  <a:lnTo>
                    <a:pt x="802" y="329"/>
                  </a:lnTo>
                  <a:lnTo>
                    <a:pt x="806" y="318"/>
                  </a:lnTo>
                  <a:lnTo>
                    <a:pt x="809" y="307"/>
                  </a:lnTo>
                  <a:lnTo>
                    <a:pt x="820" y="299"/>
                  </a:lnTo>
                  <a:lnTo>
                    <a:pt x="832" y="292"/>
                  </a:lnTo>
                  <a:lnTo>
                    <a:pt x="830" y="283"/>
                  </a:lnTo>
                  <a:lnTo>
                    <a:pt x="826" y="270"/>
                  </a:lnTo>
                  <a:lnTo>
                    <a:pt x="830" y="266"/>
                  </a:lnTo>
                  <a:lnTo>
                    <a:pt x="835" y="266"/>
                  </a:lnTo>
                  <a:lnTo>
                    <a:pt x="841" y="262"/>
                  </a:lnTo>
                  <a:lnTo>
                    <a:pt x="846" y="253"/>
                  </a:lnTo>
                  <a:lnTo>
                    <a:pt x="850" y="251"/>
                  </a:lnTo>
                  <a:lnTo>
                    <a:pt x="856" y="251"/>
                  </a:lnTo>
                  <a:lnTo>
                    <a:pt x="857" y="249"/>
                  </a:lnTo>
                  <a:lnTo>
                    <a:pt x="859" y="248"/>
                  </a:lnTo>
                  <a:lnTo>
                    <a:pt x="863" y="242"/>
                  </a:lnTo>
                  <a:lnTo>
                    <a:pt x="863" y="233"/>
                  </a:lnTo>
                  <a:lnTo>
                    <a:pt x="868" y="231"/>
                  </a:lnTo>
                  <a:lnTo>
                    <a:pt x="874" y="229"/>
                  </a:lnTo>
                  <a:lnTo>
                    <a:pt x="878" y="227"/>
                  </a:lnTo>
                  <a:lnTo>
                    <a:pt x="880" y="225"/>
                  </a:lnTo>
                  <a:lnTo>
                    <a:pt x="881" y="222"/>
                  </a:lnTo>
                  <a:lnTo>
                    <a:pt x="881" y="214"/>
                  </a:lnTo>
                  <a:lnTo>
                    <a:pt x="883" y="211"/>
                  </a:lnTo>
                  <a:lnTo>
                    <a:pt x="887" y="209"/>
                  </a:lnTo>
                  <a:lnTo>
                    <a:pt x="891" y="207"/>
                  </a:lnTo>
                  <a:lnTo>
                    <a:pt x="894" y="207"/>
                  </a:lnTo>
                  <a:lnTo>
                    <a:pt x="896" y="205"/>
                  </a:lnTo>
                  <a:lnTo>
                    <a:pt x="900" y="200"/>
                  </a:lnTo>
                  <a:lnTo>
                    <a:pt x="902" y="192"/>
                  </a:lnTo>
                  <a:lnTo>
                    <a:pt x="904" y="179"/>
                  </a:lnTo>
                  <a:lnTo>
                    <a:pt x="904" y="174"/>
                  </a:lnTo>
                  <a:lnTo>
                    <a:pt x="902" y="168"/>
                  </a:lnTo>
                  <a:lnTo>
                    <a:pt x="900" y="164"/>
                  </a:lnTo>
                  <a:lnTo>
                    <a:pt x="896" y="163"/>
                  </a:lnTo>
                  <a:lnTo>
                    <a:pt x="891" y="163"/>
                  </a:lnTo>
                  <a:lnTo>
                    <a:pt x="883" y="161"/>
                  </a:lnTo>
                  <a:lnTo>
                    <a:pt x="876" y="155"/>
                  </a:lnTo>
                  <a:lnTo>
                    <a:pt x="870" y="148"/>
                  </a:lnTo>
                  <a:lnTo>
                    <a:pt x="870" y="144"/>
                  </a:lnTo>
                  <a:lnTo>
                    <a:pt x="868" y="142"/>
                  </a:lnTo>
                  <a:lnTo>
                    <a:pt x="868" y="139"/>
                  </a:lnTo>
                  <a:lnTo>
                    <a:pt x="870" y="137"/>
                  </a:lnTo>
                  <a:lnTo>
                    <a:pt x="878" y="139"/>
                  </a:lnTo>
                  <a:lnTo>
                    <a:pt x="885" y="140"/>
                  </a:lnTo>
                  <a:lnTo>
                    <a:pt x="887" y="146"/>
                  </a:lnTo>
                  <a:lnTo>
                    <a:pt x="889" y="150"/>
                  </a:lnTo>
                  <a:lnTo>
                    <a:pt x="891" y="150"/>
                  </a:lnTo>
                  <a:lnTo>
                    <a:pt x="894" y="150"/>
                  </a:lnTo>
                  <a:lnTo>
                    <a:pt x="894" y="139"/>
                  </a:lnTo>
                  <a:lnTo>
                    <a:pt x="894" y="133"/>
                  </a:lnTo>
                  <a:lnTo>
                    <a:pt x="892" y="128"/>
                  </a:lnTo>
                  <a:lnTo>
                    <a:pt x="887" y="124"/>
                  </a:lnTo>
                  <a:lnTo>
                    <a:pt x="887" y="116"/>
                  </a:lnTo>
                  <a:lnTo>
                    <a:pt x="885" y="109"/>
                  </a:lnTo>
                  <a:lnTo>
                    <a:pt x="883" y="102"/>
                  </a:lnTo>
                  <a:lnTo>
                    <a:pt x="878" y="100"/>
                  </a:lnTo>
                  <a:lnTo>
                    <a:pt x="874" y="107"/>
                  </a:lnTo>
                  <a:lnTo>
                    <a:pt x="872" y="115"/>
                  </a:lnTo>
                  <a:lnTo>
                    <a:pt x="867" y="111"/>
                  </a:lnTo>
                  <a:lnTo>
                    <a:pt x="865" y="107"/>
                  </a:lnTo>
                  <a:lnTo>
                    <a:pt x="863" y="105"/>
                  </a:lnTo>
                  <a:lnTo>
                    <a:pt x="865" y="102"/>
                  </a:lnTo>
                  <a:lnTo>
                    <a:pt x="865" y="96"/>
                  </a:lnTo>
                  <a:lnTo>
                    <a:pt x="865" y="92"/>
                  </a:lnTo>
                  <a:lnTo>
                    <a:pt x="863" y="92"/>
                  </a:lnTo>
                  <a:lnTo>
                    <a:pt x="859" y="92"/>
                  </a:lnTo>
                  <a:lnTo>
                    <a:pt x="850" y="96"/>
                  </a:lnTo>
                  <a:lnTo>
                    <a:pt x="844" y="96"/>
                  </a:lnTo>
                  <a:lnTo>
                    <a:pt x="843" y="91"/>
                  </a:lnTo>
                  <a:lnTo>
                    <a:pt x="844" y="83"/>
                  </a:lnTo>
                  <a:lnTo>
                    <a:pt x="839" y="78"/>
                  </a:lnTo>
                  <a:lnTo>
                    <a:pt x="835" y="74"/>
                  </a:lnTo>
                  <a:lnTo>
                    <a:pt x="833" y="70"/>
                  </a:lnTo>
                  <a:lnTo>
                    <a:pt x="832" y="67"/>
                  </a:lnTo>
                  <a:lnTo>
                    <a:pt x="828" y="65"/>
                  </a:lnTo>
                  <a:lnTo>
                    <a:pt x="822" y="67"/>
                  </a:lnTo>
                  <a:lnTo>
                    <a:pt x="809" y="72"/>
                  </a:lnTo>
                  <a:lnTo>
                    <a:pt x="795" y="76"/>
                  </a:lnTo>
                  <a:lnTo>
                    <a:pt x="776" y="72"/>
                  </a:lnTo>
                  <a:lnTo>
                    <a:pt x="761" y="72"/>
                  </a:lnTo>
                  <a:lnTo>
                    <a:pt x="759" y="74"/>
                  </a:lnTo>
                  <a:lnTo>
                    <a:pt x="761" y="78"/>
                  </a:lnTo>
                  <a:lnTo>
                    <a:pt x="763" y="81"/>
                  </a:lnTo>
                  <a:lnTo>
                    <a:pt x="767" y="87"/>
                  </a:lnTo>
                  <a:lnTo>
                    <a:pt x="765" y="92"/>
                  </a:lnTo>
                  <a:lnTo>
                    <a:pt x="761" y="94"/>
                  </a:lnTo>
                  <a:lnTo>
                    <a:pt x="758" y="96"/>
                  </a:lnTo>
                  <a:lnTo>
                    <a:pt x="750" y="98"/>
                  </a:lnTo>
                  <a:lnTo>
                    <a:pt x="745" y="96"/>
                  </a:lnTo>
                  <a:lnTo>
                    <a:pt x="741" y="94"/>
                  </a:lnTo>
                  <a:lnTo>
                    <a:pt x="737" y="92"/>
                  </a:lnTo>
                  <a:lnTo>
                    <a:pt x="735" y="89"/>
                  </a:lnTo>
                  <a:lnTo>
                    <a:pt x="745" y="74"/>
                  </a:lnTo>
                  <a:lnTo>
                    <a:pt x="750" y="57"/>
                  </a:lnTo>
                  <a:lnTo>
                    <a:pt x="747" y="55"/>
                  </a:lnTo>
                  <a:lnTo>
                    <a:pt x="743" y="54"/>
                  </a:lnTo>
                  <a:lnTo>
                    <a:pt x="739" y="55"/>
                  </a:lnTo>
                  <a:lnTo>
                    <a:pt x="735" y="55"/>
                  </a:lnTo>
                  <a:lnTo>
                    <a:pt x="724" y="57"/>
                  </a:lnTo>
                  <a:lnTo>
                    <a:pt x="715" y="59"/>
                  </a:lnTo>
                  <a:lnTo>
                    <a:pt x="711" y="55"/>
                  </a:lnTo>
                  <a:lnTo>
                    <a:pt x="710" y="52"/>
                  </a:lnTo>
                  <a:lnTo>
                    <a:pt x="704" y="52"/>
                  </a:lnTo>
                  <a:lnTo>
                    <a:pt x="700" y="54"/>
                  </a:lnTo>
                  <a:lnTo>
                    <a:pt x="697" y="54"/>
                  </a:lnTo>
                  <a:lnTo>
                    <a:pt x="695" y="52"/>
                  </a:lnTo>
                  <a:lnTo>
                    <a:pt x="693" y="50"/>
                  </a:lnTo>
                  <a:lnTo>
                    <a:pt x="693" y="46"/>
                  </a:lnTo>
                  <a:lnTo>
                    <a:pt x="695" y="41"/>
                  </a:lnTo>
                  <a:lnTo>
                    <a:pt x="702" y="35"/>
                  </a:lnTo>
                  <a:lnTo>
                    <a:pt x="711" y="31"/>
                  </a:lnTo>
                  <a:lnTo>
                    <a:pt x="719" y="28"/>
                  </a:lnTo>
                  <a:lnTo>
                    <a:pt x="715" y="20"/>
                  </a:lnTo>
                  <a:lnTo>
                    <a:pt x="708" y="15"/>
                  </a:lnTo>
                  <a:lnTo>
                    <a:pt x="704" y="15"/>
                  </a:lnTo>
                  <a:lnTo>
                    <a:pt x="702" y="15"/>
                  </a:lnTo>
                  <a:lnTo>
                    <a:pt x="699" y="15"/>
                  </a:lnTo>
                  <a:lnTo>
                    <a:pt x="695" y="11"/>
                  </a:lnTo>
                  <a:lnTo>
                    <a:pt x="693" y="6"/>
                  </a:lnTo>
                  <a:lnTo>
                    <a:pt x="689" y="2"/>
                  </a:lnTo>
                  <a:lnTo>
                    <a:pt x="686" y="0"/>
                  </a:lnTo>
                  <a:lnTo>
                    <a:pt x="680" y="0"/>
                  </a:lnTo>
                  <a:lnTo>
                    <a:pt x="675" y="0"/>
                  </a:lnTo>
                  <a:lnTo>
                    <a:pt x="671" y="4"/>
                  </a:lnTo>
                  <a:lnTo>
                    <a:pt x="669" y="9"/>
                  </a:lnTo>
                  <a:lnTo>
                    <a:pt x="665" y="13"/>
                  </a:lnTo>
                  <a:lnTo>
                    <a:pt x="662" y="15"/>
                  </a:lnTo>
                  <a:lnTo>
                    <a:pt x="658" y="17"/>
                  </a:lnTo>
                  <a:lnTo>
                    <a:pt x="656" y="19"/>
                  </a:lnTo>
                  <a:lnTo>
                    <a:pt x="656" y="20"/>
                  </a:lnTo>
                  <a:lnTo>
                    <a:pt x="654" y="26"/>
                  </a:lnTo>
                  <a:lnTo>
                    <a:pt x="652" y="31"/>
                  </a:lnTo>
                  <a:lnTo>
                    <a:pt x="647" y="33"/>
                  </a:lnTo>
                  <a:lnTo>
                    <a:pt x="641" y="33"/>
                  </a:lnTo>
                  <a:lnTo>
                    <a:pt x="638" y="33"/>
                  </a:lnTo>
                  <a:lnTo>
                    <a:pt x="634" y="37"/>
                  </a:lnTo>
                  <a:lnTo>
                    <a:pt x="632" y="43"/>
                  </a:lnTo>
                  <a:lnTo>
                    <a:pt x="630" y="50"/>
                  </a:lnTo>
                  <a:lnTo>
                    <a:pt x="626" y="61"/>
                  </a:lnTo>
                  <a:lnTo>
                    <a:pt x="625" y="72"/>
                  </a:lnTo>
                  <a:lnTo>
                    <a:pt x="619" y="76"/>
                  </a:lnTo>
                  <a:lnTo>
                    <a:pt x="619" y="79"/>
                  </a:lnTo>
                  <a:lnTo>
                    <a:pt x="623" y="85"/>
                  </a:lnTo>
                  <a:lnTo>
                    <a:pt x="625" y="91"/>
                  </a:lnTo>
                  <a:lnTo>
                    <a:pt x="623" y="94"/>
                  </a:lnTo>
                  <a:lnTo>
                    <a:pt x="623" y="100"/>
                  </a:lnTo>
                  <a:lnTo>
                    <a:pt x="630" y="104"/>
                  </a:lnTo>
                  <a:lnTo>
                    <a:pt x="639" y="109"/>
                  </a:lnTo>
                  <a:lnTo>
                    <a:pt x="641" y="111"/>
                  </a:lnTo>
                  <a:lnTo>
                    <a:pt x="643" y="115"/>
                  </a:lnTo>
                  <a:lnTo>
                    <a:pt x="643" y="116"/>
                  </a:lnTo>
                  <a:lnTo>
                    <a:pt x="641" y="120"/>
                  </a:lnTo>
                  <a:lnTo>
                    <a:pt x="634" y="116"/>
                  </a:lnTo>
                  <a:lnTo>
                    <a:pt x="623" y="111"/>
                  </a:lnTo>
                  <a:lnTo>
                    <a:pt x="615" y="109"/>
                  </a:lnTo>
                  <a:lnTo>
                    <a:pt x="604" y="105"/>
                  </a:lnTo>
                  <a:lnTo>
                    <a:pt x="591" y="105"/>
                  </a:lnTo>
                  <a:lnTo>
                    <a:pt x="575" y="105"/>
                  </a:lnTo>
                  <a:lnTo>
                    <a:pt x="578" y="115"/>
                  </a:lnTo>
                  <a:lnTo>
                    <a:pt x="586" y="122"/>
                  </a:lnTo>
                  <a:lnTo>
                    <a:pt x="590" y="128"/>
                  </a:lnTo>
                  <a:lnTo>
                    <a:pt x="593" y="131"/>
                  </a:lnTo>
                  <a:lnTo>
                    <a:pt x="593" y="137"/>
                  </a:lnTo>
                  <a:lnTo>
                    <a:pt x="593" y="140"/>
                  </a:lnTo>
                  <a:lnTo>
                    <a:pt x="588" y="137"/>
                  </a:lnTo>
                  <a:lnTo>
                    <a:pt x="582" y="131"/>
                  </a:lnTo>
                  <a:lnTo>
                    <a:pt x="575" y="129"/>
                  </a:lnTo>
                  <a:lnTo>
                    <a:pt x="569" y="128"/>
                  </a:lnTo>
                  <a:lnTo>
                    <a:pt x="564" y="128"/>
                  </a:lnTo>
                  <a:lnTo>
                    <a:pt x="558" y="131"/>
                  </a:lnTo>
                  <a:lnTo>
                    <a:pt x="553" y="137"/>
                  </a:lnTo>
                  <a:lnTo>
                    <a:pt x="549" y="144"/>
                  </a:lnTo>
                  <a:lnTo>
                    <a:pt x="540" y="148"/>
                  </a:lnTo>
                  <a:lnTo>
                    <a:pt x="529" y="153"/>
                  </a:lnTo>
                  <a:lnTo>
                    <a:pt x="514" y="150"/>
                  </a:lnTo>
                  <a:lnTo>
                    <a:pt x="505" y="150"/>
                  </a:lnTo>
                  <a:lnTo>
                    <a:pt x="508" y="144"/>
                  </a:lnTo>
                  <a:lnTo>
                    <a:pt x="510" y="137"/>
                  </a:lnTo>
                  <a:lnTo>
                    <a:pt x="490" y="133"/>
                  </a:lnTo>
                  <a:lnTo>
                    <a:pt x="469" y="129"/>
                  </a:lnTo>
                  <a:lnTo>
                    <a:pt x="466" y="135"/>
                  </a:lnTo>
                  <a:lnTo>
                    <a:pt x="462" y="139"/>
                  </a:lnTo>
                  <a:lnTo>
                    <a:pt x="458" y="137"/>
                  </a:lnTo>
                  <a:lnTo>
                    <a:pt x="457" y="135"/>
                  </a:lnTo>
                  <a:lnTo>
                    <a:pt x="453" y="135"/>
                  </a:lnTo>
                  <a:lnTo>
                    <a:pt x="449" y="137"/>
                  </a:lnTo>
                  <a:lnTo>
                    <a:pt x="449" y="140"/>
                  </a:lnTo>
                  <a:lnTo>
                    <a:pt x="449" y="142"/>
                  </a:lnTo>
                  <a:lnTo>
                    <a:pt x="453" y="142"/>
                  </a:lnTo>
                  <a:lnTo>
                    <a:pt x="455" y="144"/>
                  </a:lnTo>
                  <a:lnTo>
                    <a:pt x="460" y="146"/>
                  </a:lnTo>
                  <a:lnTo>
                    <a:pt x="462" y="148"/>
                  </a:lnTo>
                  <a:lnTo>
                    <a:pt x="451" y="155"/>
                  </a:lnTo>
                  <a:lnTo>
                    <a:pt x="433" y="164"/>
                  </a:lnTo>
                  <a:lnTo>
                    <a:pt x="427" y="161"/>
                  </a:lnTo>
                  <a:lnTo>
                    <a:pt x="423" y="161"/>
                  </a:lnTo>
                  <a:lnTo>
                    <a:pt x="418" y="163"/>
                  </a:lnTo>
                  <a:lnTo>
                    <a:pt x="412" y="166"/>
                  </a:lnTo>
                  <a:lnTo>
                    <a:pt x="405" y="166"/>
                  </a:lnTo>
                  <a:lnTo>
                    <a:pt x="399" y="163"/>
                  </a:lnTo>
                  <a:lnTo>
                    <a:pt x="396" y="163"/>
                  </a:lnTo>
                  <a:lnTo>
                    <a:pt x="392" y="163"/>
                  </a:lnTo>
                  <a:lnTo>
                    <a:pt x="386" y="166"/>
                  </a:lnTo>
                  <a:lnTo>
                    <a:pt x="381" y="172"/>
                  </a:lnTo>
                  <a:lnTo>
                    <a:pt x="372" y="174"/>
                  </a:lnTo>
                  <a:lnTo>
                    <a:pt x="362" y="170"/>
                  </a:lnTo>
                  <a:lnTo>
                    <a:pt x="359" y="172"/>
                  </a:lnTo>
                  <a:lnTo>
                    <a:pt x="351" y="174"/>
                  </a:lnTo>
                  <a:lnTo>
                    <a:pt x="346" y="181"/>
                  </a:lnTo>
                  <a:lnTo>
                    <a:pt x="336" y="192"/>
                  </a:lnTo>
                  <a:lnTo>
                    <a:pt x="327" y="192"/>
                  </a:lnTo>
                  <a:lnTo>
                    <a:pt x="322" y="194"/>
                  </a:lnTo>
                  <a:lnTo>
                    <a:pt x="325" y="205"/>
                  </a:lnTo>
                  <a:lnTo>
                    <a:pt x="327" y="214"/>
                  </a:lnTo>
                  <a:lnTo>
                    <a:pt x="325" y="216"/>
                  </a:lnTo>
                  <a:lnTo>
                    <a:pt x="320" y="220"/>
                  </a:lnTo>
                  <a:lnTo>
                    <a:pt x="316" y="224"/>
                  </a:lnTo>
                  <a:lnTo>
                    <a:pt x="311" y="224"/>
                  </a:lnTo>
                  <a:lnTo>
                    <a:pt x="305" y="216"/>
                  </a:lnTo>
                  <a:lnTo>
                    <a:pt x="300" y="211"/>
                  </a:lnTo>
                  <a:lnTo>
                    <a:pt x="298" y="214"/>
                  </a:lnTo>
                  <a:lnTo>
                    <a:pt x="298" y="218"/>
                  </a:lnTo>
                  <a:lnTo>
                    <a:pt x="300" y="224"/>
                  </a:lnTo>
                  <a:lnTo>
                    <a:pt x="301" y="227"/>
                  </a:lnTo>
                  <a:lnTo>
                    <a:pt x="307" y="238"/>
                  </a:lnTo>
                  <a:lnTo>
                    <a:pt x="311" y="249"/>
                  </a:lnTo>
                  <a:lnTo>
                    <a:pt x="307" y="257"/>
                  </a:lnTo>
                  <a:lnTo>
                    <a:pt x="305" y="26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7"/>
                  </a:lnTo>
                  <a:lnTo>
                    <a:pt x="305" y="283"/>
                  </a:lnTo>
                  <a:lnTo>
                    <a:pt x="309" y="292"/>
                  </a:lnTo>
                  <a:lnTo>
                    <a:pt x="312" y="299"/>
                  </a:lnTo>
                  <a:lnTo>
                    <a:pt x="307" y="307"/>
                  </a:lnTo>
                  <a:lnTo>
                    <a:pt x="301" y="312"/>
                  </a:lnTo>
                  <a:lnTo>
                    <a:pt x="294" y="316"/>
                  </a:lnTo>
                  <a:lnTo>
                    <a:pt x="288" y="316"/>
                  </a:lnTo>
                  <a:lnTo>
                    <a:pt x="283" y="316"/>
                  </a:lnTo>
                  <a:lnTo>
                    <a:pt x="281" y="316"/>
                  </a:lnTo>
                  <a:lnTo>
                    <a:pt x="277" y="312"/>
                  </a:lnTo>
                  <a:lnTo>
                    <a:pt x="279" y="309"/>
                  </a:lnTo>
                  <a:lnTo>
                    <a:pt x="283" y="303"/>
                  </a:lnTo>
                  <a:lnTo>
                    <a:pt x="285" y="299"/>
                  </a:lnTo>
                  <a:lnTo>
                    <a:pt x="285" y="298"/>
                  </a:lnTo>
                  <a:lnTo>
                    <a:pt x="281" y="294"/>
                  </a:lnTo>
                  <a:lnTo>
                    <a:pt x="268" y="296"/>
                  </a:lnTo>
                  <a:lnTo>
                    <a:pt x="257" y="299"/>
                  </a:lnTo>
                  <a:lnTo>
                    <a:pt x="242" y="296"/>
                  </a:lnTo>
                  <a:lnTo>
                    <a:pt x="227" y="296"/>
                  </a:lnTo>
                  <a:lnTo>
                    <a:pt x="213" y="294"/>
                  </a:lnTo>
                  <a:lnTo>
                    <a:pt x="196" y="294"/>
                  </a:lnTo>
                  <a:lnTo>
                    <a:pt x="185" y="292"/>
                  </a:lnTo>
                  <a:lnTo>
                    <a:pt x="172" y="288"/>
                  </a:lnTo>
                  <a:lnTo>
                    <a:pt x="165" y="286"/>
                  </a:lnTo>
                  <a:lnTo>
                    <a:pt x="157" y="286"/>
                  </a:lnTo>
                  <a:lnTo>
                    <a:pt x="150" y="286"/>
                  </a:lnTo>
                  <a:lnTo>
                    <a:pt x="142" y="288"/>
                  </a:lnTo>
                  <a:lnTo>
                    <a:pt x="137" y="294"/>
                  </a:lnTo>
                  <a:lnTo>
                    <a:pt x="133" y="298"/>
                  </a:lnTo>
                  <a:lnTo>
                    <a:pt x="130" y="305"/>
                  </a:lnTo>
                  <a:lnTo>
                    <a:pt x="130" y="310"/>
                  </a:lnTo>
                  <a:lnTo>
                    <a:pt x="130" y="323"/>
                  </a:lnTo>
                  <a:lnTo>
                    <a:pt x="130" y="336"/>
                  </a:lnTo>
                  <a:lnTo>
                    <a:pt x="126" y="349"/>
                  </a:lnTo>
                  <a:lnTo>
                    <a:pt x="122" y="360"/>
                  </a:lnTo>
                  <a:lnTo>
                    <a:pt x="122" y="366"/>
                  </a:lnTo>
                  <a:lnTo>
                    <a:pt x="122" y="371"/>
                  </a:lnTo>
                  <a:lnTo>
                    <a:pt x="122" y="375"/>
                  </a:lnTo>
                  <a:lnTo>
                    <a:pt x="124" y="377"/>
                  </a:lnTo>
                  <a:lnTo>
                    <a:pt x="141" y="386"/>
                  </a:lnTo>
                  <a:lnTo>
                    <a:pt x="154" y="397"/>
                  </a:lnTo>
                  <a:lnTo>
                    <a:pt x="154" y="410"/>
                  </a:lnTo>
                  <a:lnTo>
                    <a:pt x="154" y="421"/>
                  </a:lnTo>
                  <a:lnTo>
                    <a:pt x="159" y="427"/>
                  </a:lnTo>
                  <a:lnTo>
                    <a:pt x="165" y="432"/>
                  </a:lnTo>
                  <a:lnTo>
                    <a:pt x="168" y="436"/>
                  </a:lnTo>
                  <a:lnTo>
                    <a:pt x="168" y="442"/>
                  </a:lnTo>
                  <a:lnTo>
                    <a:pt x="168" y="447"/>
                  </a:lnTo>
                  <a:lnTo>
                    <a:pt x="168" y="456"/>
                  </a:lnTo>
                  <a:lnTo>
                    <a:pt x="161" y="469"/>
                  </a:lnTo>
                  <a:lnTo>
                    <a:pt x="155" y="482"/>
                  </a:lnTo>
                  <a:lnTo>
                    <a:pt x="155" y="497"/>
                  </a:lnTo>
                  <a:lnTo>
                    <a:pt x="157" y="510"/>
                  </a:lnTo>
                  <a:lnTo>
                    <a:pt x="157" y="525"/>
                  </a:lnTo>
                  <a:lnTo>
                    <a:pt x="157" y="540"/>
                  </a:lnTo>
                  <a:lnTo>
                    <a:pt x="150" y="553"/>
                  </a:lnTo>
                  <a:lnTo>
                    <a:pt x="141" y="565"/>
                  </a:lnTo>
                  <a:lnTo>
                    <a:pt x="139" y="582"/>
                  </a:lnTo>
                  <a:lnTo>
                    <a:pt x="139" y="595"/>
                  </a:lnTo>
                  <a:lnTo>
                    <a:pt x="144" y="602"/>
                  </a:lnTo>
                  <a:lnTo>
                    <a:pt x="154" y="612"/>
                  </a:lnTo>
                  <a:lnTo>
                    <a:pt x="157" y="615"/>
                  </a:lnTo>
                  <a:lnTo>
                    <a:pt x="159" y="621"/>
                  </a:lnTo>
                  <a:lnTo>
                    <a:pt x="157" y="625"/>
                  </a:lnTo>
                  <a:lnTo>
                    <a:pt x="154" y="628"/>
                  </a:lnTo>
                  <a:lnTo>
                    <a:pt x="148" y="628"/>
                  </a:lnTo>
                  <a:lnTo>
                    <a:pt x="144" y="630"/>
                  </a:lnTo>
                  <a:lnTo>
                    <a:pt x="141" y="628"/>
                  </a:lnTo>
                  <a:lnTo>
                    <a:pt x="139" y="626"/>
                  </a:lnTo>
                  <a:lnTo>
                    <a:pt x="133" y="619"/>
                  </a:lnTo>
                  <a:lnTo>
                    <a:pt x="124" y="604"/>
                  </a:lnTo>
                  <a:lnTo>
                    <a:pt x="124" y="589"/>
                  </a:lnTo>
                  <a:lnTo>
                    <a:pt x="126" y="582"/>
                  </a:lnTo>
                  <a:lnTo>
                    <a:pt x="122" y="575"/>
                  </a:lnTo>
                  <a:lnTo>
                    <a:pt x="111" y="565"/>
                  </a:lnTo>
                  <a:lnTo>
                    <a:pt x="111" y="562"/>
                  </a:lnTo>
                  <a:lnTo>
                    <a:pt x="113" y="558"/>
                  </a:lnTo>
                  <a:lnTo>
                    <a:pt x="117" y="554"/>
                  </a:lnTo>
                  <a:lnTo>
                    <a:pt x="124" y="553"/>
                  </a:lnTo>
                  <a:lnTo>
                    <a:pt x="128" y="540"/>
                  </a:lnTo>
                  <a:lnTo>
                    <a:pt x="133" y="527"/>
                  </a:lnTo>
                  <a:lnTo>
                    <a:pt x="141" y="521"/>
                  </a:lnTo>
                  <a:lnTo>
                    <a:pt x="142" y="514"/>
                  </a:lnTo>
                  <a:lnTo>
                    <a:pt x="142" y="508"/>
                  </a:lnTo>
                  <a:lnTo>
                    <a:pt x="139" y="503"/>
                  </a:lnTo>
                  <a:lnTo>
                    <a:pt x="133" y="508"/>
                  </a:lnTo>
                  <a:lnTo>
                    <a:pt x="130" y="516"/>
                  </a:lnTo>
                  <a:lnTo>
                    <a:pt x="126" y="519"/>
                  </a:lnTo>
                  <a:lnTo>
                    <a:pt x="124" y="521"/>
                  </a:lnTo>
                  <a:lnTo>
                    <a:pt x="118" y="523"/>
                  </a:lnTo>
                  <a:lnTo>
                    <a:pt x="113" y="521"/>
                  </a:lnTo>
                  <a:lnTo>
                    <a:pt x="113" y="514"/>
                  </a:lnTo>
                  <a:lnTo>
                    <a:pt x="115" y="506"/>
                  </a:lnTo>
                  <a:lnTo>
                    <a:pt x="118" y="497"/>
                  </a:lnTo>
                  <a:lnTo>
                    <a:pt x="124" y="490"/>
                  </a:lnTo>
                  <a:lnTo>
                    <a:pt x="124" y="480"/>
                  </a:lnTo>
                  <a:lnTo>
                    <a:pt x="126" y="473"/>
                  </a:lnTo>
                  <a:lnTo>
                    <a:pt x="139" y="471"/>
                  </a:lnTo>
                  <a:lnTo>
                    <a:pt x="155" y="464"/>
                  </a:lnTo>
                  <a:lnTo>
                    <a:pt x="157" y="456"/>
                  </a:lnTo>
                  <a:lnTo>
                    <a:pt x="161" y="449"/>
                  </a:lnTo>
                  <a:lnTo>
                    <a:pt x="159" y="445"/>
                  </a:lnTo>
                  <a:lnTo>
                    <a:pt x="155" y="444"/>
                  </a:lnTo>
                  <a:lnTo>
                    <a:pt x="150" y="442"/>
                  </a:lnTo>
                  <a:lnTo>
                    <a:pt x="142" y="440"/>
                  </a:lnTo>
                  <a:lnTo>
                    <a:pt x="128" y="438"/>
                  </a:lnTo>
                  <a:lnTo>
                    <a:pt x="117" y="434"/>
                  </a:lnTo>
                  <a:lnTo>
                    <a:pt x="109" y="412"/>
                  </a:lnTo>
                  <a:lnTo>
                    <a:pt x="102" y="394"/>
                  </a:lnTo>
                  <a:lnTo>
                    <a:pt x="89" y="377"/>
                  </a:lnTo>
                  <a:lnTo>
                    <a:pt x="74" y="360"/>
                  </a:lnTo>
                  <a:lnTo>
                    <a:pt x="67" y="360"/>
                  </a:lnTo>
                  <a:lnTo>
                    <a:pt x="59" y="360"/>
                  </a:lnTo>
                  <a:lnTo>
                    <a:pt x="58" y="364"/>
                  </a:lnTo>
                  <a:lnTo>
                    <a:pt x="59" y="368"/>
                  </a:lnTo>
                  <a:lnTo>
                    <a:pt x="59" y="371"/>
                  </a:lnTo>
                  <a:lnTo>
                    <a:pt x="63" y="375"/>
                  </a:lnTo>
                  <a:lnTo>
                    <a:pt x="70" y="379"/>
                  </a:lnTo>
                  <a:lnTo>
                    <a:pt x="83" y="381"/>
                  </a:lnTo>
                  <a:lnTo>
                    <a:pt x="83" y="397"/>
                  </a:lnTo>
                  <a:lnTo>
                    <a:pt x="80" y="408"/>
                  </a:lnTo>
                  <a:lnTo>
                    <a:pt x="74" y="414"/>
                  </a:lnTo>
                  <a:lnTo>
                    <a:pt x="69" y="418"/>
                  </a:lnTo>
                  <a:lnTo>
                    <a:pt x="63" y="419"/>
                  </a:lnTo>
                  <a:lnTo>
                    <a:pt x="56" y="421"/>
                  </a:lnTo>
                  <a:lnTo>
                    <a:pt x="52" y="423"/>
                  </a:lnTo>
                  <a:lnTo>
                    <a:pt x="50" y="429"/>
                  </a:lnTo>
                  <a:lnTo>
                    <a:pt x="52" y="436"/>
                  </a:lnTo>
                  <a:lnTo>
                    <a:pt x="56" y="442"/>
                  </a:lnTo>
                  <a:lnTo>
                    <a:pt x="61" y="449"/>
                  </a:lnTo>
                  <a:lnTo>
                    <a:pt x="65" y="455"/>
                  </a:lnTo>
                  <a:lnTo>
                    <a:pt x="70" y="462"/>
                  </a:lnTo>
                  <a:lnTo>
                    <a:pt x="72" y="471"/>
                  </a:lnTo>
                  <a:lnTo>
                    <a:pt x="74" y="480"/>
                  </a:lnTo>
                  <a:lnTo>
                    <a:pt x="74" y="493"/>
                  </a:lnTo>
                  <a:lnTo>
                    <a:pt x="74" y="503"/>
                  </a:lnTo>
                  <a:lnTo>
                    <a:pt x="74" y="512"/>
                  </a:lnTo>
                  <a:lnTo>
                    <a:pt x="72" y="519"/>
                  </a:lnTo>
                  <a:lnTo>
                    <a:pt x="69" y="525"/>
                  </a:lnTo>
                  <a:lnTo>
                    <a:pt x="59" y="525"/>
                  </a:lnTo>
                  <a:lnTo>
                    <a:pt x="48" y="525"/>
                  </a:lnTo>
                  <a:lnTo>
                    <a:pt x="41" y="536"/>
                  </a:lnTo>
                  <a:lnTo>
                    <a:pt x="34" y="543"/>
                  </a:lnTo>
                  <a:lnTo>
                    <a:pt x="28" y="547"/>
                  </a:lnTo>
                  <a:lnTo>
                    <a:pt x="21" y="551"/>
                  </a:lnTo>
                  <a:lnTo>
                    <a:pt x="15" y="553"/>
                  </a:lnTo>
                  <a:lnTo>
                    <a:pt x="9" y="554"/>
                  </a:lnTo>
                  <a:lnTo>
                    <a:pt x="6" y="558"/>
                  </a:lnTo>
                  <a:lnTo>
                    <a:pt x="2" y="564"/>
                  </a:lnTo>
                  <a:lnTo>
                    <a:pt x="0" y="571"/>
                  </a:lnTo>
                  <a:lnTo>
                    <a:pt x="2" y="577"/>
                  </a:lnTo>
                  <a:lnTo>
                    <a:pt x="4" y="580"/>
                  </a:lnTo>
                  <a:lnTo>
                    <a:pt x="6" y="586"/>
                  </a:lnTo>
                  <a:lnTo>
                    <a:pt x="13" y="601"/>
                  </a:lnTo>
                  <a:lnTo>
                    <a:pt x="21" y="625"/>
                  </a:lnTo>
                  <a:lnTo>
                    <a:pt x="26" y="628"/>
                  </a:lnTo>
                  <a:lnTo>
                    <a:pt x="35" y="628"/>
                  </a:lnTo>
                  <a:lnTo>
                    <a:pt x="43" y="628"/>
                  </a:lnTo>
                  <a:lnTo>
                    <a:pt x="52" y="626"/>
                  </a:lnTo>
                  <a:lnTo>
                    <a:pt x="59" y="625"/>
                  </a:lnTo>
                  <a:lnTo>
                    <a:pt x="67" y="623"/>
                  </a:lnTo>
                  <a:lnTo>
                    <a:pt x="72" y="623"/>
                  </a:lnTo>
                  <a:lnTo>
                    <a:pt x="76" y="625"/>
                  </a:lnTo>
                  <a:lnTo>
                    <a:pt x="82" y="638"/>
                  </a:lnTo>
                  <a:lnTo>
                    <a:pt x="82" y="649"/>
                  </a:lnTo>
                  <a:lnTo>
                    <a:pt x="82" y="658"/>
                  </a:lnTo>
                  <a:lnTo>
                    <a:pt x="83" y="667"/>
                  </a:lnTo>
                  <a:lnTo>
                    <a:pt x="85" y="678"/>
                  </a:lnTo>
                  <a:lnTo>
                    <a:pt x="87" y="687"/>
                  </a:lnTo>
                  <a:lnTo>
                    <a:pt x="85" y="697"/>
                  </a:lnTo>
                  <a:lnTo>
                    <a:pt x="83" y="704"/>
                  </a:lnTo>
                  <a:lnTo>
                    <a:pt x="80" y="710"/>
                  </a:lnTo>
                  <a:lnTo>
                    <a:pt x="78" y="711"/>
                  </a:lnTo>
                  <a:lnTo>
                    <a:pt x="85" y="721"/>
                  </a:lnTo>
                  <a:lnTo>
                    <a:pt x="93" y="730"/>
                  </a:lnTo>
                  <a:lnTo>
                    <a:pt x="89" y="739"/>
                  </a:lnTo>
                  <a:lnTo>
                    <a:pt x="83" y="754"/>
                  </a:lnTo>
                  <a:lnTo>
                    <a:pt x="96" y="771"/>
                  </a:lnTo>
                  <a:lnTo>
                    <a:pt x="107" y="787"/>
                  </a:lnTo>
                  <a:lnTo>
                    <a:pt x="111" y="798"/>
                  </a:lnTo>
                  <a:lnTo>
                    <a:pt x="113" y="809"/>
                  </a:lnTo>
                  <a:lnTo>
                    <a:pt x="117" y="819"/>
                  </a:lnTo>
                  <a:lnTo>
                    <a:pt x="122" y="822"/>
                  </a:lnTo>
                  <a:lnTo>
                    <a:pt x="128" y="815"/>
                  </a:lnTo>
                  <a:lnTo>
                    <a:pt x="137" y="800"/>
                  </a:lnTo>
                  <a:lnTo>
                    <a:pt x="148" y="784"/>
                  </a:lnTo>
                  <a:lnTo>
                    <a:pt x="155" y="769"/>
                  </a:lnTo>
                  <a:lnTo>
                    <a:pt x="159" y="761"/>
                  </a:lnTo>
                  <a:lnTo>
                    <a:pt x="167" y="756"/>
                  </a:lnTo>
                  <a:lnTo>
                    <a:pt x="174" y="752"/>
                  </a:lnTo>
                  <a:lnTo>
                    <a:pt x="181" y="750"/>
                  </a:lnTo>
                  <a:lnTo>
                    <a:pt x="185" y="752"/>
                  </a:lnTo>
                  <a:lnTo>
                    <a:pt x="187" y="754"/>
                  </a:lnTo>
                  <a:lnTo>
                    <a:pt x="191" y="758"/>
                  </a:lnTo>
                  <a:lnTo>
                    <a:pt x="192" y="763"/>
                  </a:lnTo>
                  <a:lnTo>
                    <a:pt x="196" y="776"/>
                  </a:lnTo>
                  <a:lnTo>
                    <a:pt x="200" y="789"/>
                  </a:lnTo>
                  <a:lnTo>
                    <a:pt x="202" y="804"/>
                  </a:lnTo>
                  <a:lnTo>
                    <a:pt x="207" y="815"/>
                  </a:lnTo>
                  <a:lnTo>
                    <a:pt x="209" y="820"/>
                  </a:lnTo>
                  <a:lnTo>
                    <a:pt x="213" y="826"/>
                  </a:lnTo>
                  <a:lnTo>
                    <a:pt x="216" y="828"/>
                  </a:lnTo>
                  <a:lnTo>
                    <a:pt x="222" y="830"/>
                  </a:lnTo>
                  <a:lnTo>
                    <a:pt x="240" y="826"/>
                  </a:lnTo>
                  <a:lnTo>
                    <a:pt x="263" y="822"/>
                  </a:lnTo>
                  <a:lnTo>
                    <a:pt x="285" y="826"/>
                  </a:lnTo>
                  <a:lnTo>
                    <a:pt x="309" y="830"/>
                  </a:lnTo>
                  <a:lnTo>
                    <a:pt x="322" y="826"/>
                  </a:lnTo>
                  <a:lnTo>
                    <a:pt x="333" y="819"/>
                  </a:lnTo>
                  <a:lnTo>
                    <a:pt x="342" y="809"/>
                  </a:lnTo>
                  <a:lnTo>
                    <a:pt x="351" y="798"/>
                  </a:lnTo>
                  <a:lnTo>
                    <a:pt x="366" y="780"/>
                  </a:lnTo>
                  <a:lnTo>
                    <a:pt x="379" y="765"/>
                  </a:lnTo>
                  <a:lnTo>
                    <a:pt x="401" y="759"/>
                  </a:lnTo>
                  <a:lnTo>
                    <a:pt x="421" y="756"/>
                  </a:lnTo>
                  <a:lnTo>
                    <a:pt x="423" y="747"/>
                  </a:lnTo>
                  <a:lnTo>
                    <a:pt x="427" y="737"/>
                  </a:lnTo>
                  <a:lnTo>
                    <a:pt x="434" y="735"/>
                  </a:lnTo>
                  <a:lnTo>
                    <a:pt x="442" y="732"/>
                  </a:lnTo>
                  <a:lnTo>
                    <a:pt x="442" y="724"/>
                  </a:lnTo>
                  <a:lnTo>
                    <a:pt x="442" y="713"/>
                  </a:lnTo>
                  <a:lnTo>
                    <a:pt x="440" y="710"/>
                  </a:lnTo>
                  <a:lnTo>
                    <a:pt x="442" y="704"/>
                  </a:lnTo>
                  <a:lnTo>
                    <a:pt x="444" y="700"/>
                  </a:lnTo>
                  <a:lnTo>
                    <a:pt x="445" y="697"/>
                  </a:lnTo>
                  <a:lnTo>
                    <a:pt x="471" y="680"/>
                  </a:lnTo>
                  <a:lnTo>
                    <a:pt x="495" y="665"/>
                  </a:lnTo>
                  <a:lnTo>
                    <a:pt x="508" y="660"/>
                  </a:lnTo>
                  <a:lnTo>
                    <a:pt x="523" y="656"/>
                  </a:lnTo>
                  <a:lnTo>
                    <a:pt x="540" y="654"/>
                  </a:lnTo>
                  <a:lnTo>
                    <a:pt x="556" y="654"/>
                  </a:lnTo>
                  <a:lnTo>
                    <a:pt x="571" y="649"/>
                  </a:lnTo>
                  <a:lnTo>
                    <a:pt x="582" y="639"/>
                  </a:lnTo>
                  <a:lnTo>
                    <a:pt x="590" y="638"/>
                  </a:lnTo>
                  <a:lnTo>
                    <a:pt x="597" y="638"/>
                  </a:lnTo>
                  <a:lnTo>
                    <a:pt x="604" y="639"/>
                  </a:lnTo>
                  <a:lnTo>
                    <a:pt x="614" y="645"/>
                  </a:lnTo>
                  <a:lnTo>
                    <a:pt x="612" y="660"/>
                  </a:lnTo>
                  <a:lnTo>
                    <a:pt x="606" y="673"/>
                  </a:lnTo>
                  <a:lnTo>
                    <a:pt x="625" y="671"/>
                  </a:lnTo>
                  <a:lnTo>
                    <a:pt x="654" y="673"/>
                  </a:lnTo>
                  <a:lnTo>
                    <a:pt x="667" y="678"/>
                  </a:lnTo>
                  <a:lnTo>
                    <a:pt x="686" y="687"/>
                  </a:lnTo>
                  <a:lnTo>
                    <a:pt x="697" y="691"/>
                  </a:lnTo>
                  <a:lnTo>
                    <a:pt x="708" y="693"/>
                  </a:lnTo>
                  <a:lnTo>
                    <a:pt x="719" y="691"/>
                  </a:lnTo>
                  <a:lnTo>
                    <a:pt x="730" y="687"/>
                  </a:lnTo>
                  <a:lnTo>
                    <a:pt x="728" y="684"/>
                  </a:lnTo>
                  <a:lnTo>
                    <a:pt x="726" y="680"/>
                  </a:lnTo>
                  <a:lnTo>
                    <a:pt x="735" y="676"/>
                  </a:lnTo>
                  <a:lnTo>
                    <a:pt x="743" y="674"/>
                  </a:lnTo>
                  <a:lnTo>
                    <a:pt x="748" y="678"/>
                  </a:lnTo>
                  <a:lnTo>
                    <a:pt x="752" y="682"/>
                  </a:lnTo>
                  <a:lnTo>
                    <a:pt x="758" y="684"/>
                  </a:lnTo>
                  <a:lnTo>
                    <a:pt x="761" y="682"/>
                  </a:lnTo>
                  <a:lnTo>
                    <a:pt x="763" y="680"/>
                  </a:lnTo>
                  <a:lnTo>
                    <a:pt x="763" y="678"/>
                  </a:lnTo>
                  <a:lnTo>
                    <a:pt x="763" y="674"/>
                  </a:lnTo>
                  <a:lnTo>
                    <a:pt x="763" y="671"/>
                  </a:lnTo>
                  <a:lnTo>
                    <a:pt x="769" y="667"/>
                  </a:lnTo>
                  <a:lnTo>
                    <a:pt x="774" y="667"/>
                  </a:lnTo>
                  <a:lnTo>
                    <a:pt x="785" y="667"/>
                  </a:lnTo>
                  <a:lnTo>
                    <a:pt x="800" y="667"/>
                  </a:lnTo>
                  <a:lnTo>
                    <a:pt x="820" y="650"/>
                  </a:lnTo>
                  <a:lnTo>
                    <a:pt x="837" y="638"/>
                  </a:lnTo>
                  <a:lnTo>
                    <a:pt x="850" y="639"/>
                  </a:lnTo>
                  <a:lnTo>
                    <a:pt x="865" y="641"/>
                  </a:lnTo>
                  <a:lnTo>
                    <a:pt x="868" y="621"/>
                  </a:lnTo>
                  <a:lnTo>
                    <a:pt x="868" y="601"/>
                  </a:lnTo>
                  <a:lnTo>
                    <a:pt x="872" y="595"/>
                  </a:lnTo>
                  <a:lnTo>
                    <a:pt x="876" y="589"/>
                  </a:lnTo>
                  <a:lnTo>
                    <a:pt x="883" y="586"/>
                  </a:lnTo>
                  <a:lnTo>
                    <a:pt x="894" y="580"/>
                  </a:lnTo>
                  <a:lnTo>
                    <a:pt x="900" y="573"/>
                  </a:lnTo>
                  <a:lnTo>
                    <a:pt x="902" y="562"/>
                  </a:lnTo>
                  <a:lnTo>
                    <a:pt x="924" y="540"/>
                  </a:lnTo>
                  <a:lnTo>
                    <a:pt x="946" y="517"/>
                  </a:lnTo>
                  <a:lnTo>
                    <a:pt x="944" y="512"/>
                  </a:lnTo>
                  <a:lnTo>
                    <a:pt x="942" y="508"/>
                  </a:lnTo>
                  <a:lnTo>
                    <a:pt x="941" y="504"/>
                  </a:lnTo>
                  <a:lnTo>
                    <a:pt x="937" y="501"/>
                  </a:lnTo>
                  <a:lnTo>
                    <a:pt x="929" y="493"/>
                  </a:lnTo>
                  <a:lnTo>
                    <a:pt x="924" y="488"/>
                  </a:lnTo>
                  <a:lnTo>
                    <a:pt x="922" y="471"/>
                  </a:lnTo>
                  <a:lnTo>
                    <a:pt x="920" y="455"/>
                  </a:lnTo>
                  <a:lnTo>
                    <a:pt x="917" y="447"/>
                  </a:lnTo>
                  <a:lnTo>
                    <a:pt x="913" y="442"/>
                  </a:lnTo>
                  <a:lnTo>
                    <a:pt x="909" y="436"/>
                  </a:lnTo>
                  <a:lnTo>
                    <a:pt x="904" y="432"/>
                  </a:lnTo>
                  <a:lnTo>
                    <a:pt x="892" y="425"/>
                  </a:lnTo>
                  <a:lnTo>
                    <a:pt x="883" y="418"/>
                  </a:lnTo>
                  <a:lnTo>
                    <a:pt x="878" y="405"/>
                  </a:lnTo>
                  <a:lnTo>
                    <a:pt x="874" y="390"/>
                  </a:lnTo>
                  <a:lnTo>
                    <a:pt x="868" y="384"/>
                  </a:lnTo>
                  <a:lnTo>
                    <a:pt x="867" y="379"/>
                  </a:lnTo>
                  <a:lnTo>
                    <a:pt x="867" y="373"/>
                  </a:lnTo>
                  <a:lnTo>
                    <a:pt x="868" y="368"/>
                  </a:lnTo>
                  <a:lnTo>
                    <a:pt x="870" y="359"/>
                  </a:lnTo>
                  <a:lnTo>
                    <a:pt x="872" y="351"/>
                  </a:lnTo>
                  <a:lnTo>
                    <a:pt x="865" y="346"/>
                  </a:lnTo>
                  <a:lnTo>
                    <a:pt x="861" y="340"/>
                  </a:lnTo>
                  <a:lnTo>
                    <a:pt x="859" y="334"/>
                  </a:lnTo>
                  <a:lnTo>
                    <a:pt x="859" y="329"/>
                  </a:lnTo>
                  <a:lnTo>
                    <a:pt x="865" y="318"/>
                  </a:lnTo>
                  <a:lnTo>
                    <a:pt x="874" y="303"/>
                  </a:lnTo>
                  <a:close/>
                </a:path>
              </a:pathLst>
            </a:custGeom>
            <a:solidFill>
              <a:srgbClr val="CBD8E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Arial Обычный" charset="0"/>
              </a:endParaRPr>
            </a:p>
          </p:txBody>
        </p:sp>
        <p:sp>
          <p:nvSpPr>
            <p:cNvPr id="265" name="TextBox 264"/>
            <p:cNvSpPr txBox="1"/>
            <p:nvPr/>
          </p:nvSpPr>
          <p:spPr>
            <a:xfrm>
              <a:off x="9763771" y="3467689"/>
              <a:ext cx="419904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Магадан</a:t>
              </a:r>
            </a:p>
          </p:txBody>
        </p:sp>
        <p:sp>
          <p:nvSpPr>
            <p:cNvPr id="266" name="Овал 265"/>
            <p:cNvSpPr>
              <a:spLocks noChangeAspect="1"/>
            </p:cNvSpPr>
            <p:nvPr/>
          </p:nvSpPr>
          <p:spPr>
            <a:xfrm>
              <a:off x="9958324" y="3572560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67" name="Овал 266"/>
            <p:cNvSpPr>
              <a:spLocks noChangeAspect="1"/>
            </p:cNvSpPr>
            <p:nvPr/>
          </p:nvSpPr>
          <p:spPr>
            <a:xfrm>
              <a:off x="11060249" y="3820670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68" name="TextBox 267"/>
            <p:cNvSpPr txBox="1"/>
            <p:nvPr/>
          </p:nvSpPr>
          <p:spPr>
            <a:xfrm>
              <a:off x="10740471" y="3620362"/>
              <a:ext cx="597522" cy="184666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Петропавловск-</a:t>
              </a:r>
              <a:b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Камчатский</a:t>
              </a:r>
            </a:p>
          </p:txBody>
        </p:sp>
        <p:sp>
          <p:nvSpPr>
            <p:cNvPr id="269" name="TextBox 268"/>
            <p:cNvSpPr txBox="1"/>
            <p:nvPr/>
          </p:nvSpPr>
          <p:spPr>
            <a:xfrm>
              <a:off x="10183349" y="1483813"/>
              <a:ext cx="419904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Анадырь</a:t>
              </a:r>
            </a:p>
          </p:txBody>
        </p:sp>
        <p:sp>
          <p:nvSpPr>
            <p:cNvPr id="270" name="TextBox 269"/>
            <p:cNvSpPr txBox="1"/>
            <p:nvPr/>
          </p:nvSpPr>
          <p:spPr>
            <a:xfrm>
              <a:off x="8821398" y="5818859"/>
              <a:ext cx="567797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Благовещенск</a:t>
              </a:r>
            </a:p>
          </p:txBody>
        </p:sp>
        <p:sp>
          <p:nvSpPr>
            <p:cNvPr id="271" name="TextBox 270"/>
            <p:cNvSpPr txBox="1"/>
            <p:nvPr/>
          </p:nvSpPr>
          <p:spPr>
            <a:xfrm>
              <a:off x="9302903" y="5811068"/>
              <a:ext cx="567797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Биробиджан</a:t>
              </a:r>
            </a:p>
          </p:txBody>
        </p:sp>
        <p:sp>
          <p:nvSpPr>
            <p:cNvPr id="272" name="Овал 271"/>
            <p:cNvSpPr>
              <a:spLocks noChangeAspect="1"/>
            </p:cNvSpPr>
            <p:nvPr/>
          </p:nvSpPr>
          <p:spPr>
            <a:xfrm>
              <a:off x="9669667" y="5916095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</a:t>
              </a:r>
              <a:endParaRPr lang="ru-RU" dirty="0"/>
            </a:p>
          </p:txBody>
        </p:sp>
        <p:sp>
          <p:nvSpPr>
            <p:cNvPr id="273" name="Овал 272"/>
            <p:cNvSpPr>
              <a:spLocks noChangeAspect="1"/>
            </p:cNvSpPr>
            <p:nvPr/>
          </p:nvSpPr>
          <p:spPr>
            <a:xfrm>
              <a:off x="9849766" y="5814481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74" name="TextBox 273"/>
            <p:cNvSpPr txBox="1"/>
            <p:nvPr/>
          </p:nvSpPr>
          <p:spPr>
            <a:xfrm>
              <a:off x="9640034" y="5716093"/>
              <a:ext cx="419904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Хабаровск</a:t>
              </a:r>
            </a:p>
          </p:txBody>
        </p:sp>
        <p:sp>
          <p:nvSpPr>
            <p:cNvPr id="275" name="Овал 274"/>
            <p:cNvSpPr>
              <a:spLocks noChangeAspect="1"/>
            </p:cNvSpPr>
            <p:nvPr/>
          </p:nvSpPr>
          <p:spPr>
            <a:xfrm>
              <a:off x="10776995" y="5738213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76" name="TextBox 275"/>
            <p:cNvSpPr txBox="1"/>
            <p:nvPr/>
          </p:nvSpPr>
          <p:spPr>
            <a:xfrm>
              <a:off x="10478234" y="5526329"/>
              <a:ext cx="597522" cy="184666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Южно-Сахалинск</a:t>
              </a:r>
            </a:p>
          </p:txBody>
        </p:sp>
        <p:sp>
          <p:nvSpPr>
            <p:cNvPr id="277" name="Овал 276"/>
            <p:cNvSpPr>
              <a:spLocks noChangeAspect="1"/>
            </p:cNvSpPr>
            <p:nvPr/>
          </p:nvSpPr>
          <p:spPr>
            <a:xfrm>
              <a:off x="10001406" y="6644784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78" name="TextBox 277"/>
            <p:cNvSpPr txBox="1"/>
            <p:nvPr/>
          </p:nvSpPr>
          <p:spPr>
            <a:xfrm>
              <a:off x="9758525" y="6545040"/>
              <a:ext cx="507302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Владивосток</a:t>
              </a:r>
            </a:p>
          </p:txBody>
        </p:sp>
        <p:sp>
          <p:nvSpPr>
            <p:cNvPr id="279" name="Овал 278"/>
            <p:cNvSpPr>
              <a:spLocks noChangeAspect="1"/>
            </p:cNvSpPr>
            <p:nvPr/>
          </p:nvSpPr>
          <p:spPr>
            <a:xfrm>
              <a:off x="788135" y="3913932"/>
              <a:ext cx="36000" cy="3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280" name="TextBox 279"/>
            <p:cNvSpPr txBox="1"/>
            <p:nvPr/>
          </p:nvSpPr>
          <p:spPr>
            <a:xfrm>
              <a:off x="507393" y="3830267"/>
              <a:ext cx="545766" cy="92333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600" dirty="0">
                  <a:latin typeface="Calibri" panose="020F0502020204030204" pitchFamily="34" charset="0"/>
                  <a:cs typeface="Calibri" panose="020F0502020204030204" pitchFamily="34" charset="0"/>
                </a:rPr>
                <a:t>Севастополь</a:t>
              </a:r>
            </a:p>
          </p:txBody>
        </p:sp>
        <p:sp>
          <p:nvSpPr>
            <p:cNvPr id="281" name="Прямоугольник 280"/>
            <p:cNvSpPr/>
            <p:nvPr/>
          </p:nvSpPr>
          <p:spPr>
            <a:xfrm>
              <a:off x="905139" y="6559937"/>
              <a:ext cx="6780297" cy="19387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Библиотека ЦА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46 структурных подразделений</a:t>
              </a:r>
            </a:p>
            <a:p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Библиотеки ТУ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85 территориальных подразделения (в среднем 0,22 ПШЕ)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Более 2 000 новых книг за год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24 тысячи читателей в территориальных подразделениях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endParaRPr lang="ru-RU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1764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0273" y="916377"/>
            <a:ext cx="1927368" cy="2729183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талог внутренних обзоров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888A8D"/>
                </a:solidFill>
              </a:rPr>
              <a:t>Цифровая трансформация Библиотеки Банка Росс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5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3387" y="1783132"/>
            <a:ext cx="11264031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Платформа для размещения внутренних обзоров </a:t>
            </a:r>
            <a:endParaRPr lang="en-US" sz="2400" dirty="0"/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59 видов обзоров</a:t>
            </a:r>
            <a:r>
              <a:rPr lang="en-US" sz="2400" dirty="0"/>
              <a:t> </a:t>
            </a:r>
            <a:r>
              <a:rPr lang="ru-RU" sz="2400" dirty="0"/>
              <a:t>от 15 подразделений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Подразделения самостоятельно размещают обзоры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Отправка на </a:t>
            </a:r>
            <a:r>
              <a:rPr lang="ru-RU" sz="2400" dirty="0" err="1"/>
              <a:t>Библиопортал</a:t>
            </a:r>
            <a:endParaRPr lang="ru-RU" sz="2400" dirty="0"/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Автоматическая каталогизация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Автоматическая рассылка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За продвижение отвечают сами подразделения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Библиотека – каталогизация, сохранность, доступ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За год размещено 1640 обзоров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47328" y="1268083"/>
            <a:ext cx="1927388" cy="272918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9940" y="3230614"/>
            <a:ext cx="1927388" cy="272918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13331" y="3836690"/>
            <a:ext cx="1927388" cy="2729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781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Цифровизация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888A8D"/>
                </a:solidFill>
              </a:rPr>
              <a:t>Цифровая трансформация Библиотеки Банка Росс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6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3387" y="1783132"/>
            <a:ext cx="11264031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Свыше 8 тысяч изданий поступают в электронном виде ежегодно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Электронная доставка документов (162 ЭДД объемом 1937 страниц)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Более 300 изданий (96 тысяч страниц) оцифровываются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Использование ресурсов: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Собственные сканирующие мощности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Смежные подразделения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Сторонние организации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План по оцифровке учитывает: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Ветхость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Правовые аспекты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Тематику изданий (планируемое использование)</a:t>
            </a:r>
          </a:p>
        </p:txBody>
      </p:sp>
      <p:pic>
        <p:nvPicPr>
          <p:cNvPr id="48131" name="img309636" descr="ec913116-7132-494d-8f0a-835ff3374a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8366" y="2516215"/>
            <a:ext cx="4478605" cy="4096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8242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здание цифровых продуктов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888A8D"/>
                </a:solidFill>
              </a:rPr>
              <a:t>Цифровая трансформация Библиотеки Банка Росс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7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3388" y="1783132"/>
            <a:ext cx="574358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Формирование тематических коллекций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Виртуальные выставки посвященные событиям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Взаимодействие с региональными подразделениями для совместных проектов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Виртуальный музей книги «Деньги. Кредит. Банки»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Интеграция с </a:t>
            </a:r>
            <a:r>
              <a:rPr lang="en-US" sz="2000" dirty="0"/>
              <a:t>offline-</a:t>
            </a:r>
            <a:r>
              <a:rPr lang="ru-RU" sz="2000" dirty="0"/>
              <a:t>выставкой в проекте совместно с Департаментом Полевых учреждений (2200 пользователей)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6971" y="916610"/>
            <a:ext cx="5791200" cy="408127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1657" y="3257118"/>
            <a:ext cx="5821829" cy="3281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4374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айт Библиотеки в сети интернет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888A8D"/>
                </a:solidFill>
              </a:rPr>
              <a:t>Цифровая трансформация Библиотеки Банка Росс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8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3387" y="1783132"/>
            <a:ext cx="11264031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200" dirty="0"/>
              <a:t>Внешние пользователи (158 тысяч с начала года) возможность познакомиться </a:t>
            </a:r>
            <a:br>
              <a:rPr lang="ru-RU" sz="2200" dirty="0"/>
            </a:br>
            <a:r>
              <a:rPr lang="ru-RU" sz="2200" dirty="0"/>
              <a:t>с Библиотекой Банка России: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200" dirty="0"/>
              <a:t>Каталог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200" dirty="0"/>
              <a:t>Виртуальные выставки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200" dirty="0"/>
              <a:t>Коллекции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200" dirty="0"/>
              <a:t>Музей книги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2200" dirty="0"/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200" dirty="0"/>
              <a:t>Для сотрудников (более 2000 активных пользователей) синхронизация </a:t>
            </a:r>
            <a:br>
              <a:rPr lang="ru-RU" sz="2200" dirty="0"/>
            </a:br>
            <a:r>
              <a:rPr lang="ru-RU" sz="2200" dirty="0"/>
              <a:t>с внутренними данными и дополнительные сервисы: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200" dirty="0"/>
              <a:t>Соблюдение требований ИБ по организации доступа в Интернет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200" dirty="0"/>
              <a:t>Возможность сотрудников эффективно работать дистанционно</a:t>
            </a:r>
          </a:p>
        </p:txBody>
      </p:sp>
      <p:pic>
        <p:nvPicPr>
          <p:cNvPr id="6" name="Рисунок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9872" y="2135900"/>
            <a:ext cx="3967732" cy="2473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707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втоматизация комплектования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888A8D"/>
                </a:solidFill>
              </a:rPr>
              <a:t>Цифровая трансформация Библиотеки Банка Росс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9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3387" y="1783132"/>
            <a:ext cx="5662613" cy="4462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Автоматический анализ источников комплектования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Обработка поступающих записей из Российской книжной палаты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Формирование тематических подборок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Привлечение экспертов из профильных подразделений для оценки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Сокращение времени на закупку и повышение ее эффективност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118230" y="1809011"/>
            <a:ext cx="1689340" cy="65814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Данные от издательст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9644328" y="1809011"/>
            <a:ext cx="1696528" cy="65814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Записи из РКП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118230" y="2795297"/>
            <a:ext cx="1689340" cy="65814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бработка данных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9644328" y="2795297"/>
            <a:ext cx="1696528" cy="65814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Загрузка в Комплектатор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07238" y="3781583"/>
            <a:ext cx="1672087" cy="65814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Тематические подборк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307238" y="4767869"/>
            <a:ext cx="1672087" cy="65814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ценка экспертам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8307237" y="5754155"/>
            <a:ext cx="1672087" cy="65814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рганизация закупки</a:t>
            </a:r>
          </a:p>
        </p:txBody>
      </p:sp>
      <p:cxnSp>
        <p:nvCxnSpPr>
          <p:cNvPr id="14" name="Прямая со стрелкой 13"/>
          <p:cNvCxnSpPr>
            <a:stCxn id="6" idx="2"/>
            <a:endCxn id="8" idx="0"/>
          </p:cNvCxnSpPr>
          <p:nvPr/>
        </p:nvCxnSpPr>
        <p:spPr>
          <a:xfrm>
            <a:off x="7962900" y="2467154"/>
            <a:ext cx="0" cy="328143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/>
          <p:nvPr/>
        </p:nvCxnSpPr>
        <p:spPr>
          <a:xfrm>
            <a:off x="10522069" y="2467154"/>
            <a:ext cx="0" cy="328143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>
            <a:stCxn id="8" idx="2"/>
            <a:endCxn id="10" idx="1"/>
          </p:cNvCxnSpPr>
          <p:nvPr/>
        </p:nvCxnSpPr>
        <p:spPr>
          <a:xfrm>
            <a:off x="7962900" y="3453440"/>
            <a:ext cx="344338" cy="657215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>
            <a:stCxn id="9" idx="2"/>
            <a:endCxn id="10" idx="3"/>
          </p:cNvCxnSpPr>
          <p:nvPr/>
        </p:nvCxnSpPr>
        <p:spPr>
          <a:xfrm flipH="1">
            <a:off x="9979325" y="3453440"/>
            <a:ext cx="513267" cy="657215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>
            <a:off x="9133217" y="4439726"/>
            <a:ext cx="0" cy="328143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9148313" y="5426012"/>
            <a:ext cx="0" cy="328143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0073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Другая 5">
      <a:dk1>
        <a:sysClr val="windowText" lastClr="000000"/>
      </a:dk1>
      <a:lt1>
        <a:sysClr val="window" lastClr="FFFFFF"/>
      </a:lt1>
      <a:dk2>
        <a:srgbClr val="888A8D"/>
      </a:dk2>
      <a:lt2>
        <a:srgbClr val="C4C4C6"/>
      </a:lt2>
      <a:accent1>
        <a:srgbClr val="0082BB"/>
      </a:accent1>
      <a:accent2>
        <a:srgbClr val="00BCE7"/>
      </a:accent2>
      <a:accent3>
        <a:srgbClr val="FAA61A"/>
      </a:accent3>
      <a:accent4>
        <a:srgbClr val="FFD485"/>
      </a:accent4>
      <a:accent5>
        <a:srgbClr val="ED1B34"/>
      </a:accent5>
      <a:accent6>
        <a:srgbClr val="F2665E"/>
      </a:accent6>
      <a:hlink>
        <a:srgbClr val="0082BB"/>
      </a:hlink>
      <a:folHlink>
        <a:srgbClr val="FAA61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9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CBR_Lavanda_A4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BR_Lavanda_A4" id="{8E00CC05-4A5E-44B2-818E-BDCA5D630702}" vid="{F61CBFDD-A1E5-4FCD-9F42-502DF624FC70}"/>
    </a:ext>
  </a:extLst>
</a:theme>
</file>

<file path=ppt/theme/theme3.xml><?xml version="1.0" encoding="utf-8"?>
<a:theme xmlns:a="http://schemas.openxmlformats.org/drawingml/2006/main" name="4_CBR_Lavanda_A4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BR_Lavanda_A4" id="{8E00CC05-4A5E-44B2-818E-BDCA5D630702}" vid="{F61CBFDD-A1E5-4FCD-9F42-502DF624FC70}"/>
    </a:ext>
  </a:extLst>
</a:theme>
</file>

<file path=ppt/theme/theme4.xml><?xml version="1.0" encoding="utf-8"?>
<a:theme xmlns:a="http://schemas.openxmlformats.org/drawingml/2006/main" name="5_CBR_Lavanda_A4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BR_Lavanda_A4" id="{8E00CC05-4A5E-44B2-818E-BDCA5D630702}" vid="{F61CBFDD-A1E5-4FCD-9F42-502DF624FC70}"/>
    </a:ext>
  </a:extLst>
</a:theme>
</file>

<file path=ppt/theme/theme5.xml><?xml version="1.0" encoding="utf-8"?>
<a:theme xmlns:a="http://schemas.openxmlformats.org/drawingml/2006/main" name="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68</TotalTime>
  <Words>714</Words>
  <Application>Microsoft Office PowerPoint</Application>
  <PresentationFormat>Широкоэкранный</PresentationFormat>
  <Paragraphs>218</Paragraphs>
  <Slides>13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25" baseType="lpstr">
      <vt:lpstr>Arial</vt:lpstr>
      <vt:lpstr>Arial Обычный</vt:lpstr>
      <vt:lpstr>Calibri</vt:lpstr>
      <vt:lpstr>Wingdings</vt:lpstr>
      <vt:lpstr>1_Тема Office</vt:lpstr>
      <vt:lpstr>3_CBR_Lavanda_A4</vt:lpstr>
      <vt:lpstr>4_CBR_Lavanda_A4</vt:lpstr>
      <vt:lpstr>5_CBR_Lavanda_A4</vt:lpstr>
      <vt:lpstr>3_Специальное оформление</vt:lpstr>
      <vt:lpstr>Специальное оформление</vt:lpstr>
      <vt:lpstr>think-cell Slide</vt:lpstr>
      <vt:lpstr>Слайд think-cell</vt:lpstr>
      <vt:lpstr>Презентация PowerPoint</vt:lpstr>
      <vt:lpstr>Библиотека Банка России</vt:lpstr>
      <vt:lpstr>Цифровая трансформация</vt:lpstr>
      <vt:lpstr>Сводный каталог</vt:lpstr>
      <vt:lpstr>Каталог внутренних обзоров</vt:lpstr>
      <vt:lpstr>Цифровизация</vt:lpstr>
      <vt:lpstr>Создание цифровых продуктов</vt:lpstr>
      <vt:lpstr>Сайт Библиотеки в сети интернет</vt:lpstr>
      <vt:lpstr>Автоматизация комплектования</vt:lpstr>
      <vt:lpstr>Обработка новых типов данных</vt:lpstr>
      <vt:lpstr>Аналитика данных</vt:lpstr>
      <vt:lpstr>ИИ каталогизация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сновные аспекты проектов формирования и сохранения цифрового контента</dc:title>
  <dc:creator>Il'ya Bykovnikov</dc:creator>
  <cp:lastModifiedBy>B</cp:lastModifiedBy>
  <cp:revision>169</cp:revision>
  <cp:lastPrinted>2024-01-15T07:34:19Z</cp:lastPrinted>
  <dcterms:created xsi:type="dcterms:W3CDTF">2020-09-03T22:00:49Z</dcterms:created>
  <dcterms:modified xsi:type="dcterms:W3CDTF">2025-10-30T07:32:12Z</dcterms:modified>
</cp:coreProperties>
</file>